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drawings/drawing2.xml" ContentType="application/vnd.openxmlformats-officedocument.drawingml.chartshapes+xml"/>
  <Override PartName="/ppt/charts/chart9.xml" ContentType="application/vnd.openxmlformats-officedocument.drawingml.chart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drawings/drawing4.xml" ContentType="application/vnd.openxmlformats-officedocument.drawingml.chartshapes+xml"/>
  <Override PartName="/ppt/charts/chart11.xml" ContentType="application/vnd.openxmlformats-officedocument.drawingml.chart+xml"/>
  <Override PartName="/ppt/drawings/drawing5.xml" ContentType="application/vnd.openxmlformats-officedocument.drawingml.chartshapes+xml"/>
  <Override PartName="/ppt/charts/chart12.xml" ContentType="application/vnd.openxmlformats-officedocument.drawingml.chart+xml"/>
  <Override PartName="/ppt/drawings/drawing6.xml" ContentType="application/vnd.openxmlformats-officedocument.drawingml.chartshapes+xml"/>
  <Override PartName="/ppt/charts/chart13.xml" ContentType="application/vnd.openxmlformats-officedocument.drawingml.chart+xml"/>
  <Override PartName="/ppt/drawings/drawing7.xml" ContentType="application/vnd.openxmlformats-officedocument.drawingml.chartshapes+xml"/>
  <Override PartName="/ppt/charts/chart14.xml" ContentType="application/vnd.openxmlformats-officedocument.drawingml.chart+xml"/>
  <Override PartName="/ppt/drawings/drawing8.xml" ContentType="application/vnd.openxmlformats-officedocument.drawingml.chartshapes+xml"/>
  <Override PartName="/ppt/charts/chart15.xml" ContentType="application/vnd.openxmlformats-officedocument.drawingml.chart+xml"/>
  <Override PartName="/ppt/drawings/drawing9.xml" ContentType="application/vnd.openxmlformats-officedocument.drawingml.chartshapes+xml"/>
  <Override PartName="/ppt/charts/chart16.xml" ContentType="application/vnd.openxmlformats-officedocument.drawingml.chart+xml"/>
  <Override PartName="/ppt/drawings/drawing10.xml" ContentType="application/vnd.openxmlformats-officedocument.drawingml.chartshapes+xml"/>
  <Override PartName="/ppt/charts/chart17.xml" ContentType="application/vnd.openxmlformats-officedocument.drawingml.chart+xml"/>
  <Override PartName="/ppt/drawings/drawing11.xml" ContentType="application/vnd.openxmlformats-officedocument.drawingml.chartshape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drawings/drawing12.xml" ContentType="application/vnd.openxmlformats-officedocument.drawingml.chartshapes+xml"/>
  <Override PartName="/ppt/charts/chart20.xml" ContentType="application/vnd.openxmlformats-officedocument.drawingml.chart+xml"/>
  <Override PartName="/ppt/drawings/drawing13.xml" ContentType="application/vnd.openxmlformats-officedocument.drawingml.chartshapes+xml"/>
  <Override PartName="/ppt/charts/chart2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  <p:sldMasterId id="2147483661" r:id="rId2"/>
    <p:sldMasterId id="2147483665" r:id="rId3"/>
  </p:sldMasterIdLst>
  <p:notesMasterIdLst>
    <p:notesMasterId r:id="rId37"/>
  </p:notesMasterIdLst>
  <p:sldIdLst>
    <p:sldId id="397" r:id="rId4"/>
    <p:sldId id="459" r:id="rId5"/>
    <p:sldId id="460" r:id="rId6"/>
    <p:sldId id="440" r:id="rId7"/>
    <p:sldId id="404" r:id="rId8"/>
    <p:sldId id="455" r:id="rId9"/>
    <p:sldId id="405" r:id="rId10"/>
    <p:sldId id="457" r:id="rId11"/>
    <p:sldId id="406" r:id="rId12"/>
    <p:sldId id="409" r:id="rId13"/>
    <p:sldId id="466" r:id="rId14"/>
    <p:sldId id="410" r:id="rId15"/>
    <p:sldId id="461" r:id="rId16"/>
    <p:sldId id="456" r:id="rId17"/>
    <p:sldId id="464" r:id="rId18"/>
    <p:sldId id="447" r:id="rId19"/>
    <p:sldId id="415" r:id="rId20"/>
    <p:sldId id="418" r:id="rId21"/>
    <p:sldId id="420" r:id="rId22"/>
    <p:sldId id="419" r:id="rId23"/>
    <p:sldId id="421" r:id="rId24"/>
    <p:sldId id="422" r:id="rId25"/>
    <p:sldId id="423" r:id="rId26"/>
    <p:sldId id="424" r:id="rId27"/>
    <p:sldId id="425" r:id="rId28"/>
    <p:sldId id="426" r:id="rId29"/>
    <p:sldId id="427" r:id="rId30"/>
    <p:sldId id="428" r:id="rId31"/>
    <p:sldId id="433" r:id="rId32"/>
    <p:sldId id="458" r:id="rId33"/>
    <p:sldId id="467" r:id="rId34"/>
    <p:sldId id="429" r:id="rId35"/>
    <p:sldId id="465" r:id="rId36"/>
  </p:sldIdLst>
  <p:sldSz cx="9144000" cy="6858000" type="screen4x3"/>
  <p:notesSz cx="6797675" cy="9928225"/>
  <p:custDataLst>
    <p:tags r:id="rId3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0D6"/>
    <a:srgbClr val="77BAE7"/>
    <a:srgbClr val="06AD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52" autoAdjust="0"/>
    <p:restoredTop sz="94675" autoAdjust="0"/>
  </p:normalViewPr>
  <p:slideViewPr>
    <p:cSldViewPr showGuides="1">
      <p:cViewPr varScale="1">
        <p:scale>
          <a:sx n="82" d="100"/>
          <a:sy n="82" d="100"/>
        </p:scale>
        <p:origin x="-922" y="-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presProps" Target="pres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,%20&#1080;&#1085;&#1076;&#1077;&#1082;&#1089;&#1086;&#1074;%20&#1057;&#1055;&#1073;&#1052;&#1058;&#1057;&#1041;,%20&#1088;&#1072;&#1089;&#1095;&#1077;&#1090;&#1085;&#1099;&#1093;%20&#1094;&#1077;&#1085;_22.12.2014.xls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ergeev\AppData\Local\Microsoft\Windows\Temporary%20Internet%20Files\Content.Outlook\E85RTGX6\&#1044;&#1085;&#1077;&#1074;&#1085;&#1086;&#1077;%20&#1080;&#1079;&#1084;&#1077;&#1085;&#1077;&#1085;&#1080;&#1077;%20&#1072;&#1073;&#1089;&#1086;&#1083;&#1102;&#1090;&#1085;&#1099;&#1093;%20&#1079;&#1085;&#1072;&#1095;&#1077;&#1085;&#1080;&#1081;%20MISEX%20+%20Fut%20REG%20+%20Fut%20DTL.xlsx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ergeev\AppData\Local\Microsoft\Windows\Temporary%20Internet%20Files\Content.Outlook\E85RTGX6\&#1044;&#1085;&#1077;&#1074;&#1085;&#1086;&#1077;%20&#1080;&#1079;&#1084;&#1077;&#1085;&#1077;&#1085;&#1080;&#1077;%20&#1072;&#1073;&#1089;&#1086;&#1083;&#1102;&#1090;&#1085;&#1099;&#1093;%20&#1079;&#1085;&#1072;&#1095;&#1077;&#1085;&#1080;&#1081;%20MISEX%20+%20Fut%20REG%20+%20Fut%20DT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lomakin\Desktop\&#1054;&#1073;&#1086;&#1088;&#1086;&#1090;%20&#1074;%202014%20&#1075;.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hechurin\Downloads\full_csv_vli%20(24).csv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lomakin\Desktop\&#1062;&#1077;&#1085;&#1099;%20&#1085;&#1072;%20&#1084;&#1086;&#1089;&#1082;&#1086;&#1074;&#1089;&#1082;&#1080;&#1093;%20&#1072;&#1079;&#1089;%20&#1089;&#1088;&#1077;&#1076;&#1085;&#1077;&#1074;&#1079;&#1074;&#1077;&#1096;&#1077;&#1085;&#1085;&#1099;&#1077;%202006-2013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lomakin\Desktop\&#1062;&#1077;&#1085;&#1099;%20&#1085;&#1072;%20&#1084;&#1086;&#1089;&#1082;&#1086;&#1074;&#1089;&#1082;&#1080;&#1093;%20&#1072;&#1079;&#1089;%20&#1089;&#1088;&#1077;&#1076;&#1085;&#1077;&#1074;&#1079;&#1074;&#1077;&#1096;&#1077;&#1085;&#1085;&#1099;&#1077;%202006-2013.xlsx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lomakin\Desktop\&#1055;&#1077;&#1088;&#1077;&#1076;&#1072;&#1095;&#1072;%20&#1076;&#1077;&#1083;%20&#1050;&#1072;&#1090;&#1099;&#1096;&#1077;&#1074;\3.%20&#1055;&#1088;&#1077;&#1079;&#1077;&#1085;&#1090;&#1072;&#1094;&#1080;&#1080;%20&#1087;&#1086;%20&#1089;&#1088;&#1086;&#1095;&#1085;&#1086;&#1084;&#1091;%20&#1088;&#1099;&#1085;&#1082;&#1091;\&#1043;&#1088;&#1072;&#1092;&#1080;&#1082;&#1080;%20&#1084;&#1080;&#1088;&#1086;&#1074;&#1099;&#1093;%20&#1080;&#1085;&#1076;&#1077;&#1082;&#1089;&#1086;&#1074;%20&#1080;&#1085;&#1076;&#1077;&#1082;&#1089;&#1086;&#1074;%20&#1057;&#1055;&#1073;&#1052;&#1058;&#1057;&#1041;%20&#1088;&#1072;&#1089;&#1095;&#1077;&#1090;&#1085;&#1099;&#1093;%20&#1094;&#1077;&#1085;_22%2012%202014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 sz="900" b="0">
                <a:latin typeface="+mj-lt"/>
              </a:defRPr>
            </a:pPr>
            <a:r>
              <a:rPr lang="ru-RU" sz="900" b="0" dirty="0" smtClean="0">
                <a:effectLst/>
                <a:latin typeface="+mj-lt"/>
              </a:rPr>
              <a:t>Биржевой оборот нефтепродуктов 2015</a:t>
            </a:r>
            <a:endParaRPr lang="ru-RU" sz="900" b="0" dirty="0">
              <a:effectLst/>
              <a:latin typeface="+mj-lt"/>
            </a:endParaRPr>
          </a:p>
        </c:rich>
      </c:tx>
      <c:layout>
        <c:manualLayout>
          <c:xMode val="edge"/>
          <c:yMode val="edge"/>
          <c:x val="2.1859394540207782E-2"/>
          <c:y val="9.282594331623972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2.3865033907300767E-2"/>
          <c:y val="0.20147134998744745"/>
          <c:w val="0.59687284344555236"/>
          <c:h val="0.7379903837903628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и бирж в биржевом обороте (нефтепродукты, %, за I кв. 2013г.)</c:v>
                </c:pt>
              </c:strCache>
            </c:strRef>
          </c:tx>
          <c:spPr>
            <a:effectLst/>
          </c:spPr>
          <c:explosion val="5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/>
            </c:spPr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effectLst/>
            </c:spPr>
          </c:dPt>
          <c:dPt>
            <c:idx val="2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effectLst/>
            </c:spPr>
          </c:dPt>
          <c:dPt>
            <c:idx val="3"/>
            <c:bubble3D val="0"/>
            <c:spPr>
              <a:solidFill>
                <a:schemeClr val="bg2">
                  <a:lumMod val="90000"/>
                </a:schemeClr>
              </a:solidFill>
              <a:effectLst/>
            </c:spPr>
          </c:dPt>
          <c:dLbls>
            <c:dLbl>
              <c:idx val="0"/>
              <c:layout>
                <c:manualLayout>
                  <c:x val="1.2584961016563563E-2"/>
                  <c:y val="1.746393921386056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,</a:t>
                    </a:r>
                    <a:r>
                      <a:rPr lang="ru-RU" dirty="0" smtClean="0"/>
                      <a:t>2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5,</a:t>
                    </a:r>
                    <a:r>
                      <a:rPr lang="ru-RU" smtClean="0"/>
                      <a:t>8</a:t>
                    </a:r>
                    <a:r>
                      <a:rPr lang="en-US" smtClean="0"/>
                      <a:t>%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.0%" sourceLinked="0"/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Другие</c:v>
                </c:pt>
                <c:pt idx="1">
                  <c:v>ЗАО "СПбМТСБ"</c:v>
                </c:pt>
              </c:strCache>
            </c:strRef>
          </c:cat>
          <c:val>
            <c:numRef>
              <c:f>Лист1!$B$2:$B$3</c:f>
              <c:numCache>
                <c:formatCode>0.00</c:formatCode>
                <c:ptCount val="2"/>
                <c:pt idx="0">
                  <c:v>98176</c:v>
                </c:pt>
                <c:pt idx="1">
                  <c:v>22604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spPr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000000"/>
                </a:solidFill>
                <a:latin typeface="Calibri"/>
              </a:rPr>
              <a:t>2010-2011: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000000"/>
                </a:solidFill>
                <a:latin typeface="Calibri"/>
              </a:rPr>
              <a:t>RTSI                 + 16,04 </a:t>
            </a:r>
            <a:r>
              <a:rPr lang="ru-RU" sz="1000" b="1" i="1" u="none" strike="noStrike" baseline="0">
                <a:solidFill>
                  <a:srgbClr val="000000"/>
                </a:solidFill>
                <a:latin typeface="Calibri"/>
              </a:rPr>
              <a:t>%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00" b="1" i="1" u="none" strike="noStrike" baseline="0">
                <a:solidFill>
                  <a:srgbClr val="FF0000"/>
                </a:solidFill>
                <a:latin typeface="Calibri"/>
              </a:rPr>
              <a:t>ДТЛ   </a:t>
            </a:r>
            <a:r>
              <a:rPr lang="ru-RU" sz="1050" b="1" i="1" u="none" strike="noStrike" baseline="0">
                <a:solidFill>
                  <a:srgbClr val="FF0000"/>
                </a:solidFill>
                <a:latin typeface="Calibri"/>
              </a:rPr>
              <a:t>              + 34,26 %</a:t>
            </a:r>
          </a:p>
        </c:rich>
      </c:tx>
      <c:layout>
        <c:manualLayout>
          <c:xMode val="edge"/>
          <c:yMode val="edge"/>
          <c:x val="8.7316858845325612E-2"/>
          <c:y val="0.39651669161189568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9.0666388888896596E-2"/>
          <c:y val="4.1359101541253725E-2"/>
          <c:w val="0.84377301587301634"/>
          <c:h val="0.86681885425478844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K$2</c:f>
              <c:strCache>
                <c:ptCount val="1"/>
                <c:pt idx="0">
                  <c:v>Индекс СПбМТСБ-ДТ летнее</c:v>
                </c:pt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K$218:$K$1462</c:f>
              <c:numCache>
                <c:formatCode>General</c:formatCode>
                <c:ptCount val="1245"/>
                <c:pt idx="0">
                  <c:v>15494</c:v>
                </c:pt>
                <c:pt idx="1">
                  <c:v>15735</c:v>
                </c:pt>
                <c:pt idx="2">
                  <c:v>15790</c:v>
                </c:pt>
                <c:pt idx="3">
                  <c:v>15902</c:v>
                </c:pt>
                <c:pt idx="4">
                  <c:v>15959</c:v>
                </c:pt>
                <c:pt idx="5">
                  <c:v>15959</c:v>
                </c:pt>
                <c:pt idx="6">
                  <c:v>16071</c:v>
                </c:pt>
                <c:pt idx="7">
                  <c:v>15945</c:v>
                </c:pt>
                <c:pt idx="8">
                  <c:v>16035</c:v>
                </c:pt>
                <c:pt idx="9">
                  <c:v>15521</c:v>
                </c:pt>
                <c:pt idx="10">
                  <c:v>15094</c:v>
                </c:pt>
                <c:pt idx="11">
                  <c:v>15094</c:v>
                </c:pt>
                <c:pt idx="12">
                  <c:v>15759</c:v>
                </c:pt>
                <c:pt idx="13">
                  <c:v>15433</c:v>
                </c:pt>
                <c:pt idx="14">
                  <c:v>15559</c:v>
                </c:pt>
                <c:pt idx="15">
                  <c:v>15085</c:v>
                </c:pt>
                <c:pt idx="16">
                  <c:v>15144</c:v>
                </c:pt>
                <c:pt idx="17">
                  <c:v>15246</c:v>
                </c:pt>
                <c:pt idx="18">
                  <c:v>14987</c:v>
                </c:pt>
                <c:pt idx="19">
                  <c:v>15220</c:v>
                </c:pt>
                <c:pt idx="20">
                  <c:v>15297</c:v>
                </c:pt>
                <c:pt idx="21">
                  <c:v>15127</c:v>
                </c:pt>
                <c:pt idx="22">
                  <c:v>15109</c:v>
                </c:pt>
                <c:pt idx="23">
                  <c:v>14937</c:v>
                </c:pt>
                <c:pt idx="24">
                  <c:v>14994</c:v>
                </c:pt>
                <c:pt idx="25">
                  <c:v>15352</c:v>
                </c:pt>
                <c:pt idx="26">
                  <c:v>15409</c:v>
                </c:pt>
                <c:pt idx="27">
                  <c:v>15351</c:v>
                </c:pt>
                <c:pt idx="28">
                  <c:v>15411</c:v>
                </c:pt>
                <c:pt idx="29">
                  <c:v>15909</c:v>
                </c:pt>
                <c:pt idx="30">
                  <c:v>15909</c:v>
                </c:pt>
                <c:pt idx="31">
                  <c:v>15801</c:v>
                </c:pt>
                <c:pt idx="32">
                  <c:v>16096</c:v>
                </c:pt>
                <c:pt idx="33">
                  <c:v>16153</c:v>
                </c:pt>
                <c:pt idx="34">
                  <c:v>16153</c:v>
                </c:pt>
                <c:pt idx="35">
                  <c:v>16237</c:v>
                </c:pt>
                <c:pt idx="36">
                  <c:v>16909</c:v>
                </c:pt>
                <c:pt idx="37">
                  <c:v>16587</c:v>
                </c:pt>
                <c:pt idx="38">
                  <c:v>16909</c:v>
                </c:pt>
                <c:pt idx="39">
                  <c:v>17021</c:v>
                </c:pt>
                <c:pt idx="40">
                  <c:v>16942</c:v>
                </c:pt>
                <c:pt idx="41">
                  <c:v>16437</c:v>
                </c:pt>
                <c:pt idx="42">
                  <c:v>16909</c:v>
                </c:pt>
                <c:pt idx="43">
                  <c:v>16959</c:v>
                </c:pt>
                <c:pt idx="44">
                  <c:v>17071</c:v>
                </c:pt>
                <c:pt idx="45">
                  <c:v>16959</c:v>
                </c:pt>
                <c:pt idx="46">
                  <c:v>17071</c:v>
                </c:pt>
                <c:pt idx="47">
                  <c:v>17023</c:v>
                </c:pt>
                <c:pt idx="48">
                  <c:v>17259</c:v>
                </c:pt>
                <c:pt idx="49">
                  <c:v>17371</c:v>
                </c:pt>
                <c:pt idx="50">
                  <c:v>17254</c:v>
                </c:pt>
                <c:pt idx="51">
                  <c:v>17184</c:v>
                </c:pt>
                <c:pt idx="52">
                  <c:v>17709</c:v>
                </c:pt>
                <c:pt idx="53">
                  <c:v>17821</c:v>
                </c:pt>
                <c:pt idx="54">
                  <c:v>17821</c:v>
                </c:pt>
                <c:pt idx="55">
                  <c:v>17217</c:v>
                </c:pt>
                <c:pt idx="56">
                  <c:v>17270</c:v>
                </c:pt>
                <c:pt idx="57">
                  <c:v>17408</c:v>
                </c:pt>
                <c:pt idx="58">
                  <c:v>17739</c:v>
                </c:pt>
                <c:pt idx="59">
                  <c:v>17137</c:v>
                </c:pt>
                <c:pt idx="60">
                  <c:v>17804</c:v>
                </c:pt>
                <c:pt idx="61">
                  <c:v>17916</c:v>
                </c:pt>
                <c:pt idx="62">
                  <c:v>17864</c:v>
                </c:pt>
                <c:pt idx="63">
                  <c:v>18009</c:v>
                </c:pt>
                <c:pt idx="64">
                  <c:v>18121</c:v>
                </c:pt>
                <c:pt idx="65">
                  <c:v>17803</c:v>
                </c:pt>
                <c:pt idx="66">
                  <c:v>17915</c:v>
                </c:pt>
                <c:pt idx="67">
                  <c:v>17915</c:v>
                </c:pt>
                <c:pt idx="68">
                  <c:v>17395</c:v>
                </c:pt>
                <c:pt idx="69">
                  <c:v>17337</c:v>
                </c:pt>
                <c:pt idx="70">
                  <c:v>17359</c:v>
                </c:pt>
                <c:pt idx="71">
                  <c:v>17471</c:v>
                </c:pt>
                <c:pt idx="72">
                  <c:v>17717</c:v>
                </c:pt>
                <c:pt idx="73">
                  <c:v>17445</c:v>
                </c:pt>
                <c:pt idx="74">
                  <c:v>17418</c:v>
                </c:pt>
                <c:pt idx="75">
                  <c:v>17409</c:v>
                </c:pt>
                <c:pt idx="76">
                  <c:v>17737</c:v>
                </c:pt>
                <c:pt idx="77">
                  <c:v>17434</c:v>
                </c:pt>
                <c:pt idx="78">
                  <c:v>17546</c:v>
                </c:pt>
                <c:pt idx="79">
                  <c:v>17434</c:v>
                </c:pt>
                <c:pt idx="80">
                  <c:v>17537</c:v>
                </c:pt>
                <c:pt idx="81">
                  <c:v>17505</c:v>
                </c:pt>
                <c:pt idx="82">
                  <c:v>17437</c:v>
                </c:pt>
                <c:pt idx="83">
                  <c:v>17377</c:v>
                </c:pt>
                <c:pt idx="84">
                  <c:v>17437</c:v>
                </c:pt>
                <c:pt idx="85">
                  <c:v>17318</c:v>
                </c:pt>
                <c:pt idx="86">
                  <c:v>17382</c:v>
                </c:pt>
                <c:pt idx="87">
                  <c:v>17223</c:v>
                </c:pt>
                <c:pt idx="88">
                  <c:v>17194</c:v>
                </c:pt>
                <c:pt idx="89">
                  <c:v>17194</c:v>
                </c:pt>
                <c:pt idx="90">
                  <c:v>17194</c:v>
                </c:pt>
                <c:pt idx="91">
                  <c:v>17159</c:v>
                </c:pt>
                <c:pt idx="92">
                  <c:v>16770</c:v>
                </c:pt>
                <c:pt idx="93">
                  <c:v>16831</c:v>
                </c:pt>
                <c:pt idx="94">
                  <c:v>16787</c:v>
                </c:pt>
                <c:pt idx="95">
                  <c:v>16714</c:v>
                </c:pt>
                <c:pt idx="96">
                  <c:v>16692</c:v>
                </c:pt>
                <c:pt idx="97">
                  <c:v>16763</c:v>
                </c:pt>
                <c:pt idx="98">
                  <c:v>16559</c:v>
                </c:pt>
                <c:pt idx="99">
                  <c:v>16412</c:v>
                </c:pt>
                <c:pt idx="100">
                  <c:v>16685</c:v>
                </c:pt>
                <c:pt idx="101">
                  <c:v>16571</c:v>
                </c:pt>
                <c:pt idx="102">
                  <c:v>16437</c:v>
                </c:pt>
                <c:pt idx="103">
                  <c:v>16549</c:v>
                </c:pt>
                <c:pt idx="104">
                  <c:v>16417</c:v>
                </c:pt>
                <c:pt idx="105">
                  <c:v>16295</c:v>
                </c:pt>
                <c:pt idx="106">
                  <c:v>16324</c:v>
                </c:pt>
                <c:pt idx="107">
                  <c:v>16310</c:v>
                </c:pt>
                <c:pt idx="108">
                  <c:v>16440</c:v>
                </c:pt>
                <c:pt idx="109">
                  <c:v>16691</c:v>
                </c:pt>
                <c:pt idx="110">
                  <c:v>16759</c:v>
                </c:pt>
                <c:pt idx="111">
                  <c:v>16762</c:v>
                </c:pt>
                <c:pt idx="112">
                  <c:v>17015</c:v>
                </c:pt>
                <c:pt idx="113">
                  <c:v>17174</c:v>
                </c:pt>
                <c:pt idx="114">
                  <c:v>17315</c:v>
                </c:pt>
                <c:pt idx="115">
                  <c:v>17254</c:v>
                </c:pt>
                <c:pt idx="116">
                  <c:v>17247</c:v>
                </c:pt>
                <c:pt idx="117">
                  <c:v>17126</c:v>
                </c:pt>
                <c:pt idx="118">
                  <c:v>17325</c:v>
                </c:pt>
                <c:pt idx="119">
                  <c:v>17287</c:v>
                </c:pt>
                <c:pt idx="120">
                  <c:v>17425</c:v>
                </c:pt>
                <c:pt idx="121">
                  <c:v>17379</c:v>
                </c:pt>
                <c:pt idx="122">
                  <c:v>17154</c:v>
                </c:pt>
                <c:pt idx="123">
                  <c:v>17414</c:v>
                </c:pt>
                <c:pt idx="124">
                  <c:v>16882</c:v>
                </c:pt>
                <c:pt idx="125">
                  <c:v>16901</c:v>
                </c:pt>
                <c:pt idx="126">
                  <c:v>17237</c:v>
                </c:pt>
                <c:pt idx="127">
                  <c:v>17268</c:v>
                </c:pt>
                <c:pt idx="128">
                  <c:v>17364</c:v>
                </c:pt>
                <c:pt idx="129">
                  <c:v>17202</c:v>
                </c:pt>
                <c:pt idx="130">
                  <c:v>17203</c:v>
                </c:pt>
                <c:pt idx="131">
                  <c:v>17387</c:v>
                </c:pt>
                <c:pt idx="132">
                  <c:v>17259</c:v>
                </c:pt>
                <c:pt idx="133">
                  <c:v>17237</c:v>
                </c:pt>
                <c:pt idx="134">
                  <c:v>17144</c:v>
                </c:pt>
                <c:pt idx="135">
                  <c:v>17085</c:v>
                </c:pt>
                <c:pt idx="136">
                  <c:v>17137</c:v>
                </c:pt>
                <c:pt idx="137">
                  <c:v>16997</c:v>
                </c:pt>
                <c:pt idx="138">
                  <c:v>17104</c:v>
                </c:pt>
                <c:pt idx="139">
                  <c:v>17025</c:v>
                </c:pt>
                <c:pt idx="140">
                  <c:v>17169</c:v>
                </c:pt>
                <c:pt idx="141">
                  <c:v>17279</c:v>
                </c:pt>
                <c:pt idx="142">
                  <c:v>17164</c:v>
                </c:pt>
                <c:pt idx="143">
                  <c:v>17328</c:v>
                </c:pt>
                <c:pt idx="144">
                  <c:v>17348</c:v>
                </c:pt>
                <c:pt idx="145">
                  <c:v>17287</c:v>
                </c:pt>
                <c:pt idx="146">
                  <c:v>17123</c:v>
                </c:pt>
                <c:pt idx="147">
                  <c:v>17073</c:v>
                </c:pt>
                <c:pt idx="148">
                  <c:v>17337</c:v>
                </c:pt>
                <c:pt idx="149">
                  <c:v>17394</c:v>
                </c:pt>
                <c:pt idx="150">
                  <c:v>17198</c:v>
                </c:pt>
                <c:pt idx="151">
                  <c:v>17208</c:v>
                </c:pt>
                <c:pt idx="152">
                  <c:v>16955</c:v>
                </c:pt>
                <c:pt idx="153">
                  <c:v>17237</c:v>
                </c:pt>
                <c:pt idx="154">
                  <c:v>17102</c:v>
                </c:pt>
                <c:pt idx="155">
                  <c:v>17259</c:v>
                </c:pt>
                <c:pt idx="156">
                  <c:v>17371</c:v>
                </c:pt>
                <c:pt idx="157">
                  <c:v>17118</c:v>
                </c:pt>
                <c:pt idx="158">
                  <c:v>17177</c:v>
                </c:pt>
                <c:pt idx="159">
                  <c:v>17347</c:v>
                </c:pt>
                <c:pt idx="160">
                  <c:v>17097</c:v>
                </c:pt>
                <c:pt idx="161">
                  <c:v>17209</c:v>
                </c:pt>
                <c:pt idx="162">
                  <c:v>16848</c:v>
                </c:pt>
                <c:pt idx="163">
                  <c:v>16848</c:v>
                </c:pt>
                <c:pt idx="164">
                  <c:v>16682</c:v>
                </c:pt>
                <c:pt idx="165">
                  <c:v>16809</c:v>
                </c:pt>
                <c:pt idx="166">
                  <c:v>16637</c:v>
                </c:pt>
                <c:pt idx="167">
                  <c:v>16790</c:v>
                </c:pt>
                <c:pt idx="168">
                  <c:v>17237</c:v>
                </c:pt>
                <c:pt idx="169">
                  <c:v>16790</c:v>
                </c:pt>
                <c:pt idx="170">
                  <c:v>17010</c:v>
                </c:pt>
                <c:pt idx="171">
                  <c:v>16814</c:v>
                </c:pt>
                <c:pt idx="172">
                  <c:v>16817</c:v>
                </c:pt>
                <c:pt idx="173">
                  <c:v>16901</c:v>
                </c:pt>
                <c:pt idx="174">
                  <c:v>17077</c:v>
                </c:pt>
                <c:pt idx="175">
                  <c:v>17009</c:v>
                </c:pt>
                <c:pt idx="176">
                  <c:v>16802</c:v>
                </c:pt>
                <c:pt idx="177">
                  <c:v>17047</c:v>
                </c:pt>
                <c:pt idx="178">
                  <c:v>17159</c:v>
                </c:pt>
                <c:pt idx="179">
                  <c:v>17117</c:v>
                </c:pt>
                <c:pt idx="180">
                  <c:v>16923</c:v>
                </c:pt>
                <c:pt idx="181">
                  <c:v>16483</c:v>
                </c:pt>
                <c:pt idx="182">
                  <c:v>16936</c:v>
                </c:pt>
                <c:pt idx="183">
                  <c:v>17003</c:v>
                </c:pt>
                <c:pt idx="184">
                  <c:v>17459</c:v>
                </c:pt>
                <c:pt idx="185">
                  <c:v>17459</c:v>
                </c:pt>
                <c:pt idx="186">
                  <c:v>17114</c:v>
                </c:pt>
                <c:pt idx="187">
                  <c:v>17525</c:v>
                </c:pt>
                <c:pt idx="188">
                  <c:v>17628</c:v>
                </c:pt>
                <c:pt idx="189">
                  <c:v>17271</c:v>
                </c:pt>
                <c:pt idx="190">
                  <c:v>18114</c:v>
                </c:pt>
                <c:pt idx="191">
                  <c:v>18251</c:v>
                </c:pt>
                <c:pt idx="192">
                  <c:v>18259</c:v>
                </c:pt>
                <c:pt idx="193">
                  <c:v>18371</c:v>
                </c:pt>
                <c:pt idx="194">
                  <c:v>18303</c:v>
                </c:pt>
                <c:pt idx="195">
                  <c:v>18309</c:v>
                </c:pt>
                <c:pt idx="196">
                  <c:v>18421</c:v>
                </c:pt>
                <c:pt idx="197">
                  <c:v>18367</c:v>
                </c:pt>
                <c:pt idx="198">
                  <c:v>18454</c:v>
                </c:pt>
                <c:pt idx="199">
                  <c:v>17950</c:v>
                </c:pt>
                <c:pt idx="200">
                  <c:v>18374</c:v>
                </c:pt>
                <c:pt idx="201">
                  <c:v>18537</c:v>
                </c:pt>
                <c:pt idx="202">
                  <c:v>18618</c:v>
                </c:pt>
                <c:pt idx="203">
                  <c:v>18837</c:v>
                </c:pt>
                <c:pt idx="204">
                  <c:v>18341</c:v>
                </c:pt>
                <c:pt idx="205">
                  <c:v>19484</c:v>
                </c:pt>
                <c:pt idx="206">
                  <c:v>18999</c:v>
                </c:pt>
                <c:pt idx="207">
                  <c:v>19806</c:v>
                </c:pt>
                <c:pt idx="208">
                  <c:v>20046</c:v>
                </c:pt>
                <c:pt idx="209">
                  <c:v>20125</c:v>
                </c:pt>
                <c:pt idx="210">
                  <c:v>19727</c:v>
                </c:pt>
                <c:pt idx="211">
                  <c:v>19037</c:v>
                </c:pt>
                <c:pt idx="212">
                  <c:v>21100</c:v>
                </c:pt>
                <c:pt idx="213">
                  <c:v>21214</c:v>
                </c:pt>
                <c:pt idx="214">
                  <c:v>21227</c:v>
                </c:pt>
                <c:pt idx="215">
                  <c:v>21237</c:v>
                </c:pt>
                <c:pt idx="216">
                  <c:v>21170</c:v>
                </c:pt>
                <c:pt idx="217">
                  <c:v>20420</c:v>
                </c:pt>
                <c:pt idx="218">
                  <c:v>20468</c:v>
                </c:pt>
                <c:pt idx="219">
                  <c:v>21237</c:v>
                </c:pt>
                <c:pt idx="220">
                  <c:v>20570</c:v>
                </c:pt>
                <c:pt idx="221">
                  <c:v>21237</c:v>
                </c:pt>
                <c:pt idx="222">
                  <c:v>21294</c:v>
                </c:pt>
                <c:pt idx="223">
                  <c:v>21037</c:v>
                </c:pt>
                <c:pt idx="224">
                  <c:v>21126</c:v>
                </c:pt>
                <c:pt idx="225">
                  <c:v>21191</c:v>
                </c:pt>
                <c:pt idx="226">
                  <c:v>20109</c:v>
                </c:pt>
                <c:pt idx="227">
                  <c:v>20109</c:v>
                </c:pt>
                <c:pt idx="228">
                  <c:v>20537</c:v>
                </c:pt>
                <c:pt idx="229">
                  <c:v>20594</c:v>
                </c:pt>
                <c:pt idx="230">
                  <c:v>20594</c:v>
                </c:pt>
                <c:pt idx="231">
                  <c:v>20523</c:v>
                </c:pt>
                <c:pt idx="232">
                  <c:v>21137</c:v>
                </c:pt>
                <c:pt idx="233">
                  <c:v>21194</c:v>
                </c:pt>
                <c:pt idx="234">
                  <c:v>20520</c:v>
                </c:pt>
                <c:pt idx="235">
                  <c:v>21237</c:v>
                </c:pt>
                <c:pt idx="236">
                  <c:v>21237</c:v>
                </c:pt>
                <c:pt idx="237">
                  <c:v>21294</c:v>
                </c:pt>
                <c:pt idx="238">
                  <c:v>20337</c:v>
                </c:pt>
                <c:pt idx="239">
                  <c:v>20238</c:v>
                </c:pt>
                <c:pt idx="240">
                  <c:v>20750</c:v>
                </c:pt>
                <c:pt idx="241">
                  <c:v>20802</c:v>
                </c:pt>
                <c:pt idx="242">
                  <c:v>20802</c:v>
                </c:pt>
                <c:pt idx="243">
                  <c:v>20802</c:v>
                </c:pt>
                <c:pt idx="244">
                  <c:v>20802</c:v>
                </c:pt>
                <c:pt idx="245">
                  <c:v>20802</c:v>
                </c:pt>
                <c:pt idx="246">
                  <c:v>20802</c:v>
                </c:pt>
                <c:pt idx="247">
                  <c:v>20802</c:v>
                </c:pt>
                <c:pt idx="248">
                  <c:v>20802</c:v>
                </c:pt>
                <c:pt idx="249">
                  <c:v>20802</c:v>
                </c:pt>
                <c:pt idx="250">
                  <c:v>22793</c:v>
                </c:pt>
                <c:pt idx="251">
                  <c:v>21222</c:v>
                </c:pt>
                <c:pt idx="252">
                  <c:v>22181</c:v>
                </c:pt>
                <c:pt idx="253">
                  <c:v>22181</c:v>
                </c:pt>
                <c:pt idx="254">
                  <c:v>22393</c:v>
                </c:pt>
                <c:pt idx="255">
                  <c:v>22232</c:v>
                </c:pt>
                <c:pt idx="256">
                  <c:v>22233</c:v>
                </c:pt>
                <c:pt idx="257">
                  <c:v>22893</c:v>
                </c:pt>
                <c:pt idx="258">
                  <c:v>22894</c:v>
                </c:pt>
                <c:pt idx="259">
                  <c:v>22993</c:v>
                </c:pt>
                <c:pt idx="260">
                  <c:v>22994</c:v>
                </c:pt>
                <c:pt idx="261">
                  <c:v>23093</c:v>
                </c:pt>
                <c:pt idx="262">
                  <c:v>22367</c:v>
                </c:pt>
                <c:pt idx="263">
                  <c:v>22368</c:v>
                </c:pt>
                <c:pt idx="264">
                  <c:v>22368</c:v>
                </c:pt>
                <c:pt idx="265">
                  <c:v>22793</c:v>
                </c:pt>
                <c:pt idx="266">
                  <c:v>22794</c:v>
                </c:pt>
                <c:pt idx="267">
                  <c:v>24093</c:v>
                </c:pt>
                <c:pt idx="268">
                  <c:v>24094</c:v>
                </c:pt>
                <c:pt idx="269">
                  <c:v>24094</c:v>
                </c:pt>
                <c:pt idx="270">
                  <c:v>22842</c:v>
                </c:pt>
                <c:pt idx="271">
                  <c:v>22571</c:v>
                </c:pt>
                <c:pt idx="272">
                  <c:v>22571</c:v>
                </c:pt>
                <c:pt idx="273">
                  <c:v>22571</c:v>
                </c:pt>
                <c:pt idx="274">
                  <c:v>22571</c:v>
                </c:pt>
                <c:pt idx="275">
                  <c:v>22371</c:v>
                </c:pt>
                <c:pt idx="276">
                  <c:v>21913</c:v>
                </c:pt>
                <c:pt idx="277">
                  <c:v>21071</c:v>
                </c:pt>
                <c:pt idx="278">
                  <c:v>21832</c:v>
                </c:pt>
                <c:pt idx="279">
                  <c:v>21726</c:v>
                </c:pt>
                <c:pt idx="280">
                  <c:v>21071</c:v>
                </c:pt>
                <c:pt idx="281">
                  <c:v>21578</c:v>
                </c:pt>
                <c:pt idx="282">
                  <c:v>21407</c:v>
                </c:pt>
                <c:pt idx="283">
                  <c:v>21170</c:v>
                </c:pt>
                <c:pt idx="284">
                  <c:v>21086</c:v>
                </c:pt>
                <c:pt idx="285">
                  <c:v>21086</c:v>
                </c:pt>
                <c:pt idx="286">
                  <c:v>21236</c:v>
                </c:pt>
                <c:pt idx="287">
                  <c:v>21949</c:v>
                </c:pt>
                <c:pt idx="288">
                  <c:v>22585</c:v>
                </c:pt>
                <c:pt idx="289">
                  <c:v>22529</c:v>
                </c:pt>
                <c:pt idx="290">
                  <c:v>22283</c:v>
                </c:pt>
                <c:pt idx="291">
                  <c:v>21789</c:v>
                </c:pt>
                <c:pt idx="292">
                  <c:v>21773</c:v>
                </c:pt>
                <c:pt idx="293">
                  <c:v>22685</c:v>
                </c:pt>
                <c:pt idx="294">
                  <c:v>22668</c:v>
                </c:pt>
                <c:pt idx="295">
                  <c:v>22668</c:v>
                </c:pt>
                <c:pt idx="296">
                  <c:v>21438</c:v>
                </c:pt>
                <c:pt idx="297">
                  <c:v>21423</c:v>
                </c:pt>
                <c:pt idx="298">
                  <c:v>23311</c:v>
                </c:pt>
                <c:pt idx="299">
                  <c:v>23877</c:v>
                </c:pt>
                <c:pt idx="300">
                  <c:v>23861</c:v>
                </c:pt>
                <c:pt idx="301">
                  <c:v>23861</c:v>
                </c:pt>
                <c:pt idx="302">
                  <c:v>23861</c:v>
                </c:pt>
                <c:pt idx="303">
                  <c:v>23861</c:v>
                </c:pt>
                <c:pt idx="304">
                  <c:v>23861</c:v>
                </c:pt>
                <c:pt idx="305">
                  <c:v>23861</c:v>
                </c:pt>
                <c:pt idx="306">
                  <c:v>23811</c:v>
                </c:pt>
                <c:pt idx="307">
                  <c:v>23876</c:v>
                </c:pt>
                <c:pt idx="308">
                  <c:v>22281</c:v>
                </c:pt>
                <c:pt idx="309">
                  <c:v>24786</c:v>
                </c:pt>
                <c:pt idx="310">
                  <c:v>23961</c:v>
                </c:pt>
                <c:pt idx="311">
                  <c:v>24090</c:v>
                </c:pt>
                <c:pt idx="312">
                  <c:v>24083</c:v>
                </c:pt>
                <c:pt idx="313">
                  <c:v>24083</c:v>
                </c:pt>
                <c:pt idx="314">
                  <c:v>24083</c:v>
                </c:pt>
                <c:pt idx="315">
                  <c:v>24083</c:v>
                </c:pt>
                <c:pt idx="316">
                  <c:v>24083</c:v>
                </c:pt>
                <c:pt idx="317">
                  <c:v>24083</c:v>
                </c:pt>
                <c:pt idx="318">
                  <c:v>22988</c:v>
                </c:pt>
                <c:pt idx="319">
                  <c:v>25711</c:v>
                </c:pt>
                <c:pt idx="320">
                  <c:v>25712</c:v>
                </c:pt>
                <c:pt idx="321">
                  <c:v>25229</c:v>
                </c:pt>
                <c:pt idx="322">
                  <c:v>25711</c:v>
                </c:pt>
                <c:pt idx="323">
                  <c:v>23711</c:v>
                </c:pt>
                <c:pt idx="324">
                  <c:v>25378</c:v>
                </c:pt>
                <c:pt idx="325">
                  <c:v>24597</c:v>
                </c:pt>
                <c:pt idx="326">
                  <c:v>26211</c:v>
                </c:pt>
                <c:pt idx="327">
                  <c:v>26212</c:v>
                </c:pt>
                <c:pt idx="328">
                  <c:v>26211</c:v>
                </c:pt>
                <c:pt idx="329">
                  <c:v>24974</c:v>
                </c:pt>
                <c:pt idx="330">
                  <c:v>24052</c:v>
                </c:pt>
                <c:pt idx="331">
                  <c:v>24053</c:v>
                </c:pt>
                <c:pt idx="332">
                  <c:v>24053</c:v>
                </c:pt>
                <c:pt idx="333">
                  <c:v>26102</c:v>
                </c:pt>
                <c:pt idx="334">
                  <c:v>25591</c:v>
                </c:pt>
                <c:pt idx="335">
                  <c:v>24972</c:v>
                </c:pt>
                <c:pt idx="336">
                  <c:v>22884</c:v>
                </c:pt>
                <c:pt idx="337">
                  <c:v>24813</c:v>
                </c:pt>
                <c:pt idx="338">
                  <c:v>24711</c:v>
                </c:pt>
                <c:pt idx="339">
                  <c:v>23414</c:v>
                </c:pt>
                <c:pt idx="340">
                  <c:v>23556</c:v>
                </c:pt>
                <c:pt idx="341">
                  <c:v>23558</c:v>
                </c:pt>
                <c:pt idx="342">
                  <c:v>23558</c:v>
                </c:pt>
                <c:pt idx="343">
                  <c:v>23054</c:v>
                </c:pt>
                <c:pt idx="344">
                  <c:v>24111</c:v>
                </c:pt>
                <c:pt idx="345">
                  <c:v>24195</c:v>
                </c:pt>
                <c:pt idx="346">
                  <c:v>24111</c:v>
                </c:pt>
                <c:pt idx="347">
                  <c:v>24112</c:v>
                </c:pt>
                <c:pt idx="348">
                  <c:v>24611</c:v>
                </c:pt>
                <c:pt idx="349">
                  <c:v>24612</c:v>
                </c:pt>
                <c:pt idx="350">
                  <c:v>23513</c:v>
                </c:pt>
                <c:pt idx="351">
                  <c:v>24611</c:v>
                </c:pt>
                <c:pt idx="352">
                  <c:v>23019</c:v>
                </c:pt>
                <c:pt idx="353">
                  <c:v>23021</c:v>
                </c:pt>
                <c:pt idx="354">
                  <c:v>23232</c:v>
                </c:pt>
                <c:pt idx="355">
                  <c:v>24605</c:v>
                </c:pt>
                <c:pt idx="356">
                  <c:v>24467</c:v>
                </c:pt>
                <c:pt idx="357">
                  <c:v>24792</c:v>
                </c:pt>
                <c:pt idx="358">
                  <c:v>25011</c:v>
                </c:pt>
                <c:pt idx="359">
                  <c:v>23055</c:v>
                </c:pt>
                <c:pt idx="360">
                  <c:v>24111</c:v>
                </c:pt>
                <c:pt idx="361">
                  <c:v>22473</c:v>
                </c:pt>
                <c:pt idx="362">
                  <c:v>21968</c:v>
                </c:pt>
                <c:pt idx="363">
                  <c:v>24911</c:v>
                </c:pt>
                <c:pt idx="364">
                  <c:v>24912</c:v>
                </c:pt>
                <c:pt idx="365">
                  <c:v>24912</c:v>
                </c:pt>
                <c:pt idx="366">
                  <c:v>24912</c:v>
                </c:pt>
                <c:pt idx="367">
                  <c:v>24912</c:v>
                </c:pt>
                <c:pt idx="368">
                  <c:v>21899</c:v>
                </c:pt>
                <c:pt idx="369">
                  <c:v>22711</c:v>
                </c:pt>
                <c:pt idx="370">
                  <c:v>22866</c:v>
                </c:pt>
                <c:pt idx="371">
                  <c:v>21992</c:v>
                </c:pt>
                <c:pt idx="372">
                  <c:v>23311</c:v>
                </c:pt>
                <c:pt idx="373">
                  <c:v>22598</c:v>
                </c:pt>
                <c:pt idx="374">
                  <c:v>22838</c:v>
                </c:pt>
                <c:pt idx="375">
                  <c:v>23061</c:v>
                </c:pt>
                <c:pt idx="376">
                  <c:v>23061</c:v>
                </c:pt>
                <c:pt idx="377">
                  <c:v>22524</c:v>
                </c:pt>
                <c:pt idx="378">
                  <c:v>23011</c:v>
                </c:pt>
                <c:pt idx="379">
                  <c:v>24600</c:v>
                </c:pt>
                <c:pt idx="380">
                  <c:v>23756</c:v>
                </c:pt>
                <c:pt idx="381">
                  <c:v>23811</c:v>
                </c:pt>
                <c:pt idx="382">
                  <c:v>23811</c:v>
                </c:pt>
                <c:pt idx="383">
                  <c:v>23911</c:v>
                </c:pt>
                <c:pt idx="384">
                  <c:v>23230</c:v>
                </c:pt>
                <c:pt idx="385">
                  <c:v>24398</c:v>
                </c:pt>
                <c:pt idx="386">
                  <c:v>23625</c:v>
                </c:pt>
                <c:pt idx="387">
                  <c:v>23633</c:v>
                </c:pt>
                <c:pt idx="388">
                  <c:v>24892</c:v>
                </c:pt>
                <c:pt idx="389">
                  <c:v>24851</c:v>
                </c:pt>
                <c:pt idx="390">
                  <c:v>24911</c:v>
                </c:pt>
                <c:pt idx="391">
                  <c:v>25226</c:v>
                </c:pt>
                <c:pt idx="392">
                  <c:v>24851</c:v>
                </c:pt>
                <c:pt idx="393">
                  <c:v>24851</c:v>
                </c:pt>
                <c:pt idx="394">
                  <c:v>24951</c:v>
                </c:pt>
                <c:pt idx="395">
                  <c:v>25214</c:v>
                </c:pt>
                <c:pt idx="396">
                  <c:v>23195</c:v>
                </c:pt>
                <c:pt idx="397">
                  <c:v>23195</c:v>
                </c:pt>
                <c:pt idx="398">
                  <c:v>24606</c:v>
                </c:pt>
                <c:pt idx="399">
                  <c:v>24185</c:v>
                </c:pt>
                <c:pt idx="400">
                  <c:v>24185</c:v>
                </c:pt>
                <c:pt idx="401">
                  <c:v>25261</c:v>
                </c:pt>
                <c:pt idx="402">
                  <c:v>25261</c:v>
                </c:pt>
                <c:pt idx="403">
                  <c:v>24311</c:v>
                </c:pt>
                <c:pt idx="404">
                  <c:v>24377</c:v>
                </c:pt>
                <c:pt idx="405">
                  <c:v>24311</c:v>
                </c:pt>
                <c:pt idx="406">
                  <c:v>24311</c:v>
                </c:pt>
                <c:pt idx="407">
                  <c:v>24325</c:v>
                </c:pt>
                <c:pt idx="408">
                  <c:v>23521</c:v>
                </c:pt>
                <c:pt idx="409">
                  <c:v>23850</c:v>
                </c:pt>
                <c:pt idx="410">
                  <c:v>24552</c:v>
                </c:pt>
                <c:pt idx="411">
                  <c:v>24603</c:v>
                </c:pt>
                <c:pt idx="412">
                  <c:v>24130</c:v>
                </c:pt>
                <c:pt idx="413">
                  <c:v>25618</c:v>
                </c:pt>
                <c:pt idx="414">
                  <c:v>25006</c:v>
                </c:pt>
                <c:pt idx="415">
                  <c:v>24885</c:v>
                </c:pt>
                <c:pt idx="416">
                  <c:v>25128</c:v>
                </c:pt>
                <c:pt idx="417">
                  <c:v>25761</c:v>
                </c:pt>
                <c:pt idx="418">
                  <c:v>25253</c:v>
                </c:pt>
                <c:pt idx="419">
                  <c:v>24472</c:v>
                </c:pt>
                <c:pt idx="420">
                  <c:v>25311</c:v>
                </c:pt>
                <c:pt idx="421">
                  <c:v>25692</c:v>
                </c:pt>
                <c:pt idx="422">
                  <c:v>25611</c:v>
                </c:pt>
                <c:pt idx="423">
                  <c:v>25511</c:v>
                </c:pt>
                <c:pt idx="424">
                  <c:v>25273</c:v>
                </c:pt>
                <c:pt idx="425">
                  <c:v>26411</c:v>
                </c:pt>
                <c:pt idx="426">
                  <c:v>26911</c:v>
                </c:pt>
                <c:pt idx="427">
                  <c:v>26911</c:v>
                </c:pt>
                <c:pt idx="428">
                  <c:v>27011</c:v>
                </c:pt>
                <c:pt idx="429">
                  <c:v>26619</c:v>
                </c:pt>
                <c:pt idx="430">
                  <c:v>26619</c:v>
                </c:pt>
                <c:pt idx="431">
                  <c:v>26841</c:v>
                </c:pt>
                <c:pt idx="432">
                  <c:v>26841</c:v>
                </c:pt>
                <c:pt idx="433">
                  <c:v>26847</c:v>
                </c:pt>
                <c:pt idx="434">
                  <c:v>28311</c:v>
                </c:pt>
                <c:pt idx="435">
                  <c:v>28311</c:v>
                </c:pt>
                <c:pt idx="436">
                  <c:v>28311</c:v>
                </c:pt>
                <c:pt idx="437">
                  <c:v>28311</c:v>
                </c:pt>
                <c:pt idx="438">
                  <c:v>28235</c:v>
                </c:pt>
                <c:pt idx="439">
                  <c:v>27987</c:v>
                </c:pt>
                <c:pt idx="440">
                  <c:v>27987</c:v>
                </c:pt>
                <c:pt idx="441">
                  <c:v>27987</c:v>
                </c:pt>
                <c:pt idx="442">
                  <c:v>28094</c:v>
                </c:pt>
                <c:pt idx="443">
                  <c:v>28094</c:v>
                </c:pt>
                <c:pt idx="444">
                  <c:v>28094</c:v>
                </c:pt>
                <c:pt idx="445">
                  <c:v>28094</c:v>
                </c:pt>
                <c:pt idx="446">
                  <c:v>28033</c:v>
                </c:pt>
                <c:pt idx="447">
                  <c:v>31311</c:v>
                </c:pt>
                <c:pt idx="448">
                  <c:v>31311</c:v>
                </c:pt>
                <c:pt idx="449">
                  <c:v>31311</c:v>
                </c:pt>
                <c:pt idx="450">
                  <c:v>31311</c:v>
                </c:pt>
                <c:pt idx="451">
                  <c:v>31311</c:v>
                </c:pt>
                <c:pt idx="452">
                  <c:v>31311</c:v>
                </c:pt>
                <c:pt idx="453">
                  <c:v>29076</c:v>
                </c:pt>
                <c:pt idx="454">
                  <c:v>29076</c:v>
                </c:pt>
                <c:pt idx="455">
                  <c:v>29076</c:v>
                </c:pt>
                <c:pt idx="456">
                  <c:v>29076</c:v>
                </c:pt>
                <c:pt idx="457">
                  <c:v>28409</c:v>
                </c:pt>
                <c:pt idx="458">
                  <c:v>28409</c:v>
                </c:pt>
                <c:pt idx="459">
                  <c:v>28618</c:v>
                </c:pt>
                <c:pt idx="460">
                  <c:v>28714</c:v>
                </c:pt>
                <c:pt idx="461">
                  <c:v>28714</c:v>
                </c:pt>
                <c:pt idx="462">
                  <c:v>28714</c:v>
                </c:pt>
                <c:pt idx="463">
                  <c:v>28714</c:v>
                </c:pt>
                <c:pt idx="464">
                  <c:v>28714</c:v>
                </c:pt>
                <c:pt idx="465">
                  <c:v>28714</c:v>
                </c:pt>
                <c:pt idx="466">
                  <c:v>28714</c:v>
                </c:pt>
                <c:pt idx="467">
                  <c:v>27008</c:v>
                </c:pt>
                <c:pt idx="468">
                  <c:v>27008</c:v>
                </c:pt>
                <c:pt idx="469">
                  <c:v>27008</c:v>
                </c:pt>
                <c:pt idx="470">
                  <c:v>27008</c:v>
                </c:pt>
                <c:pt idx="471">
                  <c:v>27008</c:v>
                </c:pt>
                <c:pt idx="472">
                  <c:v>27008</c:v>
                </c:pt>
                <c:pt idx="473">
                  <c:v>27235</c:v>
                </c:pt>
                <c:pt idx="474">
                  <c:v>26821</c:v>
                </c:pt>
                <c:pt idx="475">
                  <c:v>26821</c:v>
                </c:pt>
                <c:pt idx="476">
                  <c:v>27300</c:v>
                </c:pt>
                <c:pt idx="477">
                  <c:v>27300</c:v>
                </c:pt>
                <c:pt idx="478">
                  <c:v>27287</c:v>
                </c:pt>
                <c:pt idx="479">
                  <c:v>27199</c:v>
                </c:pt>
                <c:pt idx="480">
                  <c:v>26726</c:v>
                </c:pt>
                <c:pt idx="481">
                  <c:v>26726</c:v>
                </c:pt>
                <c:pt idx="482">
                  <c:v>26789</c:v>
                </c:pt>
                <c:pt idx="483">
                  <c:v>27285</c:v>
                </c:pt>
                <c:pt idx="484">
                  <c:v>26905</c:v>
                </c:pt>
                <c:pt idx="485">
                  <c:v>26905</c:v>
                </c:pt>
                <c:pt idx="486">
                  <c:v>26905</c:v>
                </c:pt>
                <c:pt idx="487">
                  <c:v>26587</c:v>
                </c:pt>
                <c:pt idx="488">
                  <c:v>26587</c:v>
                </c:pt>
                <c:pt idx="489">
                  <c:v>26587</c:v>
                </c:pt>
                <c:pt idx="490">
                  <c:v>26201</c:v>
                </c:pt>
                <c:pt idx="491">
                  <c:v>26201</c:v>
                </c:pt>
                <c:pt idx="492">
                  <c:v>26985</c:v>
                </c:pt>
                <c:pt idx="493">
                  <c:v>26985</c:v>
                </c:pt>
                <c:pt idx="494">
                  <c:v>27087</c:v>
                </c:pt>
                <c:pt idx="495">
                  <c:v>27087</c:v>
                </c:pt>
                <c:pt idx="496">
                  <c:v>27087</c:v>
                </c:pt>
                <c:pt idx="497">
                  <c:v>27087</c:v>
                </c:pt>
                <c:pt idx="498">
                  <c:v>27087</c:v>
                </c:pt>
                <c:pt idx="499">
                  <c:v>27087</c:v>
                </c:pt>
                <c:pt idx="500">
                  <c:v>27087</c:v>
                </c:pt>
                <c:pt idx="501">
                  <c:v>27102</c:v>
                </c:pt>
                <c:pt idx="502">
                  <c:v>27102</c:v>
                </c:pt>
                <c:pt idx="503">
                  <c:v>27102</c:v>
                </c:pt>
                <c:pt idx="504">
                  <c:v>27102</c:v>
                </c:pt>
                <c:pt idx="505">
                  <c:v>27102</c:v>
                </c:pt>
                <c:pt idx="506">
                  <c:v>27102</c:v>
                </c:pt>
                <c:pt idx="507">
                  <c:v>26790</c:v>
                </c:pt>
                <c:pt idx="508">
                  <c:v>26790</c:v>
                </c:pt>
                <c:pt idx="509">
                  <c:v>26790</c:v>
                </c:pt>
                <c:pt idx="510">
                  <c:v>26790</c:v>
                </c:pt>
                <c:pt idx="511">
                  <c:v>26790</c:v>
                </c:pt>
                <c:pt idx="512">
                  <c:v>26635</c:v>
                </c:pt>
                <c:pt idx="513">
                  <c:v>26685</c:v>
                </c:pt>
                <c:pt idx="514">
                  <c:v>27025</c:v>
                </c:pt>
                <c:pt idx="515">
                  <c:v>27025</c:v>
                </c:pt>
                <c:pt idx="516">
                  <c:v>25397</c:v>
                </c:pt>
                <c:pt idx="517">
                  <c:v>25397</c:v>
                </c:pt>
                <c:pt idx="518">
                  <c:v>25397</c:v>
                </c:pt>
                <c:pt idx="519">
                  <c:v>25397</c:v>
                </c:pt>
                <c:pt idx="520">
                  <c:v>25754</c:v>
                </c:pt>
                <c:pt idx="521">
                  <c:v>26725</c:v>
                </c:pt>
                <c:pt idx="522">
                  <c:v>26725</c:v>
                </c:pt>
                <c:pt idx="523">
                  <c:v>26725</c:v>
                </c:pt>
                <c:pt idx="524">
                  <c:v>27658</c:v>
                </c:pt>
                <c:pt idx="525">
                  <c:v>27658</c:v>
                </c:pt>
                <c:pt idx="526">
                  <c:v>27198</c:v>
                </c:pt>
                <c:pt idx="527">
                  <c:v>27861</c:v>
                </c:pt>
                <c:pt idx="528">
                  <c:v>28063</c:v>
                </c:pt>
                <c:pt idx="529">
                  <c:v>27419</c:v>
                </c:pt>
                <c:pt idx="530">
                  <c:v>27419</c:v>
                </c:pt>
                <c:pt idx="531">
                  <c:v>27419</c:v>
                </c:pt>
                <c:pt idx="532">
                  <c:v>27419</c:v>
                </c:pt>
                <c:pt idx="533">
                  <c:v>27419</c:v>
                </c:pt>
                <c:pt idx="534">
                  <c:v>27680</c:v>
                </c:pt>
                <c:pt idx="535">
                  <c:v>26901</c:v>
                </c:pt>
                <c:pt idx="536">
                  <c:v>26901</c:v>
                </c:pt>
                <c:pt idx="537">
                  <c:v>26901</c:v>
                </c:pt>
                <c:pt idx="538">
                  <c:v>28659</c:v>
                </c:pt>
                <c:pt idx="539">
                  <c:v>29558</c:v>
                </c:pt>
                <c:pt idx="540">
                  <c:v>29558</c:v>
                </c:pt>
                <c:pt idx="541">
                  <c:v>28425</c:v>
                </c:pt>
                <c:pt idx="542">
                  <c:v>28001</c:v>
                </c:pt>
                <c:pt idx="543">
                  <c:v>28216</c:v>
                </c:pt>
                <c:pt idx="544">
                  <c:v>29558</c:v>
                </c:pt>
                <c:pt idx="545">
                  <c:v>28261</c:v>
                </c:pt>
                <c:pt idx="546">
                  <c:v>29558</c:v>
                </c:pt>
                <c:pt idx="547">
                  <c:v>29558</c:v>
                </c:pt>
                <c:pt idx="548">
                  <c:v>29558</c:v>
                </c:pt>
                <c:pt idx="549">
                  <c:v>28540</c:v>
                </c:pt>
                <c:pt idx="550">
                  <c:v>28150</c:v>
                </c:pt>
                <c:pt idx="551">
                  <c:v>28567</c:v>
                </c:pt>
                <c:pt idx="552">
                  <c:v>29476</c:v>
                </c:pt>
                <c:pt idx="553">
                  <c:v>28417</c:v>
                </c:pt>
                <c:pt idx="554">
                  <c:v>28190</c:v>
                </c:pt>
                <c:pt idx="555">
                  <c:v>27745</c:v>
                </c:pt>
                <c:pt idx="556">
                  <c:v>28608</c:v>
                </c:pt>
                <c:pt idx="557">
                  <c:v>27840</c:v>
                </c:pt>
                <c:pt idx="558">
                  <c:v>28210</c:v>
                </c:pt>
                <c:pt idx="559">
                  <c:v>28210</c:v>
                </c:pt>
                <c:pt idx="560">
                  <c:v>29558</c:v>
                </c:pt>
                <c:pt idx="561">
                  <c:v>28258</c:v>
                </c:pt>
                <c:pt idx="562">
                  <c:v>28397</c:v>
                </c:pt>
                <c:pt idx="563">
                  <c:v>28058</c:v>
                </c:pt>
                <c:pt idx="564">
                  <c:v>28107</c:v>
                </c:pt>
                <c:pt idx="565">
                  <c:v>28458</c:v>
                </c:pt>
                <c:pt idx="566">
                  <c:v>29252</c:v>
                </c:pt>
                <c:pt idx="567">
                  <c:v>29252</c:v>
                </c:pt>
                <c:pt idx="568">
                  <c:v>28409</c:v>
                </c:pt>
                <c:pt idx="569">
                  <c:v>28410</c:v>
                </c:pt>
                <c:pt idx="570">
                  <c:v>28558</c:v>
                </c:pt>
                <c:pt idx="571">
                  <c:v>28492</c:v>
                </c:pt>
                <c:pt idx="572">
                  <c:v>29031</c:v>
                </c:pt>
                <c:pt idx="573">
                  <c:v>28458</c:v>
                </c:pt>
                <c:pt idx="574">
                  <c:v>28458</c:v>
                </c:pt>
                <c:pt idx="575">
                  <c:v>28459</c:v>
                </c:pt>
                <c:pt idx="576">
                  <c:v>28361</c:v>
                </c:pt>
                <c:pt idx="577">
                  <c:v>28062</c:v>
                </c:pt>
                <c:pt idx="578">
                  <c:v>29434</c:v>
                </c:pt>
                <c:pt idx="579">
                  <c:v>27758</c:v>
                </c:pt>
                <c:pt idx="580">
                  <c:v>27587</c:v>
                </c:pt>
                <c:pt idx="581">
                  <c:v>28969</c:v>
                </c:pt>
                <c:pt idx="582">
                  <c:v>27626</c:v>
                </c:pt>
                <c:pt idx="583">
                  <c:v>27713</c:v>
                </c:pt>
                <c:pt idx="584">
                  <c:v>29104</c:v>
                </c:pt>
                <c:pt idx="585">
                  <c:v>27431</c:v>
                </c:pt>
                <c:pt idx="586">
                  <c:v>28063</c:v>
                </c:pt>
                <c:pt idx="587">
                  <c:v>27020</c:v>
                </c:pt>
                <c:pt idx="588">
                  <c:v>26922</c:v>
                </c:pt>
                <c:pt idx="589">
                  <c:v>26668</c:v>
                </c:pt>
                <c:pt idx="590">
                  <c:v>27550</c:v>
                </c:pt>
                <c:pt idx="591">
                  <c:v>27488</c:v>
                </c:pt>
                <c:pt idx="592">
                  <c:v>27684</c:v>
                </c:pt>
                <c:pt idx="593">
                  <c:v>27371</c:v>
                </c:pt>
                <c:pt idx="594">
                  <c:v>27301</c:v>
                </c:pt>
                <c:pt idx="595">
                  <c:v>27048</c:v>
                </c:pt>
                <c:pt idx="596">
                  <c:v>27204</c:v>
                </c:pt>
                <c:pt idx="597">
                  <c:v>27810</c:v>
                </c:pt>
                <c:pt idx="598">
                  <c:v>27415</c:v>
                </c:pt>
                <c:pt idx="599">
                  <c:v>27307</c:v>
                </c:pt>
                <c:pt idx="600">
                  <c:v>27594</c:v>
                </c:pt>
                <c:pt idx="601">
                  <c:v>27087</c:v>
                </c:pt>
                <c:pt idx="602">
                  <c:v>27679</c:v>
                </c:pt>
                <c:pt idx="603">
                  <c:v>27058</c:v>
                </c:pt>
                <c:pt idx="604">
                  <c:v>26974</c:v>
                </c:pt>
                <c:pt idx="605">
                  <c:v>26986</c:v>
                </c:pt>
                <c:pt idx="606">
                  <c:v>26937</c:v>
                </c:pt>
                <c:pt idx="607">
                  <c:v>27061</c:v>
                </c:pt>
                <c:pt idx="608">
                  <c:v>27555</c:v>
                </c:pt>
                <c:pt idx="609">
                  <c:v>26848</c:v>
                </c:pt>
                <c:pt idx="610">
                  <c:v>26451</c:v>
                </c:pt>
                <c:pt idx="611">
                  <c:v>26415</c:v>
                </c:pt>
                <c:pt idx="612">
                  <c:v>26351</c:v>
                </c:pt>
                <c:pt idx="613">
                  <c:v>26358</c:v>
                </c:pt>
                <c:pt idx="614">
                  <c:v>26873</c:v>
                </c:pt>
                <c:pt idx="615">
                  <c:v>26413</c:v>
                </c:pt>
                <c:pt idx="616">
                  <c:v>26904</c:v>
                </c:pt>
                <c:pt idx="617">
                  <c:v>27502</c:v>
                </c:pt>
                <c:pt idx="618">
                  <c:v>27193</c:v>
                </c:pt>
                <c:pt idx="619">
                  <c:v>26899</c:v>
                </c:pt>
                <c:pt idx="620">
                  <c:v>27168</c:v>
                </c:pt>
                <c:pt idx="621">
                  <c:v>27295</c:v>
                </c:pt>
                <c:pt idx="622">
                  <c:v>27630</c:v>
                </c:pt>
                <c:pt idx="623">
                  <c:v>27347</c:v>
                </c:pt>
                <c:pt idx="624">
                  <c:v>27329</c:v>
                </c:pt>
                <c:pt idx="625">
                  <c:v>27521</c:v>
                </c:pt>
                <c:pt idx="626">
                  <c:v>27208</c:v>
                </c:pt>
                <c:pt idx="627">
                  <c:v>27630</c:v>
                </c:pt>
                <c:pt idx="628">
                  <c:v>27515</c:v>
                </c:pt>
                <c:pt idx="629">
                  <c:v>28187</c:v>
                </c:pt>
                <c:pt idx="630">
                  <c:v>28148</c:v>
                </c:pt>
                <c:pt idx="631">
                  <c:v>28122</c:v>
                </c:pt>
                <c:pt idx="632">
                  <c:v>28302</c:v>
                </c:pt>
                <c:pt idx="633">
                  <c:v>28488</c:v>
                </c:pt>
                <c:pt idx="634">
                  <c:v>28965</c:v>
                </c:pt>
                <c:pt idx="635">
                  <c:v>29083</c:v>
                </c:pt>
                <c:pt idx="636">
                  <c:v>29186</c:v>
                </c:pt>
                <c:pt idx="637">
                  <c:v>29516</c:v>
                </c:pt>
                <c:pt idx="638">
                  <c:v>29640</c:v>
                </c:pt>
                <c:pt idx="639">
                  <c:v>29540</c:v>
                </c:pt>
                <c:pt idx="640">
                  <c:v>29753</c:v>
                </c:pt>
                <c:pt idx="641">
                  <c:v>29487</c:v>
                </c:pt>
                <c:pt idx="642">
                  <c:v>29614</c:v>
                </c:pt>
                <c:pt idx="643">
                  <c:v>30235</c:v>
                </c:pt>
                <c:pt idx="644">
                  <c:v>30114</c:v>
                </c:pt>
                <c:pt idx="645">
                  <c:v>30457</c:v>
                </c:pt>
                <c:pt idx="646">
                  <c:v>30343</c:v>
                </c:pt>
                <c:pt idx="647">
                  <c:v>30578</c:v>
                </c:pt>
                <c:pt idx="648">
                  <c:v>31929</c:v>
                </c:pt>
                <c:pt idx="649">
                  <c:v>30698</c:v>
                </c:pt>
                <c:pt idx="650">
                  <c:v>31190</c:v>
                </c:pt>
                <c:pt idx="651">
                  <c:v>30817</c:v>
                </c:pt>
                <c:pt idx="652">
                  <c:v>31027</c:v>
                </c:pt>
                <c:pt idx="653">
                  <c:v>31021</c:v>
                </c:pt>
                <c:pt idx="654">
                  <c:v>30524</c:v>
                </c:pt>
                <c:pt idx="655">
                  <c:v>31122</c:v>
                </c:pt>
                <c:pt idx="656">
                  <c:v>31405</c:v>
                </c:pt>
                <c:pt idx="657">
                  <c:v>31640</c:v>
                </c:pt>
                <c:pt idx="658">
                  <c:v>31879</c:v>
                </c:pt>
                <c:pt idx="659">
                  <c:v>31748</c:v>
                </c:pt>
                <c:pt idx="660">
                  <c:v>31692</c:v>
                </c:pt>
                <c:pt idx="661">
                  <c:v>31672</c:v>
                </c:pt>
                <c:pt idx="662">
                  <c:v>31945</c:v>
                </c:pt>
                <c:pt idx="663">
                  <c:v>31889</c:v>
                </c:pt>
                <c:pt idx="664">
                  <c:v>31399</c:v>
                </c:pt>
                <c:pt idx="665">
                  <c:v>32246</c:v>
                </c:pt>
                <c:pt idx="666">
                  <c:v>31964</c:v>
                </c:pt>
                <c:pt idx="667">
                  <c:v>31804</c:v>
                </c:pt>
                <c:pt idx="668">
                  <c:v>31692</c:v>
                </c:pt>
                <c:pt idx="669">
                  <c:v>31462</c:v>
                </c:pt>
                <c:pt idx="670">
                  <c:v>31287</c:v>
                </c:pt>
                <c:pt idx="671">
                  <c:v>31240</c:v>
                </c:pt>
                <c:pt idx="672">
                  <c:v>31807</c:v>
                </c:pt>
                <c:pt idx="673">
                  <c:v>30857</c:v>
                </c:pt>
                <c:pt idx="674">
                  <c:v>30577</c:v>
                </c:pt>
                <c:pt idx="675">
                  <c:v>32308</c:v>
                </c:pt>
                <c:pt idx="676">
                  <c:v>32308</c:v>
                </c:pt>
                <c:pt idx="677">
                  <c:v>30451</c:v>
                </c:pt>
                <c:pt idx="678">
                  <c:v>30451</c:v>
                </c:pt>
                <c:pt idx="679">
                  <c:v>30451</c:v>
                </c:pt>
                <c:pt idx="680">
                  <c:v>32308</c:v>
                </c:pt>
                <c:pt idx="681">
                  <c:v>31238</c:v>
                </c:pt>
                <c:pt idx="682">
                  <c:v>32308</c:v>
                </c:pt>
                <c:pt idx="683">
                  <c:v>30584</c:v>
                </c:pt>
                <c:pt idx="684">
                  <c:v>30865</c:v>
                </c:pt>
                <c:pt idx="685">
                  <c:v>30865</c:v>
                </c:pt>
                <c:pt idx="686">
                  <c:v>30865</c:v>
                </c:pt>
                <c:pt idx="687">
                  <c:v>30868</c:v>
                </c:pt>
                <c:pt idx="688">
                  <c:v>30655</c:v>
                </c:pt>
                <c:pt idx="689">
                  <c:v>30655</c:v>
                </c:pt>
                <c:pt idx="690">
                  <c:v>30655</c:v>
                </c:pt>
                <c:pt idx="691">
                  <c:v>30706</c:v>
                </c:pt>
                <c:pt idx="692">
                  <c:v>30810</c:v>
                </c:pt>
                <c:pt idx="693">
                  <c:v>30865</c:v>
                </c:pt>
                <c:pt idx="694">
                  <c:v>30773</c:v>
                </c:pt>
                <c:pt idx="695">
                  <c:v>30757</c:v>
                </c:pt>
                <c:pt idx="696">
                  <c:v>30757</c:v>
                </c:pt>
                <c:pt idx="697">
                  <c:v>30757</c:v>
                </c:pt>
                <c:pt idx="698">
                  <c:v>30750</c:v>
                </c:pt>
                <c:pt idx="699">
                  <c:v>30815</c:v>
                </c:pt>
                <c:pt idx="700">
                  <c:v>30859</c:v>
                </c:pt>
                <c:pt idx="701">
                  <c:v>30225</c:v>
                </c:pt>
                <c:pt idx="702">
                  <c:v>30225</c:v>
                </c:pt>
                <c:pt idx="703">
                  <c:v>30225</c:v>
                </c:pt>
                <c:pt idx="704">
                  <c:v>30225</c:v>
                </c:pt>
                <c:pt idx="705">
                  <c:v>31425</c:v>
                </c:pt>
                <c:pt idx="706">
                  <c:v>30888</c:v>
                </c:pt>
                <c:pt idx="707">
                  <c:v>31014</c:v>
                </c:pt>
                <c:pt idx="708">
                  <c:v>31014</c:v>
                </c:pt>
                <c:pt idx="709">
                  <c:v>31014</c:v>
                </c:pt>
                <c:pt idx="710">
                  <c:v>31014</c:v>
                </c:pt>
                <c:pt idx="711">
                  <c:v>30925</c:v>
                </c:pt>
                <c:pt idx="712">
                  <c:v>30925</c:v>
                </c:pt>
                <c:pt idx="713">
                  <c:v>30925</c:v>
                </c:pt>
                <c:pt idx="714">
                  <c:v>30925</c:v>
                </c:pt>
                <c:pt idx="715">
                  <c:v>31669</c:v>
                </c:pt>
                <c:pt idx="716">
                  <c:v>31485</c:v>
                </c:pt>
                <c:pt idx="717">
                  <c:v>31485</c:v>
                </c:pt>
                <c:pt idx="718">
                  <c:v>31327</c:v>
                </c:pt>
                <c:pt idx="719">
                  <c:v>31275</c:v>
                </c:pt>
                <c:pt idx="720">
                  <c:v>31275</c:v>
                </c:pt>
                <c:pt idx="721">
                  <c:v>31275</c:v>
                </c:pt>
                <c:pt idx="722">
                  <c:v>30011</c:v>
                </c:pt>
                <c:pt idx="723">
                  <c:v>31275</c:v>
                </c:pt>
                <c:pt idx="724">
                  <c:v>31275</c:v>
                </c:pt>
                <c:pt idx="725">
                  <c:v>31275</c:v>
                </c:pt>
                <c:pt idx="726">
                  <c:v>31275</c:v>
                </c:pt>
                <c:pt idx="727">
                  <c:v>31275</c:v>
                </c:pt>
                <c:pt idx="728">
                  <c:v>31275</c:v>
                </c:pt>
                <c:pt idx="729">
                  <c:v>29988</c:v>
                </c:pt>
                <c:pt idx="730">
                  <c:v>29988</c:v>
                </c:pt>
                <c:pt idx="731">
                  <c:v>29988</c:v>
                </c:pt>
                <c:pt idx="732">
                  <c:v>29988</c:v>
                </c:pt>
                <c:pt idx="733">
                  <c:v>29988</c:v>
                </c:pt>
                <c:pt idx="734">
                  <c:v>29988</c:v>
                </c:pt>
                <c:pt idx="735">
                  <c:v>29988</c:v>
                </c:pt>
                <c:pt idx="736">
                  <c:v>29988</c:v>
                </c:pt>
                <c:pt idx="737">
                  <c:v>29988</c:v>
                </c:pt>
                <c:pt idx="738">
                  <c:v>29988</c:v>
                </c:pt>
                <c:pt idx="739">
                  <c:v>29988</c:v>
                </c:pt>
                <c:pt idx="740">
                  <c:v>29988</c:v>
                </c:pt>
                <c:pt idx="741">
                  <c:v>29280</c:v>
                </c:pt>
                <c:pt idx="742">
                  <c:v>29280</c:v>
                </c:pt>
                <c:pt idx="743">
                  <c:v>30475</c:v>
                </c:pt>
                <c:pt idx="744">
                  <c:v>30475</c:v>
                </c:pt>
                <c:pt idx="745">
                  <c:v>30475</c:v>
                </c:pt>
                <c:pt idx="746">
                  <c:v>30475</c:v>
                </c:pt>
                <c:pt idx="747">
                  <c:v>29274</c:v>
                </c:pt>
                <c:pt idx="748">
                  <c:v>29274</c:v>
                </c:pt>
                <c:pt idx="749">
                  <c:v>29274</c:v>
                </c:pt>
                <c:pt idx="750">
                  <c:v>31174</c:v>
                </c:pt>
                <c:pt idx="751">
                  <c:v>31174</c:v>
                </c:pt>
                <c:pt idx="752">
                  <c:v>31174</c:v>
                </c:pt>
                <c:pt idx="753">
                  <c:v>31174</c:v>
                </c:pt>
                <c:pt idx="754">
                  <c:v>31174</c:v>
                </c:pt>
                <c:pt idx="755">
                  <c:v>31174</c:v>
                </c:pt>
                <c:pt idx="756">
                  <c:v>31174</c:v>
                </c:pt>
                <c:pt idx="757">
                  <c:v>31174</c:v>
                </c:pt>
                <c:pt idx="758">
                  <c:v>31174</c:v>
                </c:pt>
                <c:pt idx="759">
                  <c:v>31174</c:v>
                </c:pt>
                <c:pt idx="760">
                  <c:v>30654</c:v>
                </c:pt>
                <c:pt idx="761">
                  <c:v>28384</c:v>
                </c:pt>
                <c:pt idx="762">
                  <c:v>30654</c:v>
                </c:pt>
                <c:pt idx="763">
                  <c:v>30654</c:v>
                </c:pt>
                <c:pt idx="764">
                  <c:v>28875</c:v>
                </c:pt>
                <c:pt idx="765">
                  <c:v>30254</c:v>
                </c:pt>
                <c:pt idx="766">
                  <c:v>30465</c:v>
                </c:pt>
                <c:pt idx="767">
                  <c:v>30451</c:v>
                </c:pt>
                <c:pt idx="768">
                  <c:v>30442</c:v>
                </c:pt>
                <c:pt idx="769">
                  <c:v>30451</c:v>
                </c:pt>
                <c:pt idx="770">
                  <c:v>30686</c:v>
                </c:pt>
                <c:pt idx="771">
                  <c:v>30716</c:v>
                </c:pt>
                <c:pt idx="772">
                  <c:v>30876</c:v>
                </c:pt>
                <c:pt idx="773">
                  <c:v>30871</c:v>
                </c:pt>
                <c:pt idx="774">
                  <c:v>30867</c:v>
                </c:pt>
                <c:pt idx="775">
                  <c:v>30867</c:v>
                </c:pt>
                <c:pt idx="776">
                  <c:v>30867</c:v>
                </c:pt>
                <c:pt idx="777">
                  <c:v>30867</c:v>
                </c:pt>
                <c:pt idx="778">
                  <c:v>30891</c:v>
                </c:pt>
                <c:pt idx="779">
                  <c:v>30922</c:v>
                </c:pt>
                <c:pt idx="780">
                  <c:v>30649</c:v>
                </c:pt>
                <c:pt idx="781">
                  <c:v>30587</c:v>
                </c:pt>
                <c:pt idx="782">
                  <c:v>30989</c:v>
                </c:pt>
                <c:pt idx="783">
                  <c:v>30715</c:v>
                </c:pt>
                <c:pt idx="784">
                  <c:v>30630</c:v>
                </c:pt>
                <c:pt idx="785">
                  <c:v>30630</c:v>
                </c:pt>
                <c:pt idx="786">
                  <c:v>30867</c:v>
                </c:pt>
                <c:pt idx="787">
                  <c:v>30867</c:v>
                </c:pt>
                <c:pt idx="788">
                  <c:v>30174</c:v>
                </c:pt>
                <c:pt idx="789">
                  <c:v>30385</c:v>
                </c:pt>
                <c:pt idx="790">
                  <c:v>30235</c:v>
                </c:pt>
                <c:pt idx="791">
                  <c:v>30458</c:v>
                </c:pt>
                <c:pt idx="792">
                  <c:v>30174</c:v>
                </c:pt>
                <c:pt idx="793">
                  <c:v>30129</c:v>
                </c:pt>
                <c:pt idx="794">
                  <c:v>29928</c:v>
                </c:pt>
                <c:pt idx="795">
                  <c:v>29773</c:v>
                </c:pt>
                <c:pt idx="796">
                  <c:v>30120</c:v>
                </c:pt>
                <c:pt idx="797">
                  <c:v>30099</c:v>
                </c:pt>
                <c:pt idx="798">
                  <c:v>29997</c:v>
                </c:pt>
                <c:pt idx="799">
                  <c:v>30302</c:v>
                </c:pt>
                <c:pt idx="800">
                  <c:v>30339</c:v>
                </c:pt>
                <c:pt idx="801">
                  <c:v>30539</c:v>
                </c:pt>
                <c:pt idx="802">
                  <c:v>30573</c:v>
                </c:pt>
                <c:pt idx="803">
                  <c:v>30746</c:v>
                </c:pt>
                <c:pt idx="804">
                  <c:v>31031</c:v>
                </c:pt>
                <c:pt idx="805">
                  <c:v>31271</c:v>
                </c:pt>
                <c:pt idx="806">
                  <c:v>31469</c:v>
                </c:pt>
                <c:pt idx="807">
                  <c:v>31644</c:v>
                </c:pt>
                <c:pt idx="808">
                  <c:v>31684</c:v>
                </c:pt>
                <c:pt idx="809">
                  <c:v>31703</c:v>
                </c:pt>
                <c:pt idx="810">
                  <c:v>31484</c:v>
                </c:pt>
                <c:pt idx="811">
                  <c:v>31409</c:v>
                </c:pt>
                <c:pt idx="812">
                  <c:v>31348</c:v>
                </c:pt>
                <c:pt idx="813">
                  <c:v>31124</c:v>
                </c:pt>
                <c:pt idx="814">
                  <c:v>30927</c:v>
                </c:pt>
                <c:pt idx="815">
                  <c:v>30771</c:v>
                </c:pt>
                <c:pt idx="816">
                  <c:v>30080</c:v>
                </c:pt>
                <c:pt idx="817">
                  <c:v>30052</c:v>
                </c:pt>
                <c:pt idx="818">
                  <c:v>29875</c:v>
                </c:pt>
                <c:pt idx="819">
                  <c:v>29701</c:v>
                </c:pt>
                <c:pt idx="820">
                  <c:v>29502</c:v>
                </c:pt>
                <c:pt idx="821">
                  <c:v>29983</c:v>
                </c:pt>
                <c:pt idx="822">
                  <c:v>29989</c:v>
                </c:pt>
                <c:pt idx="823">
                  <c:v>30012</c:v>
                </c:pt>
                <c:pt idx="824">
                  <c:v>30266</c:v>
                </c:pt>
                <c:pt idx="825">
                  <c:v>29903</c:v>
                </c:pt>
                <c:pt idx="826">
                  <c:v>30108</c:v>
                </c:pt>
                <c:pt idx="827">
                  <c:v>30267</c:v>
                </c:pt>
                <c:pt idx="828">
                  <c:v>29647</c:v>
                </c:pt>
                <c:pt idx="829">
                  <c:v>29984</c:v>
                </c:pt>
                <c:pt idx="830">
                  <c:v>30339</c:v>
                </c:pt>
                <c:pt idx="831">
                  <c:v>30230</c:v>
                </c:pt>
                <c:pt idx="832">
                  <c:v>30109</c:v>
                </c:pt>
                <c:pt idx="833">
                  <c:v>29699</c:v>
                </c:pt>
                <c:pt idx="834">
                  <c:v>29489</c:v>
                </c:pt>
                <c:pt idx="835">
                  <c:v>29272</c:v>
                </c:pt>
                <c:pt idx="836">
                  <c:v>28998</c:v>
                </c:pt>
                <c:pt idx="837">
                  <c:v>29029</c:v>
                </c:pt>
                <c:pt idx="838">
                  <c:v>29137</c:v>
                </c:pt>
                <c:pt idx="839">
                  <c:v>29229</c:v>
                </c:pt>
                <c:pt idx="840">
                  <c:v>29335</c:v>
                </c:pt>
                <c:pt idx="841">
                  <c:v>29267</c:v>
                </c:pt>
                <c:pt idx="842">
                  <c:v>29321</c:v>
                </c:pt>
                <c:pt idx="843">
                  <c:v>29337</c:v>
                </c:pt>
                <c:pt idx="844">
                  <c:v>29170</c:v>
                </c:pt>
                <c:pt idx="845">
                  <c:v>29256</c:v>
                </c:pt>
                <c:pt idx="846">
                  <c:v>29228</c:v>
                </c:pt>
                <c:pt idx="847">
                  <c:v>29241</c:v>
                </c:pt>
                <c:pt idx="848">
                  <c:v>29287</c:v>
                </c:pt>
                <c:pt idx="849">
                  <c:v>29286</c:v>
                </c:pt>
                <c:pt idx="850">
                  <c:v>29301</c:v>
                </c:pt>
                <c:pt idx="851">
                  <c:v>29318</c:v>
                </c:pt>
                <c:pt idx="852">
                  <c:v>29294</c:v>
                </c:pt>
                <c:pt idx="853">
                  <c:v>29194</c:v>
                </c:pt>
                <c:pt idx="854">
                  <c:v>29277</c:v>
                </c:pt>
                <c:pt idx="855">
                  <c:v>29289</c:v>
                </c:pt>
                <c:pt idx="856">
                  <c:v>29383</c:v>
                </c:pt>
                <c:pt idx="857">
                  <c:v>29372</c:v>
                </c:pt>
                <c:pt idx="858">
                  <c:v>29467</c:v>
                </c:pt>
                <c:pt idx="859">
                  <c:v>29450</c:v>
                </c:pt>
                <c:pt idx="860">
                  <c:v>29655</c:v>
                </c:pt>
                <c:pt idx="861">
                  <c:v>29775</c:v>
                </c:pt>
                <c:pt idx="862">
                  <c:v>29811</c:v>
                </c:pt>
                <c:pt idx="863">
                  <c:v>30267</c:v>
                </c:pt>
                <c:pt idx="864">
                  <c:v>30596</c:v>
                </c:pt>
                <c:pt idx="865">
                  <c:v>30620</c:v>
                </c:pt>
                <c:pt idx="866">
                  <c:v>30677</c:v>
                </c:pt>
                <c:pt idx="867">
                  <c:v>31013</c:v>
                </c:pt>
                <c:pt idx="868">
                  <c:v>31066</c:v>
                </c:pt>
                <c:pt idx="869">
                  <c:v>30994</c:v>
                </c:pt>
                <c:pt idx="870">
                  <c:v>31021</c:v>
                </c:pt>
                <c:pt idx="871">
                  <c:v>31144</c:v>
                </c:pt>
                <c:pt idx="872">
                  <c:v>31323</c:v>
                </c:pt>
                <c:pt idx="873">
                  <c:v>31422</c:v>
                </c:pt>
                <c:pt idx="874">
                  <c:v>31441</c:v>
                </c:pt>
                <c:pt idx="875">
                  <c:v>31525</c:v>
                </c:pt>
                <c:pt idx="876">
                  <c:v>31527</c:v>
                </c:pt>
                <c:pt idx="877">
                  <c:v>31557</c:v>
                </c:pt>
                <c:pt idx="878">
                  <c:v>31610</c:v>
                </c:pt>
                <c:pt idx="879">
                  <c:v>31682</c:v>
                </c:pt>
                <c:pt idx="880">
                  <c:v>31557</c:v>
                </c:pt>
                <c:pt idx="881">
                  <c:v>31535</c:v>
                </c:pt>
                <c:pt idx="882">
                  <c:v>31723</c:v>
                </c:pt>
                <c:pt idx="883">
                  <c:v>31693</c:v>
                </c:pt>
                <c:pt idx="884">
                  <c:v>31875</c:v>
                </c:pt>
                <c:pt idx="885">
                  <c:v>31950</c:v>
                </c:pt>
                <c:pt idx="886">
                  <c:v>31863</c:v>
                </c:pt>
                <c:pt idx="887">
                  <c:v>31763</c:v>
                </c:pt>
                <c:pt idx="888">
                  <c:v>31700</c:v>
                </c:pt>
                <c:pt idx="889">
                  <c:v>31452</c:v>
                </c:pt>
                <c:pt idx="890">
                  <c:v>31171</c:v>
                </c:pt>
                <c:pt idx="891">
                  <c:v>31171</c:v>
                </c:pt>
                <c:pt idx="892">
                  <c:v>31048</c:v>
                </c:pt>
                <c:pt idx="893">
                  <c:v>31091</c:v>
                </c:pt>
                <c:pt idx="894">
                  <c:v>31097</c:v>
                </c:pt>
                <c:pt idx="895">
                  <c:v>31101</c:v>
                </c:pt>
                <c:pt idx="896">
                  <c:v>31103</c:v>
                </c:pt>
                <c:pt idx="897">
                  <c:v>31575</c:v>
                </c:pt>
                <c:pt idx="898">
                  <c:v>31631</c:v>
                </c:pt>
                <c:pt idx="899">
                  <c:v>31796</c:v>
                </c:pt>
                <c:pt idx="900">
                  <c:v>31832</c:v>
                </c:pt>
                <c:pt idx="901">
                  <c:v>31796</c:v>
                </c:pt>
                <c:pt idx="902">
                  <c:v>31940</c:v>
                </c:pt>
                <c:pt idx="903">
                  <c:v>32030</c:v>
                </c:pt>
                <c:pt idx="904">
                  <c:v>32175</c:v>
                </c:pt>
                <c:pt idx="905">
                  <c:v>32071</c:v>
                </c:pt>
                <c:pt idx="906">
                  <c:v>32262</c:v>
                </c:pt>
                <c:pt idx="907">
                  <c:v>32520</c:v>
                </c:pt>
                <c:pt idx="908">
                  <c:v>32544</c:v>
                </c:pt>
                <c:pt idx="909">
                  <c:v>32506</c:v>
                </c:pt>
                <c:pt idx="910">
                  <c:v>32525</c:v>
                </c:pt>
                <c:pt idx="911">
                  <c:v>32333</c:v>
                </c:pt>
                <c:pt idx="912">
                  <c:v>32049</c:v>
                </c:pt>
                <c:pt idx="913">
                  <c:v>31634</c:v>
                </c:pt>
                <c:pt idx="914">
                  <c:v>31464</c:v>
                </c:pt>
                <c:pt idx="915">
                  <c:v>31310</c:v>
                </c:pt>
                <c:pt idx="916">
                  <c:v>31832</c:v>
                </c:pt>
                <c:pt idx="917">
                  <c:v>31525</c:v>
                </c:pt>
                <c:pt idx="918">
                  <c:v>31580</c:v>
                </c:pt>
                <c:pt idx="919">
                  <c:v>31912</c:v>
                </c:pt>
                <c:pt idx="920">
                  <c:v>31648</c:v>
                </c:pt>
                <c:pt idx="921">
                  <c:v>31653</c:v>
                </c:pt>
                <c:pt idx="922">
                  <c:v>31493</c:v>
                </c:pt>
                <c:pt idx="923">
                  <c:v>31871</c:v>
                </c:pt>
                <c:pt idx="924">
                  <c:v>32080</c:v>
                </c:pt>
                <c:pt idx="925">
                  <c:v>32080</c:v>
                </c:pt>
                <c:pt idx="926">
                  <c:v>32209</c:v>
                </c:pt>
                <c:pt idx="927">
                  <c:v>31601</c:v>
                </c:pt>
                <c:pt idx="928">
                  <c:v>31675</c:v>
                </c:pt>
                <c:pt idx="929">
                  <c:v>31780</c:v>
                </c:pt>
                <c:pt idx="930">
                  <c:v>31630</c:v>
                </c:pt>
                <c:pt idx="931">
                  <c:v>31473</c:v>
                </c:pt>
                <c:pt idx="932">
                  <c:v>31368</c:v>
                </c:pt>
                <c:pt idx="933">
                  <c:v>31424</c:v>
                </c:pt>
                <c:pt idx="934">
                  <c:v>31614</c:v>
                </c:pt>
                <c:pt idx="935">
                  <c:v>31349</c:v>
                </c:pt>
                <c:pt idx="936">
                  <c:v>31705</c:v>
                </c:pt>
                <c:pt idx="937">
                  <c:v>31405</c:v>
                </c:pt>
                <c:pt idx="938">
                  <c:v>31492</c:v>
                </c:pt>
                <c:pt idx="939">
                  <c:v>31491</c:v>
                </c:pt>
                <c:pt idx="940">
                  <c:v>32466</c:v>
                </c:pt>
                <c:pt idx="941">
                  <c:v>31737</c:v>
                </c:pt>
                <c:pt idx="942">
                  <c:v>32387</c:v>
                </c:pt>
                <c:pt idx="943">
                  <c:v>31714</c:v>
                </c:pt>
                <c:pt idx="944">
                  <c:v>31629</c:v>
                </c:pt>
                <c:pt idx="945">
                  <c:v>31760</c:v>
                </c:pt>
                <c:pt idx="946">
                  <c:v>31864</c:v>
                </c:pt>
                <c:pt idx="947">
                  <c:v>31888</c:v>
                </c:pt>
                <c:pt idx="948">
                  <c:v>31888</c:v>
                </c:pt>
                <c:pt idx="949">
                  <c:v>32030</c:v>
                </c:pt>
                <c:pt idx="950">
                  <c:v>31830</c:v>
                </c:pt>
                <c:pt idx="951">
                  <c:v>31854</c:v>
                </c:pt>
                <c:pt idx="952">
                  <c:v>33062</c:v>
                </c:pt>
                <c:pt idx="953">
                  <c:v>32575</c:v>
                </c:pt>
                <c:pt idx="954">
                  <c:v>31809</c:v>
                </c:pt>
                <c:pt idx="955">
                  <c:v>32213</c:v>
                </c:pt>
                <c:pt idx="956">
                  <c:v>31990</c:v>
                </c:pt>
                <c:pt idx="957">
                  <c:v>32216</c:v>
                </c:pt>
                <c:pt idx="958">
                  <c:v>31844</c:v>
                </c:pt>
                <c:pt idx="959">
                  <c:v>32753</c:v>
                </c:pt>
                <c:pt idx="960">
                  <c:v>31846</c:v>
                </c:pt>
                <c:pt idx="961">
                  <c:v>32741</c:v>
                </c:pt>
                <c:pt idx="962">
                  <c:v>31342</c:v>
                </c:pt>
                <c:pt idx="963">
                  <c:v>31389</c:v>
                </c:pt>
                <c:pt idx="964">
                  <c:v>31441</c:v>
                </c:pt>
                <c:pt idx="965">
                  <c:v>31479</c:v>
                </c:pt>
                <c:pt idx="966">
                  <c:v>31543</c:v>
                </c:pt>
                <c:pt idx="967">
                  <c:v>31575</c:v>
                </c:pt>
                <c:pt idx="968">
                  <c:v>31616</c:v>
                </c:pt>
                <c:pt idx="969">
                  <c:v>31760</c:v>
                </c:pt>
                <c:pt idx="970">
                  <c:v>31593</c:v>
                </c:pt>
                <c:pt idx="971">
                  <c:v>31554</c:v>
                </c:pt>
                <c:pt idx="972">
                  <c:v>31743</c:v>
                </c:pt>
                <c:pt idx="973">
                  <c:v>31591</c:v>
                </c:pt>
                <c:pt idx="974">
                  <c:v>31798</c:v>
                </c:pt>
                <c:pt idx="975">
                  <c:v>31695</c:v>
                </c:pt>
                <c:pt idx="976">
                  <c:v>31798</c:v>
                </c:pt>
                <c:pt idx="977">
                  <c:v>31763</c:v>
                </c:pt>
                <c:pt idx="978">
                  <c:v>31162</c:v>
                </c:pt>
                <c:pt idx="979">
                  <c:v>30968</c:v>
                </c:pt>
                <c:pt idx="980">
                  <c:v>31253</c:v>
                </c:pt>
                <c:pt idx="981">
                  <c:v>31673</c:v>
                </c:pt>
                <c:pt idx="982">
                  <c:v>31321</c:v>
                </c:pt>
                <c:pt idx="983">
                  <c:v>30914</c:v>
                </c:pt>
                <c:pt idx="984">
                  <c:v>30967</c:v>
                </c:pt>
                <c:pt idx="985">
                  <c:v>30906</c:v>
                </c:pt>
                <c:pt idx="986">
                  <c:v>30863</c:v>
                </c:pt>
                <c:pt idx="987">
                  <c:v>31121</c:v>
                </c:pt>
                <c:pt idx="988">
                  <c:v>31537</c:v>
                </c:pt>
                <c:pt idx="989">
                  <c:v>30666</c:v>
                </c:pt>
                <c:pt idx="990">
                  <c:v>30676</c:v>
                </c:pt>
                <c:pt idx="991">
                  <c:v>30700</c:v>
                </c:pt>
                <c:pt idx="992">
                  <c:v>29985</c:v>
                </c:pt>
                <c:pt idx="993">
                  <c:v>29853</c:v>
                </c:pt>
                <c:pt idx="994">
                  <c:v>30412</c:v>
                </c:pt>
                <c:pt idx="995">
                  <c:v>30135</c:v>
                </c:pt>
                <c:pt idx="996">
                  <c:v>30535</c:v>
                </c:pt>
                <c:pt idx="997">
                  <c:v>30262</c:v>
                </c:pt>
                <c:pt idx="998">
                  <c:v>30634</c:v>
                </c:pt>
                <c:pt idx="999">
                  <c:v>30152</c:v>
                </c:pt>
                <c:pt idx="1000">
                  <c:v>30331</c:v>
                </c:pt>
                <c:pt idx="1001">
                  <c:v>31525</c:v>
                </c:pt>
                <c:pt idx="1002">
                  <c:v>30557</c:v>
                </c:pt>
                <c:pt idx="1003">
                  <c:v>30625</c:v>
                </c:pt>
                <c:pt idx="1004">
                  <c:v>30713</c:v>
                </c:pt>
                <c:pt idx="1005">
                  <c:v>31242</c:v>
                </c:pt>
                <c:pt idx="1006">
                  <c:v>30848</c:v>
                </c:pt>
                <c:pt idx="1007">
                  <c:v>31246</c:v>
                </c:pt>
                <c:pt idx="1008">
                  <c:v>31519</c:v>
                </c:pt>
                <c:pt idx="1009">
                  <c:v>30977</c:v>
                </c:pt>
                <c:pt idx="1010">
                  <c:v>30842</c:v>
                </c:pt>
                <c:pt idx="1011">
                  <c:v>30855</c:v>
                </c:pt>
                <c:pt idx="1012">
                  <c:v>30627</c:v>
                </c:pt>
                <c:pt idx="1013">
                  <c:v>30546</c:v>
                </c:pt>
                <c:pt idx="1014">
                  <c:v>30678</c:v>
                </c:pt>
                <c:pt idx="1015">
                  <c:v>30703</c:v>
                </c:pt>
                <c:pt idx="1016">
                  <c:v>30854</c:v>
                </c:pt>
                <c:pt idx="1017">
                  <c:v>30912</c:v>
                </c:pt>
                <c:pt idx="1018">
                  <c:v>31055</c:v>
                </c:pt>
                <c:pt idx="1019">
                  <c:v>31252</c:v>
                </c:pt>
                <c:pt idx="1020">
                  <c:v>31537</c:v>
                </c:pt>
                <c:pt idx="1021">
                  <c:v>31543</c:v>
                </c:pt>
                <c:pt idx="1022">
                  <c:v>31792</c:v>
                </c:pt>
                <c:pt idx="1023">
                  <c:v>31766</c:v>
                </c:pt>
                <c:pt idx="1024">
                  <c:v>32387</c:v>
                </c:pt>
                <c:pt idx="1025">
                  <c:v>32510</c:v>
                </c:pt>
                <c:pt idx="1026">
                  <c:v>32826</c:v>
                </c:pt>
                <c:pt idx="1027">
                  <c:v>33266</c:v>
                </c:pt>
                <c:pt idx="1028">
                  <c:v>33210</c:v>
                </c:pt>
                <c:pt idx="1029">
                  <c:v>33075</c:v>
                </c:pt>
                <c:pt idx="1030">
                  <c:v>33025</c:v>
                </c:pt>
                <c:pt idx="1031">
                  <c:v>32797</c:v>
                </c:pt>
                <c:pt idx="1032">
                  <c:v>32685</c:v>
                </c:pt>
                <c:pt idx="1033">
                  <c:v>32741</c:v>
                </c:pt>
                <c:pt idx="1034">
                  <c:v>32630</c:v>
                </c:pt>
                <c:pt idx="1035">
                  <c:v>32760</c:v>
                </c:pt>
                <c:pt idx="1036">
                  <c:v>32578</c:v>
                </c:pt>
                <c:pt idx="1037">
                  <c:v>32517</c:v>
                </c:pt>
                <c:pt idx="1038">
                  <c:v>32560</c:v>
                </c:pt>
                <c:pt idx="1039">
                  <c:v>32601</c:v>
                </c:pt>
                <c:pt idx="1040">
                  <c:v>32552</c:v>
                </c:pt>
                <c:pt idx="1041">
                  <c:v>32664</c:v>
                </c:pt>
                <c:pt idx="1042">
                  <c:v>32724</c:v>
                </c:pt>
                <c:pt idx="1043">
                  <c:v>33029</c:v>
                </c:pt>
                <c:pt idx="1044">
                  <c:v>33008</c:v>
                </c:pt>
                <c:pt idx="1045">
                  <c:v>33036</c:v>
                </c:pt>
                <c:pt idx="1046">
                  <c:v>32641</c:v>
                </c:pt>
                <c:pt idx="1047">
                  <c:v>32766</c:v>
                </c:pt>
                <c:pt idx="1048">
                  <c:v>32918</c:v>
                </c:pt>
                <c:pt idx="1049">
                  <c:v>32998</c:v>
                </c:pt>
                <c:pt idx="1050">
                  <c:v>32966</c:v>
                </c:pt>
                <c:pt idx="1051">
                  <c:v>32949</c:v>
                </c:pt>
                <c:pt idx="1052">
                  <c:v>32852</c:v>
                </c:pt>
                <c:pt idx="1053">
                  <c:v>32814</c:v>
                </c:pt>
                <c:pt idx="1054">
                  <c:v>32862</c:v>
                </c:pt>
                <c:pt idx="1055">
                  <c:v>32780</c:v>
                </c:pt>
                <c:pt idx="1056">
                  <c:v>32806</c:v>
                </c:pt>
                <c:pt idx="1057">
                  <c:v>32765</c:v>
                </c:pt>
                <c:pt idx="1058">
                  <c:v>32786</c:v>
                </c:pt>
                <c:pt idx="1059">
                  <c:v>32738</c:v>
                </c:pt>
                <c:pt idx="1060">
                  <c:v>32727</c:v>
                </c:pt>
                <c:pt idx="1061">
                  <c:v>32756</c:v>
                </c:pt>
                <c:pt idx="1062">
                  <c:v>32833</c:v>
                </c:pt>
                <c:pt idx="1063">
                  <c:v>32937</c:v>
                </c:pt>
                <c:pt idx="1064">
                  <c:v>33075</c:v>
                </c:pt>
                <c:pt idx="1065">
                  <c:v>33132</c:v>
                </c:pt>
                <c:pt idx="1066">
                  <c:v>33172</c:v>
                </c:pt>
                <c:pt idx="1067">
                  <c:v>33064</c:v>
                </c:pt>
                <c:pt idx="1068">
                  <c:v>33186</c:v>
                </c:pt>
                <c:pt idx="1069">
                  <c:v>33156</c:v>
                </c:pt>
                <c:pt idx="1070">
                  <c:v>33246</c:v>
                </c:pt>
                <c:pt idx="1071">
                  <c:v>33242</c:v>
                </c:pt>
                <c:pt idx="1072">
                  <c:v>33180</c:v>
                </c:pt>
                <c:pt idx="1073">
                  <c:v>33233</c:v>
                </c:pt>
                <c:pt idx="1074">
                  <c:v>33265</c:v>
                </c:pt>
                <c:pt idx="1075">
                  <c:v>33398</c:v>
                </c:pt>
                <c:pt idx="1076">
                  <c:v>33427</c:v>
                </c:pt>
                <c:pt idx="1077">
                  <c:v>33278</c:v>
                </c:pt>
                <c:pt idx="1078">
                  <c:v>33194</c:v>
                </c:pt>
                <c:pt idx="1079">
                  <c:v>33123</c:v>
                </c:pt>
                <c:pt idx="1080">
                  <c:v>33193</c:v>
                </c:pt>
                <c:pt idx="1081">
                  <c:v>33089</c:v>
                </c:pt>
                <c:pt idx="1082">
                  <c:v>32927</c:v>
                </c:pt>
                <c:pt idx="1083">
                  <c:v>32948</c:v>
                </c:pt>
                <c:pt idx="1084">
                  <c:v>33020</c:v>
                </c:pt>
                <c:pt idx="1085">
                  <c:v>32881</c:v>
                </c:pt>
                <c:pt idx="1086">
                  <c:v>32832</c:v>
                </c:pt>
                <c:pt idx="1087">
                  <c:v>32769</c:v>
                </c:pt>
                <c:pt idx="1088">
                  <c:v>32779</c:v>
                </c:pt>
                <c:pt idx="1089">
                  <c:v>32262</c:v>
                </c:pt>
                <c:pt idx="1090">
                  <c:v>32120</c:v>
                </c:pt>
                <c:pt idx="1091">
                  <c:v>32523</c:v>
                </c:pt>
                <c:pt idx="1092">
                  <c:v>32428</c:v>
                </c:pt>
                <c:pt idx="1093">
                  <c:v>32393</c:v>
                </c:pt>
                <c:pt idx="1094">
                  <c:v>32240</c:v>
                </c:pt>
                <c:pt idx="1095">
                  <c:v>32299</c:v>
                </c:pt>
                <c:pt idx="1096">
                  <c:v>32460</c:v>
                </c:pt>
                <c:pt idx="1097">
                  <c:v>32681</c:v>
                </c:pt>
                <c:pt idx="1098">
                  <c:v>32940</c:v>
                </c:pt>
                <c:pt idx="1099">
                  <c:v>32962</c:v>
                </c:pt>
                <c:pt idx="1100">
                  <c:v>32936</c:v>
                </c:pt>
                <c:pt idx="1101">
                  <c:v>32752</c:v>
                </c:pt>
                <c:pt idx="1102">
                  <c:v>32754</c:v>
                </c:pt>
                <c:pt idx="1103">
                  <c:v>32853</c:v>
                </c:pt>
                <c:pt idx="1104">
                  <c:v>33006</c:v>
                </c:pt>
                <c:pt idx="1105">
                  <c:v>32871</c:v>
                </c:pt>
                <c:pt idx="1106">
                  <c:v>32894</c:v>
                </c:pt>
                <c:pt idx="1107">
                  <c:v>32732</c:v>
                </c:pt>
                <c:pt idx="1108">
                  <c:v>32521</c:v>
                </c:pt>
                <c:pt idx="1109">
                  <c:v>32667</c:v>
                </c:pt>
                <c:pt idx="1110">
                  <c:v>32733</c:v>
                </c:pt>
                <c:pt idx="1111">
                  <c:v>32735</c:v>
                </c:pt>
                <c:pt idx="1112">
                  <c:v>32437</c:v>
                </c:pt>
                <c:pt idx="1113">
                  <c:v>32168</c:v>
                </c:pt>
                <c:pt idx="1114">
                  <c:v>31916</c:v>
                </c:pt>
                <c:pt idx="1115">
                  <c:v>31746</c:v>
                </c:pt>
                <c:pt idx="1116">
                  <c:v>31771</c:v>
                </c:pt>
                <c:pt idx="1117">
                  <c:v>31911</c:v>
                </c:pt>
                <c:pt idx="1118">
                  <c:v>31862</c:v>
                </c:pt>
                <c:pt idx="1119">
                  <c:v>31922</c:v>
                </c:pt>
                <c:pt idx="1120">
                  <c:v>31887</c:v>
                </c:pt>
                <c:pt idx="1121">
                  <c:v>31895</c:v>
                </c:pt>
                <c:pt idx="1122">
                  <c:v>31889</c:v>
                </c:pt>
                <c:pt idx="1123">
                  <c:v>31845</c:v>
                </c:pt>
                <c:pt idx="1124">
                  <c:v>31974</c:v>
                </c:pt>
                <c:pt idx="1125">
                  <c:v>31935</c:v>
                </c:pt>
                <c:pt idx="1126">
                  <c:v>32105</c:v>
                </c:pt>
                <c:pt idx="1127">
                  <c:v>32070</c:v>
                </c:pt>
                <c:pt idx="1128">
                  <c:v>32132</c:v>
                </c:pt>
                <c:pt idx="1129">
                  <c:v>32207</c:v>
                </c:pt>
                <c:pt idx="1130">
                  <c:v>32192</c:v>
                </c:pt>
                <c:pt idx="1131">
                  <c:v>31959</c:v>
                </c:pt>
                <c:pt idx="1132">
                  <c:v>32185</c:v>
                </c:pt>
                <c:pt idx="1133">
                  <c:v>32077</c:v>
                </c:pt>
                <c:pt idx="1134">
                  <c:v>31973</c:v>
                </c:pt>
                <c:pt idx="1135">
                  <c:v>32003</c:v>
                </c:pt>
                <c:pt idx="1136">
                  <c:v>32041</c:v>
                </c:pt>
                <c:pt idx="1137">
                  <c:v>31958</c:v>
                </c:pt>
                <c:pt idx="1138">
                  <c:v>32060</c:v>
                </c:pt>
                <c:pt idx="1139">
                  <c:v>32002</c:v>
                </c:pt>
                <c:pt idx="1140">
                  <c:v>31995</c:v>
                </c:pt>
                <c:pt idx="1141">
                  <c:v>32122</c:v>
                </c:pt>
                <c:pt idx="1142">
                  <c:v>32167</c:v>
                </c:pt>
                <c:pt idx="1143">
                  <c:v>32159</c:v>
                </c:pt>
                <c:pt idx="1144">
                  <c:v>32070</c:v>
                </c:pt>
                <c:pt idx="1145">
                  <c:v>32065</c:v>
                </c:pt>
                <c:pt idx="1146">
                  <c:v>32129</c:v>
                </c:pt>
                <c:pt idx="1147">
                  <c:v>32193</c:v>
                </c:pt>
                <c:pt idx="1148">
                  <c:v>32505</c:v>
                </c:pt>
                <c:pt idx="1149">
                  <c:v>32577</c:v>
                </c:pt>
                <c:pt idx="1150">
                  <c:v>32663</c:v>
                </c:pt>
                <c:pt idx="1151">
                  <c:v>32648</c:v>
                </c:pt>
                <c:pt idx="1152">
                  <c:v>32722</c:v>
                </c:pt>
                <c:pt idx="1153">
                  <c:v>32653</c:v>
                </c:pt>
                <c:pt idx="1154">
                  <c:v>32835</c:v>
                </c:pt>
                <c:pt idx="1155">
                  <c:v>32771</c:v>
                </c:pt>
                <c:pt idx="1156">
                  <c:v>32766</c:v>
                </c:pt>
                <c:pt idx="1157">
                  <c:v>32752</c:v>
                </c:pt>
                <c:pt idx="1158">
                  <c:v>32617</c:v>
                </c:pt>
                <c:pt idx="1159">
                  <c:v>32640</c:v>
                </c:pt>
                <c:pt idx="1160">
                  <c:v>32596</c:v>
                </c:pt>
                <c:pt idx="1161">
                  <c:v>32610</c:v>
                </c:pt>
                <c:pt idx="1162">
                  <c:v>32637</c:v>
                </c:pt>
                <c:pt idx="1163">
                  <c:v>32578</c:v>
                </c:pt>
                <c:pt idx="1164">
                  <c:v>32609</c:v>
                </c:pt>
                <c:pt idx="1165">
                  <c:v>32605</c:v>
                </c:pt>
                <c:pt idx="1166">
                  <c:v>32802</c:v>
                </c:pt>
                <c:pt idx="1167">
                  <c:v>32834</c:v>
                </c:pt>
                <c:pt idx="1168">
                  <c:v>32942</c:v>
                </c:pt>
                <c:pt idx="1169">
                  <c:v>32930</c:v>
                </c:pt>
                <c:pt idx="1170">
                  <c:v>33208</c:v>
                </c:pt>
                <c:pt idx="1171">
                  <c:v>33226</c:v>
                </c:pt>
                <c:pt idx="1172">
                  <c:v>32880</c:v>
                </c:pt>
                <c:pt idx="1173">
                  <c:v>32866</c:v>
                </c:pt>
                <c:pt idx="1174">
                  <c:v>32944</c:v>
                </c:pt>
                <c:pt idx="1175">
                  <c:v>32982</c:v>
                </c:pt>
                <c:pt idx="1176">
                  <c:v>32759</c:v>
                </c:pt>
                <c:pt idx="1177">
                  <c:v>32624</c:v>
                </c:pt>
                <c:pt idx="1178">
                  <c:v>32548</c:v>
                </c:pt>
                <c:pt idx="1179">
                  <c:v>32628</c:v>
                </c:pt>
                <c:pt idx="1180">
                  <c:v>32463</c:v>
                </c:pt>
                <c:pt idx="1181">
                  <c:v>32427</c:v>
                </c:pt>
                <c:pt idx="1182">
                  <c:v>32466</c:v>
                </c:pt>
                <c:pt idx="1183">
                  <c:v>32482</c:v>
                </c:pt>
                <c:pt idx="1184">
                  <c:v>32660</c:v>
                </c:pt>
                <c:pt idx="1185">
                  <c:v>32539</c:v>
                </c:pt>
                <c:pt idx="1186">
                  <c:v>32313</c:v>
                </c:pt>
                <c:pt idx="1187">
                  <c:v>32097</c:v>
                </c:pt>
                <c:pt idx="1188">
                  <c:v>31969</c:v>
                </c:pt>
                <c:pt idx="1189">
                  <c:v>31597</c:v>
                </c:pt>
                <c:pt idx="1190">
                  <c:v>31504</c:v>
                </c:pt>
                <c:pt idx="1191">
                  <c:v>31615</c:v>
                </c:pt>
                <c:pt idx="1192">
                  <c:v>31829</c:v>
                </c:pt>
                <c:pt idx="1193">
                  <c:v>31812</c:v>
                </c:pt>
                <c:pt idx="1194">
                  <c:v>31745</c:v>
                </c:pt>
                <c:pt idx="1195">
                  <c:v>31727</c:v>
                </c:pt>
                <c:pt idx="1196">
                  <c:v>31978</c:v>
                </c:pt>
                <c:pt idx="1197">
                  <c:v>31922</c:v>
                </c:pt>
                <c:pt idx="1198">
                  <c:v>31687</c:v>
                </c:pt>
                <c:pt idx="1199">
                  <c:v>31687</c:v>
                </c:pt>
                <c:pt idx="1200">
                  <c:v>31763</c:v>
                </c:pt>
                <c:pt idx="1201">
                  <c:v>31565</c:v>
                </c:pt>
                <c:pt idx="1202">
                  <c:v>31416</c:v>
                </c:pt>
                <c:pt idx="1203">
                  <c:v>31207</c:v>
                </c:pt>
                <c:pt idx="1204">
                  <c:v>31176</c:v>
                </c:pt>
                <c:pt idx="1205">
                  <c:v>31743</c:v>
                </c:pt>
                <c:pt idx="1206">
                  <c:v>31021</c:v>
                </c:pt>
                <c:pt idx="1207">
                  <c:v>31569</c:v>
                </c:pt>
                <c:pt idx="1208">
                  <c:v>30948</c:v>
                </c:pt>
                <c:pt idx="1209">
                  <c:v>31076</c:v>
                </c:pt>
                <c:pt idx="1210">
                  <c:v>31054</c:v>
                </c:pt>
                <c:pt idx="1211">
                  <c:v>29407</c:v>
                </c:pt>
                <c:pt idx="1212">
                  <c:v>28649</c:v>
                </c:pt>
                <c:pt idx="1213">
                  <c:v>27853</c:v>
                </c:pt>
                <c:pt idx="1214">
                  <c:v>27982</c:v>
                </c:pt>
                <c:pt idx="1215">
                  <c:v>27963</c:v>
                </c:pt>
                <c:pt idx="1216">
                  <c:v>28689</c:v>
                </c:pt>
                <c:pt idx="1217">
                  <c:v>29430</c:v>
                </c:pt>
                <c:pt idx="1218">
                  <c:v>29576</c:v>
                </c:pt>
                <c:pt idx="1219">
                  <c:v>29663</c:v>
                </c:pt>
                <c:pt idx="1220">
                  <c:v>29746</c:v>
                </c:pt>
                <c:pt idx="1221">
                  <c:v>30159</c:v>
                </c:pt>
                <c:pt idx="1222">
                  <c:v>30357</c:v>
                </c:pt>
                <c:pt idx="1223">
                  <c:v>30149</c:v>
                </c:pt>
                <c:pt idx="1224">
                  <c:v>30144</c:v>
                </c:pt>
                <c:pt idx="1225">
                  <c:v>29900</c:v>
                </c:pt>
                <c:pt idx="1226">
                  <c:v>29371</c:v>
                </c:pt>
                <c:pt idx="1227">
                  <c:v>28937</c:v>
                </c:pt>
                <c:pt idx="1228">
                  <c:v>28915</c:v>
                </c:pt>
                <c:pt idx="1229">
                  <c:v>29029</c:v>
                </c:pt>
                <c:pt idx="1230">
                  <c:v>28935</c:v>
                </c:pt>
                <c:pt idx="1231">
                  <c:v>28967</c:v>
                </c:pt>
                <c:pt idx="1232">
                  <c:v>28944</c:v>
                </c:pt>
                <c:pt idx="1233">
                  <c:v>28989</c:v>
                </c:pt>
                <c:pt idx="1234">
                  <c:v>29097</c:v>
                </c:pt>
                <c:pt idx="1235">
                  <c:v>29293</c:v>
                </c:pt>
                <c:pt idx="1236">
                  <c:v>29388</c:v>
                </c:pt>
                <c:pt idx="1237">
                  <c:v>29606</c:v>
                </c:pt>
                <c:pt idx="1238">
                  <c:v>29285</c:v>
                </c:pt>
                <c:pt idx="1239">
                  <c:v>29457</c:v>
                </c:pt>
                <c:pt idx="1240">
                  <c:v>29104</c:v>
                </c:pt>
                <c:pt idx="1241">
                  <c:v>28802</c:v>
                </c:pt>
                <c:pt idx="1242">
                  <c:v>29190</c:v>
                </c:pt>
                <c:pt idx="1243">
                  <c:v>29087</c:v>
                </c:pt>
                <c:pt idx="1244">
                  <c:v>301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767424"/>
        <c:axId val="592573504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H$218:$H$1462</c:f>
              <c:numCache>
                <c:formatCode>General</c:formatCode>
                <c:ptCount val="1245"/>
                <c:pt idx="0">
                  <c:v>1553.06</c:v>
                </c:pt>
                <c:pt idx="1">
                  <c:v>1535.78</c:v>
                </c:pt>
                <c:pt idx="2">
                  <c:v>1538.43</c:v>
                </c:pt>
                <c:pt idx="3">
                  <c:v>1561.91</c:v>
                </c:pt>
                <c:pt idx="4">
                  <c:v>1559.25</c:v>
                </c:pt>
                <c:pt idx="5">
                  <c:v>1581.09</c:v>
                </c:pt>
                <c:pt idx="6">
                  <c:v>1580.67</c:v>
                </c:pt>
                <c:pt idx="7">
                  <c:v>1556.97</c:v>
                </c:pt>
                <c:pt idx="8">
                  <c:v>1530.29</c:v>
                </c:pt>
                <c:pt idx="9">
                  <c:v>1489.46</c:v>
                </c:pt>
                <c:pt idx="10">
                  <c:v>1485.92</c:v>
                </c:pt>
                <c:pt idx="11">
                  <c:v>1444.33</c:v>
                </c:pt>
                <c:pt idx="12">
                  <c:v>1446.36</c:v>
                </c:pt>
                <c:pt idx="13">
                  <c:v>1460.98</c:v>
                </c:pt>
                <c:pt idx="14">
                  <c:v>1473.81</c:v>
                </c:pt>
                <c:pt idx="15">
                  <c:v>1470.79</c:v>
                </c:pt>
                <c:pt idx="16">
                  <c:v>1498.75</c:v>
                </c:pt>
                <c:pt idx="17">
                  <c:v>1507.15</c:v>
                </c:pt>
                <c:pt idx="18">
                  <c:v>1463.01</c:v>
                </c:pt>
                <c:pt idx="19">
                  <c:v>1411.14</c:v>
                </c:pt>
                <c:pt idx="20">
                  <c:v>1375.34</c:v>
                </c:pt>
                <c:pt idx="21">
                  <c:v>1390.32</c:v>
                </c:pt>
                <c:pt idx="22">
                  <c:v>1387.11</c:v>
                </c:pt>
                <c:pt idx="23">
                  <c:v>1391.94</c:v>
                </c:pt>
                <c:pt idx="24">
                  <c:v>1363.83</c:v>
                </c:pt>
                <c:pt idx="25">
                  <c:v>1375.99</c:v>
                </c:pt>
                <c:pt idx="26">
                  <c:v>1418.16</c:v>
                </c:pt>
                <c:pt idx="27">
                  <c:v>1421.97</c:v>
                </c:pt>
                <c:pt idx="28">
                  <c:v>1410.85</c:v>
                </c:pt>
                <c:pt idx="29">
                  <c:v>1373.11</c:v>
                </c:pt>
                <c:pt idx="30">
                  <c:v>1390.25</c:v>
                </c:pt>
                <c:pt idx="31">
                  <c:v>1410.85</c:v>
                </c:pt>
                <c:pt idx="32">
                  <c:v>1429.77</c:v>
                </c:pt>
                <c:pt idx="33">
                  <c:v>1445.62</c:v>
                </c:pt>
                <c:pt idx="34">
                  <c:v>1460.2</c:v>
                </c:pt>
                <c:pt idx="35">
                  <c:v>1470.41</c:v>
                </c:pt>
                <c:pt idx="36">
                  <c:v>1508.21</c:v>
                </c:pt>
                <c:pt idx="37">
                  <c:v>1502.7</c:v>
                </c:pt>
                <c:pt idx="38">
                  <c:v>1501.4</c:v>
                </c:pt>
                <c:pt idx="39">
                  <c:v>1504.04</c:v>
                </c:pt>
                <c:pt idx="40">
                  <c:v>1534.68</c:v>
                </c:pt>
                <c:pt idx="41">
                  <c:v>1514.4</c:v>
                </c:pt>
                <c:pt idx="42">
                  <c:v>1536.79</c:v>
                </c:pt>
                <c:pt idx="43">
                  <c:v>1563.46</c:v>
                </c:pt>
                <c:pt idx="44">
                  <c:v>1558.8</c:v>
                </c:pt>
                <c:pt idx="45">
                  <c:v>1544.71</c:v>
                </c:pt>
                <c:pt idx="46">
                  <c:v>1525.59</c:v>
                </c:pt>
                <c:pt idx="47">
                  <c:v>1524.96</c:v>
                </c:pt>
                <c:pt idx="48">
                  <c:v>1514.58</c:v>
                </c:pt>
                <c:pt idx="49">
                  <c:v>1515.04</c:v>
                </c:pt>
                <c:pt idx="50">
                  <c:v>1519.87</c:v>
                </c:pt>
                <c:pt idx="51">
                  <c:v>1551.57</c:v>
                </c:pt>
                <c:pt idx="52">
                  <c:v>1562.29</c:v>
                </c:pt>
                <c:pt idx="53">
                  <c:v>1572.48</c:v>
                </c:pt>
                <c:pt idx="54">
                  <c:v>1608.39</c:v>
                </c:pt>
                <c:pt idx="55">
                  <c:v>1614.45</c:v>
                </c:pt>
                <c:pt idx="56">
                  <c:v>1626.79</c:v>
                </c:pt>
                <c:pt idx="57">
                  <c:v>1633.32</c:v>
                </c:pt>
                <c:pt idx="58">
                  <c:v>1613.88</c:v>
                </c:pt>
                <c:pt idx="59">
                  <c:v>1600.84</c:v>
                </c:pt>
                <c:pt idx="60">
                  <c:v>1631.81</c:v>
                </c:pt>
                <c:pt idx="61">
                  <c:v>1648.43</c:v>
                </c:pt>
                <c:pt idx="62">
                  <c:v>1643.98</c:v>
                </c:pt>
                <c:pt idx="63">
                  <c:v>1673.41</c:v>
                </c:pt>
                <c:pt idx="64">
                  <c:v>1676.27</c:v>
                </c:pt>
                <c:pt idx="65">
                  <c:v>1642.57</c:v>
                </c:pt>
                <c:pt idx="66">
                  <c:v>1601.67</c:v>
                </c:pt>
                <c:pt idx="67">
                  <c:v>1619.43</c:v>
                </c:pt>
                <c:pt idx="68">
                  <c:v>1610.23</c:v>
                </c:pt>
                <c:pt idx="69">
                  <c:v>1583.54</c:v>
                </c:pt>
                <c:pt idx="70">
                  <c:v>1602.99</c:v>
                </c:pt>
                <c:pt idx="71">
                  <c:v>1626.1</c:v>
                </c:pt>
                <c:pt idx="72">
                  <c:v>1603.59</c:v>
                </c:pt>
                <c:pt idx="73">
                  <c:v>1563.1</c:v>
                </c:pt>
                <c:pt idx="74">
                  <c:v>1588.75</c:v>
                </c:pt>
                <c:pt idx="75">
                  <c:v>1572.84</c:v>
                </c:pt>
                <c:pt idx="76">
                  <c:v>1517.83</c:v>
                </c:pt>
                <c:pt idx="77">
                  <c:v>1482.67</c:v>
                </c:pt>
                <c:pt idx="78">
                  <c:v>1450.47</c:v>
                </c:pt>
                <c:pt idx="79">
                  <c:v>1369.91</c:v>
                </c:pt>
                <c:pt idx="80">
                  <c:v>1420.54</c:v>
                </c:pt>
                <c:pt idx="81">
                  <c:v>1485.36</c:v>
                </c:pt>
                <c:pt idx="82">
                  <c:v>1476.03</c:v>
                </c:pt>
                <c:pt idx="83">
                  <c:v>1441.68</c:v>
                </c:pt>
                <c:pt idx="84">
                  <c:v>1422.72</c:v>
                </c:pt>
                <c:pt idx="85">
                  <c:v>1438.94</c:v>
                </c:pt>
                <c:pt idx="86">
                  <c:v>1379.88</c:v>
                </c:pt>
                <c:pt idx="87">
                  <c:v>1303.24</c:v>
                </c:pt>
                <c:pt idx="88">
                  <c:v>1297.9100000000001</c:v>
                </c:pt>
                <c:pt idx="89">
                  <c:v>1311.7</c:v>
                </c:pt>
                <c:pt idx="90">
                  <c:v>1226.57</c:v>
                </c:pt>
                <c:pt idx="91">
                  <c:v>1305.25</c:v>
                </c:pt>
                <c:pt idx="92">
                  <c:v>1358.6</c:v>
                </c:pt>
                <c:pt idx="93">
                  <c:v>1366.9</c:v>
                </c:pt>
                <c:pt idx="94">
                  <c:v>1384.59</c:v>
                </c:pt>
                <c:pt idx="95">
                  <c:v>1373.87</c:v>
                </c:pt>
                <c:pt idx="96">
                  <c:v>1383.87</c:v>
                </c:pt>
                <c:pt idx="97">
                  <c:v>1393.12</c:v>
                </c:pt>
                <c:pt idx="98">
                  <c:v>1360.74</c:v>
                </c:pt>
                <c:pt idx="99">
                  <c:v>1340.82</c:v>
                </c:pt>
                <c:pt idx="100">
                  <c:v>1315.61</c:v>
                </c:pt>
                <c:pt idx="101">
                  <c:v>1334.55</c:v>
                </c:pt>
                <c:pt idx="102">
                  <c:v>1358.94</c:v>
                </c:pt>
                <c:pt idx="103">
                  <c:v>1356.79</c:v>
                </c:pt>
                <c:pt idx="104">
                  <c:v>1396.57</c:v>
                </c:pt>
                <c:pt idx="105">
                  <c:v>1401.63</c:v>
                </c:pt>
                <c:pt idx="106">
                  <c:v>1400.66</c:v>
                </c:pt>
                <c:pt idx="107">
                  <c:v>1409.43</c:v>
                </c:pt>
                <c:pt idx="108">
                  <c:v>1457.95</c:v>
                </c:pt>
                <c:pt idx="109">
                  <c:v>1434.93</c:v>
                </c:pt>
                <c:pt idx="110">
                  <c:v>1418.42</c:v>
                </c:pt>
                <c:pt idx="111">
                  <c:v>1402.97</c:v>
                </c:pt>
                <c:pt idx="112">
                  <c:v>1387.66</c:v>
                </c:pt>
                <c:pt idx="113">
                  <c:v>1403.42</c:v>
                </c:pt>
                <c:pt idx="114">
                  <c:v>1356.05</c:v>
                </c:pt>
                <c:pt idx="115">
                  <c:v>1339.35</c:v>
                </c:pt>
                <c:pt idx="116">
                  <c:v>1288.72</c:v>
                </c:pt>
                <c:pt idx="117">
                  <c:v>1316.65</c:v>
                </c:pt>
                <c:pt idx="118">
                  <c:v>1318</c:v>
                </c:pt>
                <c:pt idx="119">
                  <c:v>1353.66</c:v>
                </c:pt>
                <c:pt idx="120">
                  <c:v>1352.71</c:v>
                </c:pt>
                <c:pt idx="121">
                  <c:v>1356.09</c:v>
                </c:pt>
                <c:pt idx="122">
                  <c:v>1359.45</c:v>
                </c:pt>
                <c:pt idx="123">
                  <c:v>1386.42</c:v>
                </c:pt>
                <c:pt idx="124">
                  <c:v>1409.61</c:v>
                </c:pt>
                <c:pt idx="125">
                  <c:v>1412.14</c:v>
                </c:pt>
                <c:pt idx="126">
                  <c:v>1403.33</c:v>
                </c:pt>
                <c:pt idx="127">
                  <c:v>1389.92</c:v>
                </c:pt>
                <c:pt idx="128">
                  <c:v>1394.92</c:v>
                </c:pt>
                <c:pt idx="129">
                  <c:v>1388.43</c:v>
                </c:pt>
                <c:pt idx="130">
                  <c:v>1417.49</c:v>
                </c:pt>
                <c:pt idx="131">
                  <c:v>1442.91</c:v>
                </c:pt>
                <c:pt idx="132">
                  <c:v>1449.19</c:v>
                </c:pt>
                <c:pt idx="133">
                  <c:v>1467.68</c:v>
                </c:pt>
                <c:pt idx="134">
                  <c:v>1481.32</c:v>
                </c:pt>
                <c:pt idx="135">
                  <c:v>1474.96</c:v>
                </c:pt>
                <c:pt idx="136">
                  <c:v>1503.68</c:v>
                </c:pt>
                <c:pt idx="137">
                  <c:v>1479.73</c:v>
                </c:pt>
                <c:pt idx="138">
                  <c:v>1523.16</c:v>
                </c:pt>
                <c:pt idx="139">
                  <c:v>1517.65</c:v>
                </c:pt>
                <c:pt idx="140">
                  <c:v>1523.8</c:v>
                </c:pt>
                <c:pt idx="141">
                  <c:v>1517.87</c:v>
                </c:pt>
                <c:pt idx="142">
                  <c:v>1509.85</c:v>
                </c:pt>
                <c:pt idx="143">
                  <c:v>1520.56</c:v>
                </c:pt>
                <c:pt idx="144">
                  <c:v>1492.9</c:v>
                </c:pt>
                <c:pt idx="145">
                  <c:v>1460.67</c:v>
                </c:pt>
                <c:pt idx="146">
                  <c:v>1447.68</c:v>
                </c:pt>
                <c:pt idx="147">
                  <c:v>1445.37</c:v>
                </c:pt>
                <c:pt idx="148">
                  <c:v>1445.94</c:v>
                </c:pt>
                <c:pt idx="149">
                  <c:v>1464.49</c:v>
                </c:pt>
                <c:pt idx="150">
                  <c:v>1458.36</c:v>
                </c:pt>
                <c:pt idx="151">
                  <c:v>1445.72</c:v>
                </c:pt>
                <c:pt idx="152">
                  <c:v>1425.03</c:v>
                </c:pt>
                <c:pt idx="153">
                  <c:v>1425.91</c:v>
                </c:pt>
                <c:pt idx="154">
                  <c:v>1396.86</c:v>
                </c:pt>
                <c:pt idx="155">
                  <c:v>1385.81</c:v>
                </c:pt>
                <c:pt idx="156">
                  <c:v>1409.51</c:v>
                </c:pt>
                <c:pt idx="157">
                  <c:v>1421.47</c:v>
                </c:pt>
                <c:pt idx="158">
                  <c:v>1427.11</c:v>
                </c:pt>
                <c:pt idx="159">
                  <c:v>1421.21</c:v>
                </c:pt>
                <c:pt idx="160">
                  <c:v>1449.99</c:v>
                </c:pt>
                <c:pt idx="161">
                  <c:v>1455.64</c:v>
                </c:pt>
                <c:pt idx="162">
                  <c:v>1467.62</c:v>
                </c:pt>
                <c:pt idx="163">
                  <c:v>1469.75</c:v>
                </c:pt>
                <c:pt idx="164">
                  <c:v>1453.47</c:v>
                </c:pt>
                <c:pt idx="165">
                  <c:v>1468.11</c:v>
                </c:pt>
                <c:pt idx="166">
                  <c:v>1492</c:v>
                </c:pt>
                <c:pt idx="167">
                  <c:v>1487.09</c:v>
                </c:pt>
                <c:pt idx="168">
                  <c:v>1503.22</c:v>
                </c:pt>
                <c:pt idx="169">
                  <c:v>1493.21</c:v>
                </c:pt>
                <c:pt idx="170">
                  <c:v>1484.5</c:v>
                </c:pt>
                <c:pt idx="171">
                  <c:v>1463.88</c:v>
                </c:pt>
                <c:pt idx="172">
                  <c:v>1464.18</c:v>
                </c:pt>
                <c:pt idx="173">
                  <c:v>1467.11</c:v>
                </c:pt>
                <c:pt idx="174">
                  <c:v>1478.21</c:v>
                </c:pt>
                <c:pt idx="175">
                  <c:v>1477.01</c:v>
                </c:pt>
                <c:pt idx="176">
                  <c:v>1477.13</c:v>
                </c:pt>
                <c:pt idx="177">
                  <c:v>1488.67</c:v>
                </c:pt>
                <c:pt idx="178">
                  <c:v>1487.86</c:v>
                </c:pt>
                <c:pt idx="179">
                  <c:v>1483.68</c:v>
                </c:pt>
                <c:pt idx="180">
                  <c:v>1494.93</c:v>
                </c:pt>
                <c:pt idx="181">
                  <c:v>1507.66</c:v>
                </c:pt>
                <c:pt idx="182">
                  <c:v>1531.91</c:v>
                </c:pt>
                <c:pt idx="183">
                  <c:v>1542.58</c:v>
                </c:pt>
                <c:pt idx="184">
                  <c:v>1568.86</c:v>
                </c:pt>
                <c:pt idx="185">
                  <c:v>1578.35</c:v>
                </c:pt>
                <c:pt idx="186">
                  <c:v>1584.29</c:v>
                </c:pt>
                <c:pt idx="187">
                  <c:v>1566.85</c:v>
                </c:pt>
                <c:pt idx="188">
                  <c:v>1588.29</c:v>
                </c:pt>
                <c:pt idx="189">
                  <c:v>1574.2</c:v>
                </c:pt>
                <c:pt idx="190">
                  <c:v>1588.83</c:v>
                </c:pt>
                <c:pt idx="191">
                  <c:v>1586.94</c:v>
                </c:pt>
                <c:pt idx="192">
                  <c:v>1581.9</c:v>
                </c:pt>
                <c:pt idx="193">
                  <c:v>1583.04</c:v>
                </c:pt>
                <c:pt idx="194">
                  <c:v>1570.59</c:v>
                </c:pt>
                <c:pt idx="195">
                  <c:v>1556.74</c:v>
                </c:pt>
                <c:pt idx="196">
                  <c:v>1604.86</c:v>
                </c:pt>
                <c:pt idx="197">
                  <c:v>1608.71</c:v>
                </c:pt>
                <c:pt idx="198">
                  <c:v>1620.49</c:v>
                </c:pt>
                <c:pt idx="199">
                  <c:v>1609.79</c:v>
                </c:pt>
                <c:pt idx="200">
                  <c:v>1583.17</c:v>
                </c:pt>
                <c:pt idx="201">
                  <c:v>1583.44</c:v>
                </c:pt>
                <c:pt idx="202">
                  <c:v>1587.14</c:v>
                </c:pt>
                <c:pt idx="203">
                  <c:v>1600.36</c:v>
                </c:pt>
                <c:pt idx="204">
                  <c:v>1604.14</c:v>
                </c:pt>
                <c:pt idx="205">
                  <c:v>1602.53</c:v>
                </c:pt>
                <c:pt idx="206">
                  <c:v>1628.42</c:v>
                </c:pt>
                <c:pt idx="207">
                  <c:v>1659.45</c:v>
                </c:pt>
                <c:pt idx="208">
                  <c:v>1637.02</c:v>
                </c:pt>
                <c:pt idx="209">
                  <c:v>1629.37</c:v>
                </c:pt>
                <c:pt idx="210">
                  <c:v>1610.97</c:v>
                </c:pt>
                <c:pt idx="211">
                  <c:v>1606.08</c:v>
                </c:pt>
                <c:pt idx="212">
                  <c:v>1609.43</c:v>
                </c:pt>
                <c:pt idx="213">
                  <c:v>1568.13</c:v>
                </c:pt>
                <c:pt idx="214">
                  <c:v>1570.66</c:v>
                </c:pt>
                <c:pt idx="215">
                  <c:v>1598.63</c:v>
                </c:pt>
                <c:pt idx="216">
                  <c:v>1600.98</c:v>
                </c:pt>
                <c:pt idx="217">
                  <c:v>1600.3</c:v>
                </c:pt>
                <c:pt idx="218">
                  <c:v>1573.46</c:v>
                </c:pt>
                <c:pt idx="219">
                  <c:v>1600.5</c:v>
                </c:pt>
                <c:pt idx="220">
                  <c:v>1618.55</c:v>
                </c:pt>
                <c:pt idx="221">
                  <c:v>1602.48</c:v>
                </c:pt>
                <c:pt idx="222">
                  <c:v>1589.31</c:v>
                </c:pt>
                <c:pt idx="223">
                  <c:v>1597.35</c:v>
                </c:pt>
                <c:pt idx="224">
                  <c:v>1633.71</c:v>
                </c:pt>
                <c:pt idx="225">
                  <c:v>1665.72</c:v>
                </c:pt>
                <c:pt idx="226">
                  <c:v>1687.36</c:v>
                </c:pt>
                <c:pt idx="227">
                  <c:v>1711.44</c:v>
                </c:pt>
                <c:pt idx="228">
                  <c:v>1721.91</c:v>
                </c:pt>
                <c:pt idx="229">
                  <c:v>1694.3</c:v>
                </c:pt>
                <c:pt idx="230">
                  <c:v>1711.56</c:v>
                </c:pt>
                <c:pt idx="231">
                  <c:v>1712.93</c:v>
                </c:pt>
                <c:pt idx="232">
                  <c:v>1735.5</c:v>
                </c:pt>
                <c:pt idx="233">
                  <c:v>1745.8</c:v>
                </c:pt>
                <c:pt idx="234">
                  <c:v>1757.71</c:v>
                </c:pt>
                <c:pt idx="235">
                  <c:v>1744.28</c:v>
                </c:pt>
                <c:pt idx="236">
                  <c:v>1743.87</c:v>
                </c:pt>
                <c:pt idx="237">
                  <c:v>1739.67</c:v>
                </c:pt>
                <c:pt idx="238">
                  <c:v>1755.79</c:v>
                </c:pt>
                <c:pt idx="239">
                  <c:v>1764.04</c:v>
                </c:pt>
                <c:pt idx="240">
                  <c:v>1765.51</c:v>
                </c:pt>
                <c:pt idx="241">
                  <c:v>1769.57</c:v>
                </c:pt>
                <c:pt idx="242">
                  <c:v>1764.39</c:v>
                </c:pt>
                <c:pt idx="243">
                  <c:v>1769.41</c:v>
                </c:pt>
                <c:pt idx="244">
                  <c:v>1767.82</c:v>
                </c:pt>
                <c:pt idx="245">
                  <c:v>1770.28</c:v>
                </c:pt>
                <c:pt idx="246">
                  <c:v>1802.23</c:v>
                </c:pt>
                <c:pt idx="247">
                  <c:v>1868.94</c:v>
                </c:pt>
                <c:pt idx="248">
                  <c:v>1878.14</c:v>
                </c:pt>
                <c:pt idx="249">
                  <c:v>1870.09</c:v>
                </c:pt>
                <c:pt idx="250">
                  <c:v>1901.61</c:v>
                </c:pt>
                <c:pt idx="251">
                  <c:v>1900.94</c:v>
                </c:pt>
                <c:pt idx="252">
                  <c:v>1902.75</c:v>
                </c:pt>
                <c:pt idx="253">
                  <c:v>1868.46</c:v>
                </c:pt>
                <c:pt idx="254">
                  <c:v>1884.76</c:v>
                </c:pt>
                <c:pt idx="255">
                  <c:v>1861.66</c:v>
                </c:pt>
                <c:pt idx="256">
                  <c:v>1863.33</c:v>
                </c:pt>
                <c:pt idx="257">
                  <c:v>1894.92</c:v>
                </c:pt>
                <c:pt idx="258">
                  <c:v>1911.48</c:v>
                </c:pt>
                <c:pt idx="259">
                  <c:v>1885.53</c:v>
                </c:pt>
                <c:pt idx="260">
                  <c:v>1870.31</c:v>
                </c:pt>
                <c:pt idx="261">
                  <c:v>1910.01</c:v>
                </c:pt>
                <c:pt idx="262">
                  <c:v>1931.38</c:v>
                </c:pt>
                <c:pt idx="263">
                  <c:v>1917.07</c:v>
                </c:pt>
                <c:pt idx="264">
                  <c:v>1928.58</c:v>
                </c:pt>
                <c:pt idx="265">
                  <c:v>1935.15</c:v>
                </c:pt>
                <c:pt idx="266">
                  <c:v>1910.5</c:v>
                </c:pt>
                <c:pt idx="267">
                  <c:v>1900.28</c:v>
                </c:pt>
                <c:pt idx="268">
                  <c:v>1846.92</c:v>
                </c:pt>
                <c:pt idx="269">
                  <c:v>1881.9</c:v>
                </c:pt>
                <c:pt idx="270">
                  <c:v>1879.56</c:v>
                </c:pt>
                <c:pt idx="271">
                  <c:v>1865.99</c:v>
                </c:pt>
                <c:pt idx="272">
                  <c:v>1877.44</c:v>
                </c:pt>
                <c:pt idx="273">
                  <c:v>1871.59</c:v>
                </c:pt>
                <c:pt idx="274">
                  <c:v>1868.4</c:v>
                </c:pt>
                <c:pt idx="275">
                  <c:v>1889.33</c:v>
                </c:pt>
                <c:pt idx="276">
                  <c:v>1874.76</c:v>
                </c:pt>
                <c:pt idx="277">
                  <c:v>1901.14</c:v>
                </c:pt>
                <c:pt idx="278">
                  <c:v>1932.82</c:v>
                </c:pt>
                <c:pt idx="279">
                  <c:v>1969.91</c:v>
                </c:pt>
                <c:pt idx="280">
                  <c:v>1962.66</c:v>
                </c:pt>
                <c:pt idx="281">
                  <c:v>1991.29</c:v>
                </c:pt>
                <c:pt idx="282">
                  <c:v>2017.82</c:v>
                </c:pt>
                <c:pt idx="283">
                  <c:v>2012.68</c:v>
                </c:pt>
                <c:pt idx="284">
                  <c:v>2025.17</c:v>
                </c:pt>
                <c:pt idx="285">
                  <c:v>2012.22</c:v>
                </c:pt>
                <c:pt idx="286">
                  <c:v>1949.35</c:v>
                </c:pt>
                <c:pt idx="287">
                  <c:v>1929.59</c:v>
                </c:pt>
                <c:pt idx="288">
                  <c:v>1944.91</c:v>
                </c:pt>
                <c:pt idx="289">
                  <c:v>1906.83</c:v>
                </c:pt>
                <c:pt idx="290">
                  <c:v>1915.95</c:v>
                </c:pt>
                <c:pt idx="291">
                  <c:v>1945.74</c:v>
                </c:pt>
                <c:pt idx="292">
                  <c:v>1962.92</c:v>
                </c:pt>
                <c:pt idx="293">
                  <c:v>1981.98</c:v>
                </c:pt>
                <c:pt idx="294">
                  <c:v>1976.38</c:v>
                </c:pt>
                <c:pt idx="295">
                  <c:v>1997</c:v>
                </c:pt>
                <c:pt idx="296">
                  <c:v>2027.89</c:v>
                </c:pt>
                <c:pt idx="297">
                  <c:v>2041.49</c:v>
                </c:pt>
                <c:pt idx="298">
                  <c:v>2045.06</c:v>
                </c:pt>
                <c:pt idx="299">
                  <c:v>2018.74</c:v>
                </c:pt>
                <c:pt idx="300">
                  <c:v>2035.92</c:v>
                </c:pt>
                <c:pt idx="301">
                  <c:v>2044.2</c:v>
                </c:pt>
                <c:pt idx="302">
                  <c:v>2076.7800000000002</c:v>
                </c:pt>
                <c:pt idx="303">
                  <c:v>2092.3200000000002</c:v>
                </c:pt>
                <c:pt idx="304">
                  <c:v>2088.64</c:v>
                </c:pt>
                <c:pt idx="305">
                  <c:v>2110.9</c:v>
                </c:pt>
                <c:pt idx="306">
                  <c:v>2089.52</c:v>
                </c:pt>
                <c:pt idx="307">
                  <c:v>2123.56</c:v>
                </c:pt>
                <c:pt idx="308">
                  <c:v>2113.5500000000002</c:v>
                </c:pt>
                <c:pt idx="309">
                  <c:v>2062.52</c:v>
                </c:pt>
                <c:pt idx="310">
                  <c:v>2062.4699999999998</c:v>
                </c:pt>
                <c:pt idx="311">
                  <c:v>2028.67</c:v>
                </c:pt>
                <c:pt idx="312">
                  <c:v>2030.32</c:v>
                </c:pt>
                <c:pt idx="313">
                  <c:v>1950.15</c:v>
                </c:pt>
                <c:pt idx="314">
                  <c:v>1988.12</c:v>
                </c:pt>
                <c:pt idx="315">
                  <c:v>2030.97</c:v>
                </c:pt>
                <c:pt idx="316">
                  <c:v>2040.6</c:v>
                </c:pt>
                <c:pt idx="317">
                  <c:v>2049.0300000000002</c:v>
                </c:pt>
                <c:pt idx="318">
                  <c:v>2030.93</c:v>
                </c:pt>
                <c:pt idx="319">
                  <c:v>2033.32</c:v>
                </c:pt>
                <c:pt idx="320">
                  <c:v>2017.64</c:v>
                </c:pt>
                <c:pt idx="321">
                  <c:v>2028.94</c:v>
                </c:pt>
                <c:pt idx="322">
                  <c:v>2026.94</c:v>
                </c:pt>
                <c:pt idx="323">
                  <c:v>1976.74</c:v>
                </c:pt>
                <c:pt idx="324">
                  <c:v>1949.94</c:v>
                </c:pt>
                <c:pt idx="325">
                  <c:v>1916.33</c:v>
                </c:pt>
                <c:pt idx="326">
                  <c:v>1936.29</c:v>
                </c:pt>
                <c:pt idx="327">
                  <c:v>1927.82</c:v>
                </c:pt>
                <c:pt idx="328">
                  <c:v>1908.46</c:v>
                </c:pt>
                <c:pt idx="329">
                  <c:v>1864.95</c:v>
                </c:pt>
                <c:pt idx="330">
                  <c:v>1866.3</c:v>
                </c:pt>
                <c:pt idx="331">
                  <c:v>1846.32</c:v>
                </c:pt>
                <c:pt idx="332">
                  <c:v>1828.89</c:v>
                </c:pt>
                <c:pt idx="333">
                  <c:v>1849.6</c:v>
                </c:pt>
                <c:pt idx="334">
                  <c:v>1859.14</c:v>
                </c:pt>
                <c:pt idx="335">
                  <c:v>1825.34</c:v>
                </c:pt>
                <c:pt idx="336">
                  <c:v>1765.04</c:v>
                </c:pt>
                <c:pt idx="337">
                  <c:v>1800.04</c:v>
                </c:pt>
                <c:pt idx="338">
                  <c:v>1808.13</c:v>
                </c:pt>
                <c:pt idx="339">
                  <c:v>1818.36</c:v>
                </c:pt>
                <c:pt idx="340">
                  <c:v>1858.39</c:v>
                </c:pt>
                <c:pt idx="341">
                  <c:v>1865.74</c:v>
                </c:pt>
                <c:pt idx="342">
                  <c:v>1888.6</c:v>
                </c:pt>
                <c:pt idx="343">
                  <c:v>1876.81</c:v>
                </c:pt>
                <c:pt idx="344">
                  <c:v>1883.09</c:v>
                </c:pt>
                <c:pt idx="345">
                  <c:v>1858.08</c:v>
                </c:pt>
                <c:pt idx="346">
                  <c:v>1865.64</c:v>
                </c:pt>
                <c:pt idx="347">
                  <c:v>1940.98</c:v>
                </c:pt>
                <c:pt idx="348">
                  <c:v>1926.02</c:v>
                </c:pt>
                <c:pt idx="349">
                  <c:v>1925.56</c:v>
                </c:pt>
                <c:pt idx="350">
                  <c:v>1919.05</c:v>
                </c:pt>
                <c:pt idx="351">
                  <c:v>1896.72</c:v>
                </c:pt>
                <c:pt idx="352">
                  <c:v>1878.55</c:v>
                </c:pt>
                <c:pt idx="353">
                  <c:v>1858.34</c:v>
                </c:pt>
                <c:pt idx="354">
                  <c:v>1872.45</c:v>
                </c:pt>
                <c:pt idx="355">
                  <c:v>1878.38</c:v>
                </c:pt>
                <c:pt idx="356">
                  <c:v>1829.97</c:v>
                </c:pt>
                <c:pt idx="357">
                  <c:v>1857.04</c:v>
                </c:pt>
                <c:pt idx="358">
                  <c:v>1842.2</c:v>
                </c:pt>
                <c:pt idx="359">
                  <c:v>1874.34</c:v>
                </c:pt>
                <c:pt idx="360">
                  <c:v>1894.58</c:v>
                </c:pt>
                <c:pt idx="361">
                  <c:v>1906.71</c:v>
                </c:pt>
                <c:pt idx="362">
                  <c:v>1937.57</c:v>
                </c:pt>
                <c:pt idx="363">
                  <c:v>1948.48</c:v>
                </c:pt>
                <c:pt idx="364">
                  <c:v>1953.07</c:v>
                </c:pt>
                <c:pt idx="365">
                  <c:v>1939.01</c:v>
                </c:pt>
                <c:pt idx="366">
                  <c:v>1976.9</c:v>
                </c:pt>
                <c:pt idx="367">
                  <c:v>1958.4</c:v>
                </c:pt>
                <c:pt idx="368">
                  <c:v>1919.08</c:v>
                </c:pt>
                <c:pt idx="369">
                  <c:v>1916.81</c:v>
                </c:pt>
                <c:pt idx="370">
                  <c:v>1936.42</c:v>
                </c:pt>
                <c:pt idx="371">
                  <c:v>1939.68</c:v>
                </c:pt>
                <c:pt idx="372">
                  <c:v>1938.54</c:v>
                </c:pt>
                <c:pt idx="373">
                  <c:v>1904.29</c:v>
                </c:pt>
                <c:pt idx="374">
                  <c:v>1926.23</c:v>
                </c:pt>
                <c:pt idx="375">
                  <c:v>1936.54</c:v>
                </c:pt>
                <c:pt idx="376">
                  <c:v>1972.5</c:v>
                </c:pt>
                <c:pt idx="377">
                  <c:v>1976.82</c:v>
                </c:pt>
                <c:pt idx="378">
                  <c:v>1979.54</c:v>
                </c:pt>
                <c:pt idx="379">
                  <c:v>1987.79</c:v>
                </c:pt>
                <c:pt idx="380">
                  <c:v>1976.18</c:v>
                </c:pt>
                <c:pt idx="381">
                  <c:v>1985.11</c:v>
                </c:pt>
                <c:pt idx="382">
                  <c:v>1965.02</c:v>
                </c:pt>
                <c:pt idx="383">
                  <c:v>1985.78</c:v>
                </c:pt>
                <c:pt idx="384">
                  <c:v>1968.14</c:v>
                </c:pt>
                <c:pt idx="385">
                  <c:v>1901.73</c:v>
                </c:pt>
                <c:pt idx="386">
                  <c:v>1855.69</c:v>
                </c:pt>
                <c:pt idx="387">
                  <c:v>1798.75</c:v>
                </c:pt>
                <c:pt idx="388">
                  <c:v>1657.77</c:v>
                </c:pt>
                <c:pt idx="389">
                  <c:v>1610.22</c:v>
                </c:pt>
                <c:pt idx="390">
                  <c:v>1537.57</c:v>
                </c:pt>
                <c:pt idx="391">
                  <c:v>1544.83</c:v>
                </c:pt>
                <c:pt idx="392">
                  <c:v>1594.68</c:v>
                </c:pt>
                <c:pt idx="393">
                  <c:v>1655.03</c:v>
                </c:pt>
                <c:pt idx="394">
                  <c:v>1632.31</c:v>
                </c:pt>
                <c:pt idx="395">
                  <c:v>1575.33</c:v>
                </c:pt>
                <c:pt idx="396">
                  <c:v>1578.45</c:v>
                </c:pt>
                <c:pt idx="397">
                  <c:v>1578.91</c:v>
                </c:pt>
                <c:pt idx="398">
                  <c:v>1601.03</c:v>
                </c:pt>
                <c:pt idx="399">
                  <c:v>1583.97</c:v>
                </c:pt>
                <c:pt idx="400">
                  <c:v>1596.17</c:v>
                </c:pt>
                <c:pt idx="401">
                  <c:v>1667.66</c:v>
                </c:pt>
                <c:pt idx="402">
                  <c:v>1662.35</c:v>
                </c:pt>
                <c:pt idx="403">
                  <c:v>1702.28</c:v>
                </c:pt>
                <c:pt idx="404">
                  <c:v>1703.86</c:v>
                </c:pt>
                <c:pt idx="405">
                  <c:v>1657.25</c:v>
                </c:pt>
                <c:pt idx="406">
                  <c:v>1617.01</c:v>
                </c:pt>
                <c:pt idx="407">
                  <c:v>1618.63</c:v>
                </c:pt>
                <c:pt idx="408">
                  <c:v>1669.75</c:v>
                </c:pt>
                <c:pt idx="409">
                  <c:v>1675.14</c:v>
                </c:pt>
                <c:pt idx="410">
                  <c:v>1625.29</c:v>
                </c:pt>
                <c:pt idx="411">
                  <c:v>1566.64</c:v>
                </c:pt>
                <c:pt idx="412">
                  <c:v>1572</c:v>
                </c:pt>
                <c:pt idx="413">
                  <c:v>1570.38</c:v>
                </c:pt>
                <c:pt idx="414">
                  <c:v>1603.39</c:v>
                </c:pt>
                <c:pt idx="415">
                  <c:v>1574.94</c:v>
                </c:pt>
                <c:pt idx="416">
                  <c:v>1526.01</c:v>
                </c:pt>
                <c:pt idx="417">
                  <c:v>1535.62</c:v>
                </c:pt>
                <c:pt idx="418">
                  <c:v>1518.64</c:v>
                </c:pt>
                <c:pt idx="419">
                  <c:v>1387.86</c:v>
                </c:pt>
                <c:pt idx="420">
                  <c:v>1315.95</c:v>
                </c:pt>
                <c:pt idx="421">
                  <c:v>1315.25</c:v>
                </c:pt>
                <c:pt idx="422">
                  <c:v>1369.93</c:v>
                </c:pt>
                <c:pt idx="423">
                  <c:v>1367.37</c:v>
                </c:pt>
                <c:pt idx="424">
                  <c:v>1389.14</c:v>
                </c:pt>
                <c:pt idx="425">
                  <c:v>1341.09</c:v>
                </c:pt>
                <c:pt idx="426">
                  <c:v>1291.7</c:v>
                </c:pt>
                <c:pt idx="427">
                  <c:v>1224.92</c:v>
                </c:pt>
                <c:pt idx="428">
                  <c:v>1217.21</c:v>
                </c:pt>
                <c:pt idx="429">
                  <c:v>1271.71</c:v>
                </c:pt>
                <c:pt idx="430">
                  <c:v>1311.91</c:v>
                </c:pt>
                <c:pt idx="431">
                  <c:v>1365.73</c:v>
                </c:pt>
                <c:pt idx="432">
                  <c:v>1355.21</c:v>
                </c:pt>
                <c:pt idx="433">
                  <c:v>1407.77</c:v>
                </c:pt>
                <c:pt idx="434">
                  <c:v>1396.27</c:v>
                </c:pt>
                <c:pt idx="435">
                  <c:v>1449.28</c:v>
                </c:pt>
                <c:pt idx="436">
                  <c:v>1427.31</c:v>
                </c:pt>
                <c:pt idx="437">
                  <c:v>1427.26</c:v>
                </c:pt>
                <c:pt idx="438">
                  <c:v>1438.63</c:v>
                </c:pt>
                <c:pt idx="439">
                  <c:v>1423.03</c:v>
                </c:pt>
                <c:pt idx="440">
                  <c:v>1456.73</c:v>
                </c:pt>
                <c:pt idx="441">
                  <c:v>1508.82</c:v>
                </c:pt>
                <c:pt idx="442">
                  <c:v>1500.05</c:v>
                </c:pt>
                <c:pt idx="443">
                  <c:v>1530.11</c:v>
                </c:pt>
                <c:pt idx="444">
                  <c:v>1592.93</c:v>
                </c:pt>
                <c:pt idx="445">
                  <c:v>1610.32</c:v>
                </c:pt>
                <c:pt idx="446">
                  <c:v>1484.98</c:v>
                </c:pt>
                <c:pt idx="447">
                  <c:v>1526.19</c:v>
                </c:pt>
                <c:pt idx="448">
                  <c:v>1542.39</c:v>
                </c:pt>
                <c:pt idx="449">
                  <c:v>1563.24</c:v>
                </c:pt>
                <c:pt idx="450">
                  <c:v>1579.82</c:v>
                </c:pt>
                <c:pt idx="451">
                  <c:v>1512.85</c:v>
                </c:pt>
                <c:pt idx="452">
                  <c:v>1529.71</c:v>
                </c:pt>
                <c:pt idx="453">
                  <c:v>1530.7</c:v>
                </c:pt>
                <c:pt idx="454">
                  <c:v>1527.16</c:v>
                </c:pt>
                <c:pt idx="455">
                  <c:v>1526.98</c:v>
                </c:pt>
                <c:pt idx="456">
                  <c:v>1520.75</c:v>
                </c:pt>
                <c:pt idx="457">
                  <c:v>1512.67</c:v>
                </c:pt>
                <c:pt idx="458">
                  <c:v>1495.87</c:v>
                </c:pt>
                <c:pt idx="459">
                  <c:v>1424.97</c:v>
                </c:pt>
                <c:pt idx="460">
                  <c:v>1431.13</c:v>
                </c:pt>
                <c:pt idx="461">
                  <c:v>1422</c:v>
                </c:pt>
                <c:pt idx="462">
                  <c:v>1402.83</c:v>
                </c:pt>
                <c:pt idx="463">
                  <c:v>1413.18</c:v>
                </c:pt>
                <c:pt idx="464">
                  <c:v>1475.25</c:v>
                </c:pt>
                <c:pt idx="465">
                  <c:v>1466.36</c:v>
                </c:pt>
                <c:pt idx="466">
                  <c:v>1540.81</c:v>
                </c:pt>
                <c:pt idx="467">
                  <c:v>1546.7</c:v>
                </c:pt>
                <c:pt idx="468">
                  <c:v>1545.57</c:v>
                </c:pt>
                <c:pt idx="469">
                  <c:v>1559.28</c:v>
                </c:pt>
                <c:pt idx="470">
                  <c:v>1485.67</c:v>
                </c:pt>
                <c:pt idx="471">
                  <c:v>1467.69</c:v>
                </c:pt>
                <c:pt idx="472">
                  <c:v>1473.56</c:v>
                </c:pt>
                <c:pt idx="473">
                  <c:v>1410.28</c:v>
                </c:pt>
                <c:pt idx="474">
                  <c:v>1363.67</c:v>
                </c:pt>
                <c:pt idx="475">
                  <c:v>1387.13</c:v>
                </c:pt>
                <c:pt idx="476">
                  <c:v>1369.65</c:v>
                </c:pt>
                <c:pt idx="477">
                  <c:v>1395.28</c:v>
                </c:pt>
                <c:pt idx="478">
                  <c:v>1373.73</c:v>
                </c:pt>
                <c:pt idx="479">
                  <c:v>1370.11</c:v>
                </c:pt>
                <c:pt idx="480">
                  <c:v>1395.79</c:v>
                </c:pt>
                <c:pt idx="481">
                  <c:v>1382.5</c:v>
                </c:pt>
                <c:pt idx="482">
                  <c:v>1396.03</c:v>
                </c:pt>
                <c:pt idx="483">
                  <c:v>1394.12</c:v>
                </c:pt>
                <c:pt idx="484">
                  <c:v>1413.52</c:v>
                </c:pt>
                <c:pt idx="485">
                  <c:v>1398.51</c:v>
                </c:pt>
                <c:pt idx="486">
                  <c:v>1382.19</c:v>
                </c:pt>
                <c:pt idx="487">
                  <c:v>1365.13</c:v>
                </c:pt>
                <c:pt idx="488">
                  <c:v>1381.87</c:v>
                </c:pt>
                <c:pt idx="489">
                  <c:v>1434.23</c:v>
                </c:pt>
                <c:pt idx="490">
                  <c:v>1434.19</c:v>
                </c:pt>
                <c:pt idx="491">
                  <c:v>1415.48</c:v>
                </c:pt>
                <c:pt idx="492">
                  <c:v>1423.7</c:v>
                </c:pt>
                <c:pt idx="493">
                  <c:v>1430.13</c:v>
                </c:pt>
                <c:pt idx="494">
                  <c:v>1469.76</c:v>
                </c:pt>
                <c:pt idx="495">
                  <c:v>1452.69</c:v>
                </c:pt>
                <c:pt idx="496">
                  <c:v>1458.24</c:v>
                </c:pt>
                <c:pt idx="497">
                  <c:v>1446.46</c:v>
                </c:pt>
                <c:pt idx="498">
                  <c:v>1455.32</c:v>
                </c:pt>
                <c:pt idx="499">
                  <c:v>1476.31</c:v>
                </c:pt>
                <c:pt idx="500">
                  <c:v>1488.37</c:v>
                </c:pt>
                <c:pt idx="501">
                  <c:v>1503.89</c:v>
                </c:pt>
                <c:pt idx="502">
                  <c:v>1496.41</c:v>
                </c:pt>
                <c:pt idx="503">
                  <c:v>1522.57</c:v>
                </c:pt>
                <c:pt idx="504">
                  <c:v>1514.93</c:v>
                </c:pt>
                <c:pt idx="505">
                  <c:v>1534.14</c:v>
                </c:pt>
                <c:pt idx="506">
                  <c:v>1573.04</c:v>
                </c:pt>
                <c:pt idx="507">
                  <c:v>1565.82</c:v>
                </c:pt>
                <c:pt idx="508">
                  <c:v>1546.59</c:v>
                </c:pt>
                <c:pt idx="509">
                  <c:v>1577.29</c:v>
                </c:pt>
                <c:pt idx="510">
                  <c:v>1599.56</c:v>
                </c:pt>
                <c:pt idx="511">
                  <c:v>1602.99</c:v>
                </c:pt>
                <c:pt idx="512">
                  <c:v>1625.6</c:v>
                </c:pt>
                <c:pt idx="513">
                  <c:v>1626.46</c:v>
                </c:pt>
                <c:pt idx="514">
                  <c:v>1632.35</c:v>
                </c:pt>
                <c:pt idx="515">
                  <c:v>1643.53</c:v>
                </c:pt>
                <c:pt idx="516">
                  <c:v>1638.09</c:v>
                </c:pt>
                <c:pt idx="517">
                  <c:v>1603.25</c:v>
                </c:pt>
                <c:pt idx="518">
                  <c:v>1645.94</c:v>
                </c:pt>
                <c:pt idx="519">
                  <c:v>1644.1</c:v>
                </c:pt>
                <c:pt idx="520">
                  <c:v>1661.36</c:v>
                </c:pt>
                <c:pt idx="521">
                  <c:v>1641.51</c:v>
                </c:pt>
                <c:pt idx="522">
                  <c:v>1656.6</c:v>
                </c:pt>
                <c:pt idx="523">
                  <c:v>1674.27</c:v>
                </c:pt>
                <c:pt idx="524">
                  <c:v>1655.35</c:v>
                </c:pt>
                <c:pt idx="525">
                  <c:v>1642.01</c:v>
                </c:pt>
                <c:pt idx="526">
                  <c:v>1722.05</c:v>
                </c:pt>
                <c:pt idx="527">
                  <c:v>1728.13</c:v>
                </c:pt>
                <c:pt idx="528">
                  <c:v>1708.16</c:v>
                </c:pt>
                <c:pt idx="529">
                  <c:v>1734.99</c:v>
                </c:pt>
                <c:pt idx="530">
                  <c:v>1723.57</c:v>
                </c:pt>
                <c:pt idx="531">
                  <c:v>1726.73</c:v>
                </c:pt>
                <c:pt idx="532">
                  <c:v>1752.17</c:v>
                </c:pt>
                <c:pt idx="533">
                  <c:v>1676.48</c:v>
                </c:pt>
                <c:pt idx="534">
                  <c:v>1677.21</c:v>
                </c:pt>
                <c:pt idx="535">
                  <c:v>1721.27</c:v>
                </c:pt>
                <c:pt idx="536">
                  <c:v>1714.12</c:v>
                </c:pt>
                <c:pt idx="537">
                  <c:v>1729.91</c:v>
                </c:pt>
                <c:pt idx="538">
                  <c:v>1752.02</c:v>
                </c:pt>
                <c:pt idx="539">
                  <c:v>1754.81</c:v>
                </c:pt>
                <c:pt idx="540">
                  <c:v>1748.32</c:v>
                </c:pt>
                <c:pt idx="541">
                  <c:v>1722.5</c:v>
                </c:pt>
                <c:pt idx="542">
                  <c:v>1693.07</c:v>
                </c:pt>
                <c:pt idx="543">
                  <c:v>1686.91</c:v>
                </c:pt>
                <c:pt idx="544">
                  <c:v>1653.8</c:v>
                </c:pt>
                <c:pt idx="545">
                  <c:v>1668.41</c:v>
                </c:pt>
                <c:pt idx="546">
                  <c:v>1712.85</c:v>
                </c:pt>
                <c:pt idx="547">
                  <c:v>1699.68</c:v>
                </c:pt>
                <c:pt idx="548">
                  <c:v>1647.44</c:v>
                </c:pt>
                <c:pt idx="549">
                  <c:v>1613.41</c:v>
                </c:pt>
                <c:pt idx="550">
                  <c:v>1637.73</c:v>
                </c:pt>
                <c:pt idx="551">
                  <c:v>1643.2</c:v>
                </c:pt>
                <c:pt idx="552">
                  <c:v>1681.8</c:v>
                </c:pt>
                <c:pt idx="553">
                  <c:v>1632.21</c:v>
                </c:pt>
                <c:pt idx="554">
                  <c:v>1642.62</c:v>
                </c:pt>
                <c:pt idx="555">
                  <c:v>1613.25</c:v>
                </c:pt>
                <c:pt idx="556">
                  <c:v>1622.07</c:v>
                </c:pt>
                <c:pt idx="557">
                  <c:v>1606.98</c:v>
                </c:pt>
                <c:pt idx="558">
                  <c:v>1615.69</c:v>
                </c:pt>
                <c:pt idx="559">
                  <c:v>1620.19</c:v>
                </c:pt>
                <c:pt idx="560">
                  <c:v>1612.74</c:v>
                </c:pt>
                <c:pt idx="561">
                  <c:v>1587.58</c:v>
                </c:pt>
                <c:pt idx="562">
                  <c:v>1585.4</c:v>
                </c:pt>
                <c:pt idx="563">
                  <c:v>1583.06</c:v>
                </c:pt>
                <c:pt idx="564">
                  <c:v>1609.56</c:v>
                </c:pt>
                <c:pt idx="565">
                  <c:v>1619.53</c:v>
                </c:pt>
                <c:pt idx="566">
                  <c:v>1572.88</c:v>
                </c:pt>
                <c:pt idx="567">
                  <c:v>1576.22</c:v>
                </c:pt>
                <c:pt idx="568">
                  <c:v>1583.42</c:v>
                </c:pt>
                <c:pt idx="569">
                  <c:v>1574.61</c:v>
                </c:pt>
                <c:pt idx="570">
                  <c:v>1594.2</c:v>
                </c:pt>
                <c:pt idx="571">
                  <c:v>1593.97</c:v>
                </c:pt>
                <c:pt idx="572">
                  <c:v>1569.1</c:v>
                </c:pt>
                <c:pt idx="573">
                  <c:v>1560.11</c:v>
                </c:pt>
                <c:pt idx="574">
                  <c:v>1498.05</c:v>
                </c:pt>
                <c:pt idx="575">
                  <c:v>1489.55</c:v>
                </c:pt>
                <c:pt idx="576">
                  <c:v>1488.64</c:v>
                </c:pt>
                <c:pt idx="577">
                  <c:v>1481.06</c:v>
                </c:pt>
                <c:pt idx="578">
                  <c:v>1489.45</c:v>
                </c:pt>
                <c:pt idx="579">
                  <c:v>1464.53</c:v>
                </c:pt>
                <c:pt idx="580">
                  <c:v>1453.91</c:v>
                </c:pt>
                <c:pt idx="581">
                  <c:v>1401.73</c:v>
                </c:pt>
                <c:pt idx="582">
                  <c:v>1400.77</c:v>
                </c:pt>
                <c:pt idx="583">
                  <c:v>1373.82</c:v>
                </c:pt>
                <c:pt idx="584">
                  <c:v>1313.43</c:v>
                </c:pt>
                <c:pt idx="585">
                  <c:v>1289.46</c:v>
                </c:pt>
                <c:pt idx="586">
                  <c:v>1318.29</c:v>
                </c:pt>
                <c:pt idx="587">
                  <c:v>1321.87</c:v>
                </c:pt>
                <c:pt idx="588">
                  <c:v>1264.29</c:v>
                </c:pt>
                <c:pt idx="589">
                  <c:v>1287.43</c:v>
                </c:pt>
                <c:pt idx="590">
                  <c:v>1272.69</c:v>
                </c:pt>
                <c:pt idx="591">
                  <c:v>1277.1500000000001</c:v>
                </c:pt>
                <c:pt idx="592">
                  <c:v>1307.03</c:v>
                </c:pt>
                <c:pt idx="593">
                  <c:v>1273.26</c:v>
                </c:pt>
                <c:pt idx="594">
                  <c:v>1242.43</c:v>
                </c:pt>
                <c:pt idx="595">
                  <c:v>1227.6500000000001</c:v>
                </c:pt>
                <c:pt idx="596">
                  <c:v>1239.99</c:v>
                </c:pt>
                <c:pt idx="597">
                  <c:v>1246.4000000000001</c:v>
                </c:pt>
                <c:pt idx="598">
                  <c:v>1277.54</c:v>
                </c:pt>
                <c:pt idx="599">
                  <c:v>1303.96</c:v>
                </c:pt>
                <c:pt idx="600">
                  <c:v>1282.48</c:v>
                </c:pt>
                <c:pt idx="601">
                  <c:v>1296.98</c:v>
                </c:pt>
                <c:pt idx="602">
                  <c:v>1309.58</c:v>
                </c:pt>
                <c:pt idx="603">
                  <c:v>1304.07</c:v>
                </c:pt>
                <c:pt idx="604">
                  <c:v>1337.5</c:v>
                </c:pt>
                <c:pt idx="605">
                  <c:v>1348.38</c:v>
                </c:pt>
                <c:pt idx="606">
                  <c:v>1350.15</c:v>
                </c:pt>
                <c:pt idx="607">
                  <c:v>1332.64</c:v>
                </c:pt>
                <c:pt idx="608">
                  <c:v>1306.8499999999999</c:v>
                </c:pt>
                <c:pt idx="609">
                  <c:v>1281.8800000000001</c:v>
                </c:pt>
                <c:pt idx="610">
                  <c:v>1261.8900000000001</c:v>
                </c:pt>
                <c:pt idx="611">
                  <c:v>1288.67</c:v>
                </c:pt>
                <c:pt idx="612">
                  <c:v>1306.82</c:v>
                </c:pt>
                <c:pt idx="613">
                  <c:v>1280.92</c:v>
                </c:pt>
                <c:pt idx="614">
                  <c:v>1350.51</c:v>
                </c:pt>
                <c:pt idx="615">
                  <c:v>1357.34</c:v>
                </c:pt>
                <c:pt idx="616">
                  <c:v>1408.43</c:v>
                </c:pt>
                <c:pt idx="617">
                  <c:v>1408.21</c:v>
                </c:pt>
                <c:pt idx="618">
                  <c:v>1388.07</c:v>
                </c:pt>
                <c:pt idx="619">
                  <c:v>1357.71</c:v>
                </c:pt>
                <c:pt idx="620">
                  <c:v>1352.5</c:v>
                </c:pt>
                <c:pt idx="621">
                  <c:v>1362.95</c:v>
                </c:pt>
                <c:pt idx="622">
                  <c:v>1355.86</c:v>
                </c:pt>
                <c:pt idx="623">
                  <c:v>1340.17</c:v>
                </c:pt>
                <c:pt idx="624">
                  <c:v>1368.69</c:v>
                </c:pt>
                <c:pt idx="625">
                  <c:v>1374.02</c:v>
                </c:pt>
                <c:pt idx="626">
                  <c:v>1382</c:v>
                </c:pt>
                <c:pt idx="627">
                  <c:v>1390.63</c:v>
                </c:pt>
                <c:pt idx="628">
                  <c:v>1413.97</c:v>
                </c:pt>
                <c:pt idx="629">
                  <c:v>1391.55</c:v>
                </c:pt>
                <c:pt idx="630">
                  <c:v>1323.96</c:v>
                </c:pt>
                <c:pt idx="631">
                  <c:v>1314.27</c:v>
                </c:pt>
                <c:pt idx="632">
                  <c:v>1318.31</c:v>
                </c:pt>
                <c:pt idx="633">
                  <c:v>1349.9</c:v>
                </c:pt>
                <c:pt idx="634">
                  <c:v>1382.82</c:v>
                </c:pt>
                <c:pt idx="635">
                  <c:v>1398.07</c:v>
                </c:pt>
                <c:pt idx="636">
                  <c:v>1377.35</c:v>
                </c:pt>
                <c:pt idx="637">
                  <c:v>1374.98</c:v>
                </c:pt>
                <c:pt idx="638">
                  <c:v>1355.32</c:v>
                </c:pt>
                <c:pt idx="639">
                  <c:v>1398.33</c:v>
                </c:pt>
                <c:pt idx="640">
                  <c:v>1433.54</c:v>
                </c:pt>
                <c:pt idx="641">
                  <c:v>1445.34</c:v>
                </c:pt>
                <c:pt idx="642">
                  <c:v>1444.79</c:v>
                </c:pt>
                <c:pt idx="643">
                  <c:v>1447.09</c:v>
                </c:pt>
                <c:pt idx="644">
                  <c:v>1427.33</c:v>
                </c:pt>
                <c:pt idx="645">
                  <c:v>1436.15</c:v>
                </c:pt>
                <c:pt idx="646">
                  <c:v>1445.29</c:v>
                </c:pt>
                <c:pt idx="647">
                  <c:v>1427.67</c:v>
                </c:pt>
                <c:pt idx="648">
                  <c:v>1431.07</c:v>
                </c:pt>
                <c:pt idx="649">
                  <c:v>1416.78</c:v>
                </c:pt>
                <c:pt idx="650">
                  <c:v>1403.55</c:v>
                </c:pt>
                <c:pt idx="651">
                  <c:v>1442.72</c:v>
                </c:pt>
                <c:pt idx="652">
                  <c:v>1430.48</c:v>
                </c:pt>
                <c:pt idx="653">
                  <c:v>1442.94</c:v>
                </c:pt>
                <c:pt idx="654">
                  <c:v>1436.84</c:v>
                </c:pt>
                <c:pt idx="655">
                  <c:v>1431.53</c:v>
                </c:pt>
                <c:pt idx="656">
                  <c:v>1428.88</c:v>
                </c:pt>
                <c:pt idx="657">
                  <c:v>1410.16</c:v>
                </c:pt>
                <c:pt idx="658">
                  <c:v>1384.26</c:v>
                </c:pt>
                <c:pt idx="659">
                  <c:v>1389.72</c:v>
                </c:pt>
                <c:pt idx="660">
                  <c:v>1406.04</c:v>
                </c:pt>
                <c:pt idx="661">
                  <c:v>1405.71</c:v>
                </c:pt>
                <c:pt idx="662">
                  <c:v>1391.02</c:v>
                </c:pt>
                <c:pt idx="663">
                  <c:v>1437.37</c:v>
                </c:pt>
                <c:pt idx="664">
                  <c:v>1471.8</c:v>
                </c:pt>
                <c:pt idx="665">
                  <c:v>1476.44</c:v>
                </c:pt>
                <c:pt idx="666">
                  <c:v>1480.05</c:v>
                </c:pt>
                <c:pt idx="667">
                  <c:v>1482.51</c:v>
                </c:pt>
                <c:pt idx="668">
                  <c:v>1484.88</c:v>
                </c:pt>
                <c:pt idx="669">
                  <c:v>1589.4</c:v>
                </c:pt>
                <c:pt idx="670">
                  <c:v>1582.22</c:v>
                </c:pt>
                <c:pt idx="671">
                  <c:v>1547.74</c:v>
                </c:pt>
                <c:pt idx="672">
                  <c:v>1517.58</c:v>
                </c:pt>
                <c:pt idx="673">
                  <c:v>1515.88</c:v>
                </c:pt>
                <c:pt idx="674">
                  <c:v>1522.63</c:v>
                </c:pt>
                <c:pt idx="675">
                  <c:v>1509.58</c:v>
                </c:pt>
                <c:pt idx="676">
                  <c:v>1510.96</c:v>
                </c:pt>
                <c:pt idx="677">
                  <c:v>1456.99</c:v>
                </c:pt>
                <c:pt idx="678">
                  <c:v>1474.76</c:v>
                </c:pt>
                <c:pt idx="679">
                  <c:v>1475.7</c:v>
                </c:pt>
                <c:pt idx="680">
                  <c:v>1513.81</c:v>
                </c:pt>
                <c:pt idx="681">
                  <c:v>1507.77</c:v>
                </c:pt>
                <c:pt idx="682">
                  <c:v>1492.3</c:v>
                </c:pt>
                <c:pt idx="683">
                  <c:v>1483.03</c:v>
                </c:pt>
                <c:pt idx="684">
                  <c:v>1508.72</c:v>
                </c:pt>
                <c:pt idx="685">
                  <c:v>1492.51</c:v>
                </c:pt>
                <c:pt idx="686">
                  <c:v>1494.16</c:v>
                </c:pt>
                <c:pt idx="687">
                  <c:v>1483.84</c:v>
                </c:pt>
                <c:pt idx="688">
                  <c:v>1490.41</c:v>
                </c:pt>
                <c:pt idx="689">
                  <c:v>1472.36</c:v>
                </c:pt>
                <c:pt idx="690">
                  <c:v>1466.82</c:v>
                </c:pt>
                <c:pt idx="691">
                  <c:v>1488.18</c:v>
                </c:pt>
                <c:pt idx="692">
                  <c:v>1513.96</c:v>
                </c:pt>
                <c:pt idx="693">
                  <c:v>1512.01</c:v>
                </c:pt>
                <c:pt idx="694">
                  <c:v>1494.44</c:v>
                </c:pt>
                <c:pt idx="695">
                  <c:v>1497.63</c:v>
                </c:pt>
                <c:pt idx="696">
                  <c:v>1456.73</c:v>
                </c:pt>
                <c:pt idx="697">
                  <c:v>1462.43</c:v>
                </c:pt>
                <c:pt idx="698">
                  <c:v>1456.91</c:v>
                </c:pt>
                <c:pt idx="699">
                  <c:v>1441.38</c:v>
                </c:pt>
                <c:pt idx="700">
                  <c:v>1435.05</c:v>
                </c:pt>
                <c:pt idx="701">
                  <c:v>1430.1</c:v>
                </c:pt>
                <c:pt idx="702">
                  <c:v>1433.96</c:v>
                </c:pt>
                <c:pt idx="703">
                  <c:v>1443.5</c:v>
                </c:pt>
                <c:pt idx="704">
                  <c:v>1444.19</c:v>
                </c:pt>
                <c:pt idx="705">
                  <c:v>1448.98</c:v>
                </c:pt>
                <c:pt idx="706">
                  <c:v>1426.94</c:v>
                </c:pt>
                <c:pt idx="707">
                  <c:v>1410.27</c:v>
                </c:pt>
                <c:pt idx="708">
                  <c:v>1397.86</c:v>
                </c:pt>
                <c:pt idx="709">
                  <c:v>1404.26</c:v>
                </c:pt>
                <c:pt idx="710">
                  <c:v>1363.63</c:v>
                </c:pt>
                <c:pt idx="711">
                  <c:v>1367.15</c:v>
                </c:pt>
                <c:pt idx="712">
                  <c:v>1381.58</c:v>
                </c:pt>
                <c:pt idx="713">
                  <c:v>1376.1</c:v>
                </c:pt>
                <c:pt idx="714">
                  <c:v>1399.7</c:v>
                </c:pt>
                <c:pt idx="715">
                  <c:v>1403.59</c:v>
                </c:pt>
                <c:pt idx="716">
                  <c:v>1420.97</c:v>
                </c:pt>
                <c:pt idx="717">
                  <c:v>1419.88</c:v>
                </c:pt>
                <c:pt idx="718">
                  <c:v>1432.24</c:v>
                </c:pt>
                <c:pt idx="719">
                  <c:v>1426.96</c:v>
                </c:pt>
                <c:pt idx="720">
                  <c:v>1417.6</c:v>
                </c:pt>
                <c:pt idx="721">
                  <c:v>1397.38</c:v>
                </c:pt>
                <c:pt idx="722">
                  <c:v>1420.35</c:v>
                </c:pt>
                <c:pt idx="723">
                  <c:v>1436.55</c:v>
                </c:pt>
                <c:pt idx="724">
                  <c:v>1451.69</c:v>
                </c:pt>
                <c:pt idx="725">
                  <c:v>1443.87</c:v>
                </c:pt>
                <c:pt idx="726">
                  <c:v>1469.54</c:v>
                </c:pt>
                <c:pt idx="727">
                  <c:v>1467</c:v>
                </c:pt>
                <c:pt idx="728">
                  <c:v>1471.09</c:v>
                </c:pt>
                <c:pt idx="729">
                  <c:v>1480.78</c:v>
                </c:pt>
                <c:pt idx="730">
                  <c:v>1484.5</c:v>
                </c:pt>
                <c:pt idx="731">
                  <c:v>1506.91</c:v>
                </c:pt>
                <c:pt idx="732">
                  <c:v>1499.68</c:v>
                </c:pt>
                <c:pt idx="733">
                  <c:v>1500.89</c:v>
                </c:pt>
                <c:pt idx="734">
                  <c:v>1491.21</c:v>
                </c:pt>
                <c:pt idx="735">
                  <c:v>1511.43</c:v>
                </c:pt>
                <c:pt idx="736">
                  <c:v>1517.39</c:v>
                </c:pt>
                <c:pt idx="737">
                  <c:v>1528.89</c:v>
                </c:pt>
                <c:pt idx="738">
                  <c:v>1512.18</c:v>
                </c:pt>
                <c:pt idx="739">
                  <c:v>1515.87</c:v>
                </c:pt>
                <c:pt idx="740">
                  <c:v>1513.74</c:v>
                </c:pt>
                <c:pt idx="741">
                  <c:v>1526.34</c:v>
                </c:pt>
                <c:pt idx="742">
                  <c:v>1535.05</c:v>
                </c:pt>
                <c:pt idx="743">
                  <c:v>1526.98</c:v>
                </c:pt>
                <c:pt idx="744">
                  <c:v>1568.59</c:v>
                </c:pt>
                <c:pt idx="745">
                  <c:v>1572</c:v>
                </c:pt>
                <c:pt idx="746">
                  <c:v>1571.73</c:v>
                </c:pt>
                <c:pt idx="747">
                  <c:v>1590.21</c:v>
                </c:pt>
                <c:pt idx="748">
                  <c:v>1576.54</c:v>
                </c:pt>
                <c:pt idx="749">
                  <c:v>1571.15</c:v>
                </c:pt>
                <c:pt idx="750">
                  <c:v>1585.44</c:v>
                </c:pt>
                <c:pt idx="751">
                  <c:v>1603.5</c:v>
                </c:pt>
                <c:pt idx="752">
                  <c:v>1600.13</c:v>
                </c:pt>
                <c:pt idx="753">
                  <c:v>1589.02</c:v>
                </c:pt>
                <c:pt idx="754">
                  <c:v>1605.36</c:v>
                </c:pt>
                <c:pt idx="755">
                  <c:v>1604.65</c:v>
                </c:pt>
                <c:pt idx="756">
                  <c:v>1618.84</c:v>
                </c:pt>
                <c:pt idx="757">
                  <c:v>1635.5</c:v>
                </c:pt>
                <c:pt idx="758">
                  <c:v>1623.87</c:v>
                </c:pt>
                <c:pt idx="759">
                  <c:v>1618.77</c:v>
                </c:pt>
                <c:pt idx="760">
                  <c:v>1622.13</c:v>
                </c:pt>
                <c:pt idx="761">
                  <c:v>1628.31</c:v>
                </c:pt>
                <c:pt idx="762">
                  <c:v>1612.52</c:v>
                </c:pt>
                <c:pt idx="763">
                  <c:v>1614.09</c:v>
                </c:pt>
                <c:pt idx="764">
                  <c:v>1602.99</c:v>
                </c:pt>
                <c:pt idx="765">
                  <c:v>1595.36</c:v>
                </c:pt>
                <c:pt idx="766">
                  <c:v>1590.13</c:v>
                </c:pt>
                <c:pt idx="767">
                  <c:v>1581.95</c:v>
                </c:pt>
                <c:pt idx="768">
                  <c:v>1582.35</c:v>
                </c:pt>
                <c:pt idx="769">
                  <c:v>1612.65</c:v>
                </c:pt>
                <c:pt idx="770">
                  <c:v>1588.31</c:v>
                </c:pt>
                <c:pt idx="771">
                  <c:v>1577.26</c:v>
                </c:pt>
                <c:pt idx="772">
                  <c:v>1578.65</c:v>
                </c:pt>
                <c:pt idx="773">
                  <c:v>1592.74</c:v>
                </c:pt>
                <c:pt idx="774">
                  <c:v>1582.63</c:v>
                </c:pt>
                <c:pt idx="775">
                  <c:v>1548.76</c:v>
                </c:pt>
                <c:pt idx="776">
                  <c:v>1551.04</c:v>
                </c:pt>
                <c:pt idx="777">
                  <c:v>1565.07</c:v>
                </c:pt>
                <c:pt idx="778">
                  <c:v>1530.82</c:v>
                </c:pt>
                <c:pt idx="779">
                  <c:v>1530.52</c:v>
                </c:pt>
                <c:pt idx="780">
                  <c:v>1534.41</c:v>
                </c:pt>
                <c:pt idx="781">
                  <c:v>1509.8</c:v>
                </c:pt>
                <c:pt idx="782">
                  <c:v>1498.79</c:v>
                </c:pt>
                <c:pt idx="783">
                  <c:v>1523.34</c:v>
                </c:pt>
                <c:pt idx="784">
                  <c:v>1529.32</c:v>
                </c:pt>
                <c:pt idx="785">
                  <c:v>1532.09</c:v>
                </c:pt>
                <c:pt idx="786">
                  <c:v>1539.87</c:v>
                </c:pt>
                <c:pt idx="787">
                  <c:v>1542.55</c:v>
                </c:pt>
                <c:pt idx="788">
                  <c:v>1531.14</c:v>
                </c:pt>
                <c:pt idx="789">
                  <c:v>1535.73</c:v>
                </c:pt>
                <c:pt idx="790">
                  <c:v>1537.66</c:v>
                </c:pt>
                <c:pt idx="791">
                  <c:v>1494.3</c:v>
                </c:pt>
                <c:pt idx="792">
                  <c:v>1478.82</c:v>
                </c:pt>
                <c:pt idx="793">
                  <c:v>1489.34</c:v>
                </c:pt>
                <c:pt idx="794">
                  <c:v>1485.73</c:v>
                </c:pt>
                <c:pt idx="795">
                  <c:v>1470.91</c:v>
                </c:pt>
                <c:pt idx="796">
                  <c:v>1458.8</c:v>
                </c:pt>
                <c:pt idx="797">
                  <c:v>1445.46</c:v>
                </c:pt>
                <c:pt idx="798">
                  <c:v>1446.04</c:v>
                </c:pt>
                <c:pt idx="799">
                  <c:v>1454.72</c:v>
                </c:pt>
                <c:pt idx="800">
                  <c:v>1460.04</c:v>
                </c:pt>
                <c:pt idx="801">
                  <c:v>1445.57</c:v>
                </c:pt>
                <c:pt idx="802">
                  <c:v>1440.1</c:v>
                </c:pt>
                <c:pt idx="803">
                  <c:v>1425.99</c:v>
                </c:pt>
                <c:pt idx="804">
                  <c:v>1419.45</c:v>
                </c:pt>
                <c:pt idx="805">
                  <c:v>1411.09</c:v>
                </c:pt>
                <c:pt idx="806">
                  <c:v>1419.63</c:v>
                </c:pt>
                <c:pt idx="807">
                  <c:v>1439.46</c:v>
                </c:pt>
                <c:pt idx="808">
                  <c:v>1453.81</c:v>
                </c:pt>
                <c:pt idx="809">
                  <c:v>1433.08</c:v>
                </c:pt>
                <c:pt idx="810">
                  <c:v>1405.47</c:v>
                </c:pt>
                <c:pt idx="811">
                  <c:v>1366.53</c:v>
                </c:pt>
                <c:pt idx="812">
                  <c:v>1356.65</c:v>
                </c:pt>
                <c:pt idx="813">
                  <c:v>1327.92</c:v>
                </c:pt>
                <c:pt idx="814">
                  <c:v>1327.55</c:v>
                </c:pt>
                <c:pt idx="815">
                  <c:v>1336.46</c:v>
                </c:pt>
                <c:pt idx="816">
                  <c:v>1329.14</c:v>
                </c:pt>
                <c:pt idx="817">
                  <c:v>1333.89</c:v>
                </c:pt>
                <c:pt idx="818">
                  <c:v>1375.4</c:v>
                </c:pt>
                <c:pt idx="819">
                  <c:v>1387.98</c:v>
                </c:pt>
                <c:pt idx="820">
                  <c:v>1382.22</c:v>
                </c:pt>
                <c:pt idx="821">
                  <c:v>1387.54</c:v>
                </c:pt>
                <c:pt idx="822">
                  <c:v>1407.21</c:v>
                </c:pt>
                <c:pt idx="823">
                  <c:v>1432.15</c:v>
                </c:pt>
                <c:pt idx="824">
                  <c:v>1451.84</c:v>
                </c:pt>
                <c:pt idx="825">
                  <c:v>1452.17</c:v>
                </c:pt>
                <c:pt idx="826">
                  <c:v>1422.29</c:v>
                </c:pt>
                <c:pt idx="827">
                  <c:v>1412.69</c:v>
                </c:pt>
                <c:pt idx="828">
                  <c:v>1391.01</c:v>
                </c:pt>
                <c:pt idx="829">
                  <c:v>1380.58</c:v>
                </c:pt>
                <c:pt idx="830">
                  <c:v>1405.34</c:v>
                </c:pt>
                <c:pt idx="831">
                  <c:v>1417.05</c:v>
                </c:pt>
                <c:pt idx="832">
                  <c:v>1433.02</c:v>
                </c:pt>
                <c:pt idx="833">
                  <c:v>1461.93</c:v>
                </c:pt>
                <c:pt idx="834">
                  <c:v>1400.84</c:v>
                </c:pt>
                <c:pt idx="835">
                  <c:v>1388.52</c:v>
                </c:pt>
                <c:pt idx="836">
                  <c:v>1385.08</c:v>
                </c:pt>
                <c:pt idx="837">
                  <c:v>1399.11</c:v>
                </c:pt>
                <c:pt idx="838">
                  <c:v>1360.06</c:v>
                </c:pt>
                <c:pt idx="839">
                  <c:v>1350.42</c:v>
                </c:pt>
                <c:pt idx="840">
                  <c:v>1331.43</c:v>
                </c:pt>
                <c:pt idx="841">
                  <c:v>1319.01</c:v>
                </c:pt>
                <c:pt idx="842">
                  <c:v>1322.39</c:v>
                </c:pt>
                <c:pt idx="843">
                  <c:v>1301.08</c:v>
                </c:pt>
                <c:pt idx="844">
                  <c:v>1286.8599999999999</c:v>
                </c:pt>
                <c:pt idx="845">
                  <c:v>1314.41</c:v>
                </c:pt>
                <c:pt idx="846">
                  <c:v>1300.54</c:v>
                </c:pt>
                <c:pt idx="847">
                  <c:v>1263.6600000000001</c:v>
                </c:pt>
                <c:pt idx="848">
                  <c:v>1261.6300000000001</c:v>
                </c:pt>
                <c:pt idx="849">
                  <c:v>1293.8800000000001</c:v>
                </c:pt>
                <c:pt idx="850">
                  <c:v>1314.01</c:v>
                </c:pt>
                <c:pt idx="851">
                  <c:v>1314.06</c:v>
                </c:pt>
                <c:pt idx="852">
                  <c:v>1291.72</c:v>
                </c:pt>
                <c:pt idx="853">
                  <c:v>1243.32</c:v>
                </c:pt>
                <c:pt idx="854">
                  <c:v>1245.72</c:v>
                </c:pt>
                <c:pt idx="855">
                  <c:v>1233.04</c:v>
                </c:pt>
                <c:pt idx="856">
                  <c:v>1243.2</c:v>
                </c:pt>
                <c:pt idx="857">
                  <c:v>1261.1300000000001</c:v>
                </c:pt>
                <c:pt idx="858">
                  <c:v>1262.77</c:v>
                </c:pt>
                <c:pt idx="859">
                  <c:v>1275.44</c:v>
                </c:pt>
                <c:pt idx="860">
                  <c:v>1276.8499999999999</c:v>
                </c:pt>
                <c:pt idx="861">
                  <c:v>1274.07</c:v>
                </c:pt>
                <c:pt idx="862">
                  <c:v>1264.29</c:v>
                </c:pt>
                <c:pt idx="863">
                  <c:v>1280.6099999999999</c:v>
                </c:pt>
                <c:pt idx="864">
                  <c:v>1268.5899999999999</c:v>
                </c:pt>
                <c:pt idx="865">
                  <c:v>1277.29</c:v>
                </c:pt>
                <c:pt idx="866">
                  <c:v>1282.8399999999999</c:v>
                </c:pt>
                <c:pt idx="867">
                  <c:v>1275.29</c:v>
                </c:pt>
                <c:pt idx="868">
                  <c:v>1322.76</c:v>
                </c:pt>
                <c:pt idx="869">
                  <c:v>1348.81</c:v>
                </c:pt>
                <c:pt idx="870">
                  <c:v>1354.54</c:v>
                </c:pt>
                <c:pt idx="871">
                  <c:v>1368.83</c:v>
                </c:pt>
                <c:pt idx="872">
                  <c:v>1393.05</c:v>
                </c:pt>
                <c:pt idx="873">
                  <c:v>1377.35</c:v>
                </c:pt>
                <c:pt idx="874">
                  <c:v>1382.33</c:v>
                </c:pt>
                <c:pt idx="875">
                  <c:v>1380.01</c:v>
                </c:pt>
                <c:pt idx="876">
                  <c:v>1379.88</c:v>
                </c:pt>
                <c:pt idx="877">
                  <c:v>1369.36</c:v>
                </c:pt>
                <c:pt idx="878">
                  <c:v>1353.38</c:v>
                </c:pt>
                <c:pt idx="879">
                  <c:v>1348.37</c:v>
                </c:pt>
                <c:pt idx="880">
                  <c:v>1341.34</c:v>
                </c:pt>
                <c:pt idx="881">
                  <c:v>1326.41</c:v>
                </c:pt>
                <c:pt idx="882">
                  <c:v>1313.38</c:v>
                </c:pt>
                <c:pt idx="883">
                  <c:v>1331.71</c:v>
                </c:pt>
                <c:pt idx="884">
                  <c:v>1336.39</c:v>
                </c:pt>
                <c:pt idx="885">
                  <c:v>1333.42</c:v>
                </c:pt>
                <c:pt idx="886">
                  <c:v>1304.98</c:v>
                </c:pt>
                <c:pt idx="887">
                  <c:v>1301.28</c:v>
                </c:pt>
                <c:pt idx="888">
                  <c:v>1303.28</c:v>
                </c:pt>
                <c:pt idx="889">
                  <c:v>1325.72</c:v>
                </c:pt>
                <c:pt idx="890">
                  <c:v>1326.53</c:v>
                </c:pt>
                <c:pt idx="891">
                  <c:v>1338.85</c:v>
                </c:pt>
                <c:pt idx="892">
                  <c:v>1356.34</c:v>
                </c:pt>
                <c:pt idx="893">
                  <c:v>1327.49</c:v>
                </c:pt>
                <c:pt idx="894">
                  <c:v>1323.42</c:v>
                </c:pt>
                <c:pt idx="895">
                  <c:v>1322.25</c:v>
                </c:pt>
                <c:pt idx="896">
                  <c:v>1317.77</c:v>
                </c:pt>
                <c:pt idx="897">
                  <c:v>1312.47</c:v>
                </c:pt>
                <c:pt idx="898">
                  <c:v>1329.05</c:v>
                </c:pt>
                <c:pt idx="899">
                  <c:v>1330.99</c:v>
                </c:pt>
                <c:pt idx="900">
                  <c:v>1324.48</c:v>
                </c:pt>
                <c:pt idx="901">
                  <c:v>1304.33</c:v>
                </c:pt>
                <c:pt idx="902">
                  <c:v>1299.6500000000001</c:v>
                </c:pt>
                <c:pt idx="903">
                  <c:v>1300.67</c:v>
                </c:pt>
                <c:pt idx="904">
                  <c:v>1290.96</c:v>
                </c:pt>
                <c:pt idx="905">
                  <c:v>1291.98</c:v>
                </c:pt>
                <c:pt idx="906">
                  <c:v>1293.1099999999999</c:v>
                </c:pt>
                <c:pt idx="907">
                  <c:v>1298.53</c:v>
                </c:pt>
                <c:pt idx="908">
                  <c:v>1339.8</c:v>
                </c:pt>
                <c:pt idx="909">
                  <c:v>1345.6</c:v>
                </c:pt>
                <c:pt idx="910">
                  <c:v>1380.37</c:v>
                </c:pt>
                <c:pt idx="911" formatCode="#,##0.0">
                  <c:v>1390.55</c:v>
                </c:pt>
                <c:pt idx="912" formatCode="#,##0.0">
                  <c:v>1394.03</c:v>
                </c:pt>
                <c:pt idx="913" formatCode="#,##0.0">
                  <c:v>1401.46</c:v>
                </c:pt>
                <c:pt idx="914" formatCode="#,##0.0">
                  <c:v>1396.57</c:v>
                </c:pt>
                <c:pt idx="915" formatCode="#,##0.0">
                  <c:v>1436.14</c:v>
                </c:pt>
                <c:pt idx="916" formatCode="#,##0.0">
                  <c:v>1439.79</c:v>
                </c:pt>
                <c:pt idx="917" formatCode="#,##0.0">
                  <c:v>1429.62</c:v>
                </c:pt>
                <c:pt idx="918" formatCode="#,##0.0">
                  <c:v>1478.75</c:v>
                </c:pt>
                <c:pt idx="919" formatCode="#,##0.0">
                  <c:v>1462.92</c:v>
                </c:pt>
                <c:pt idx="920" formatCode="#,##0.0">
                  <c:v>1451.43</c:v>
                </c:pt>
                <c:pt idx="921" formatCode="#,##0.0">
                  <c:v>1446.41</c:v>
                </c:pt>
                <c:pt idx="922" formatCode="#,##0.0">
                  <c:v>1452.98</c:v>
                </c:pt>
                <c:pt idx="923" formatCode="#,##0.0">
                  <c:v>1451.64</c:v>
                </c:pt>
                <c:pt idx="924" formatCode="#,##0.0">
                  <c:v>1432.87</c:v>
                </c:pt>
                <c:pt idx="925" formatCode="#,##0.0">
                  <c:v>1422.49</c:v>
                </c:pt>
                <c:pt idx="926" formatCode="#,##0.0">
                  <c:v>1438.04</c:v>
                </c:pt>
                <c:pt idx="927" formatCode="#,##0.0">
                  <c:v>1421.94</c:v>
                </c:pt>
                <c:pt idx="928" formatCode="#,##0.0">
                  <c:v>1427.81</c:v>
                </c:pt>
                <c:pt idx="929" formatCode="#,##0.0">
                  <c:v>1443.15</c:v>
                </c:pt>
                <c:pt idx="930" formatCode="#,##0.0">
                  <c:v>1444.32</c:v>
                </c:pt>
                <c:pt idx="931" formatCode="#,##0.0">
                  <c:v>1471.65</c:v>
                </c:pt>
                <c:pt idx="932" formatCode="#,##0.0">
                  <c:v>1461</c:v>
                </c:pt>
                <c:pt idx="933" formatCode="#,##0.0">
                  <c:v>1484.82</c:v>
                </c:pt>
                <c:pt idx="934" formatCode="#,##0.0">
                  <c:v>1477</c:v>
                </c:pt>
                <c:pt idx="935" formatCode="#,##0.0">
                  <c:v>1473.97</c:v>
                </c:pt>
                <c:pt idx="936" formatCode="#,##0.0">
                  <c:v>1495.31</c:v>
                </c:pt>
                <c:pt idx="937" formatCode="#,##0.0">
                  <c:v>1500.25</c:v>
                </c:pt>
                <c:pt idx="938" formatCode="#,##0.0">
                  <c:v>1491.85</c:v>
                </c:pt>
                <c:pt idx="939" formatCode="#,##0.0">
                  <c:v>1516.62</c:v>
                </c:pt>
                <c:pt idx="940" formatCode="#,##0.0">
                  <c:v>1516.96</c:v>
                </c:pt>
                <c:pt idx="941" formatCode="#,##0.0">
                  <c:v>1519.61</c:v>
                </c:pt>
                <c:pt idx="942" formatCode="#,##0.0">
                  <c:v>1496.15</c:v>
                </c:pt>
                <c:pt idx="943" formatCode="#,##0.0">
                  <c:v>1497.49</c:v>
                </c:pt>
                <c:pt idx="944" formatCode="#,##0.0">
                  <c:v>1495.36</c:v>
                </c:pt>
                <c:pt idx="945" formatCode="#,##0.0">
                  <c:v>1489.48</c:v>
                </c:pt>
                <c:pt idx="946" formatCode="#,##0.0">
                  <c:v>1492.89</c:v>
                </c:pt>
                <c:pt idx="947" formatCode="#,##0.0">
                  <c:v>1490.07</c:v>
                </c:pt>
                <c:pt idx="948" formatCode="#,##0.0">
                  <c:v>1484.74</c:v>
                </c:pt>
                <c:pt idx="949">
                  <c:v>1475.18</c:v>
                </c:pt>
                <c:pt idx="950">
                  <c:v>1460.23</c:v>
                </c:pt>
                <c:pt idx="951">
                  <c:v>1458.93</c:v>
                </c:pt>
                <c:pt idx="952">
                  <c:v>1468.22</c:v>
                </c:pt>
                <c:pt idx="953">
                  <c:v>1435.12</c:v>
                </c:pt>
                <c:pt idx="954">
                  <c:v>1427.93</c:v>
                </c:pt>
                <c:pt idx="955">
                  <c:v>1437.37</c:v>
                </c:pt>
                <c:pt idx="956">
                  <c:v>1406.92</c:v>
                </c:pt>
                <c:pt idx="957">
                  <c:v>1434.44</c:v>
                </c:pt>
                <c:pt idx="958">
                  <c:v>1444.24</c:v>
                </c:pt>
                <c:pt idx="959">
                  <c:v>1462.98</c:v>
                </c:pt>
                <c:pt idx="960">
                  <c:v>1455.04</c:v>
                </c:pt>
                <c:pt idx="961">
                  <c:v>1447.2</c:v>
                </c:pt>
                <c:pt idx="962">
                  <c:v>1425.86</c:v>
                </c:pt>
                <c:pt idx="963">
                  <c:v>1444.91</c:v>
                </c:pt>
                <c:pt idx="964">
                  <c:v>1433.55</c:v>
                </c:pt>
                <c:pt idx="965">
                  <c:v>1416.43</c:v>
                </c:pt>
                <c:pt idx="966">
                  <c:v>1404.31</c:v>
                </c:pt>
                <c:pt idx="967">
                  <c:v>1406.51</c:v>
                </c:pt>
                <c:pt idx="968">
                  <c:v>1402.93</c:v>
                </c:pt>
                <c:pt idx="969">
                  <c:v>1398.74</c:v>
                </c:pt>
                <c:pt idx="970">
                  <c:v>1372.44</c:v>
                </c:pt>
                <c:pt idx="971">
                  <c:v>1364.44</c:v>
                </c:pt>
                <c:pt idx="972">
                  <c:v>1362.55</c:v>
                </c:pt>
                <c:pt idx="973">
                  <c:v>1390.61</c:v>
                </c:pt>
                <c:pt idx="974">
                  <c:v>1412.08</c:v>
                </c:pt>
                <c:pt idx="975">
                  <c:v>1409.85</c:v>
                </c:pt>
                <c:pt idx="976">
                  <c:v>1409.28</c:v>
                </c:pt>
                <c:pt idx="977">
                  <c:v>1393.57</c:v>
                </c:pt>
                <c:pt idx="978">
                  <c:v>1391.85</c:v>
                </c:pt>
                <c:pt idx="979">
                  <c:v>1407.25</c:v>
                </c:pt>
                <c:pt idx="980">
                  <c:v>1414.68</c:v>
                </c:pt>
                <c:pt idx="981">
                  <c:v>1423.87</c:v>
                </c:pt>
                <c:pt idx="982">
                  <c:v>1431.11</c:v>
                </c:pt>
                <c:pt idx="983">
                  <c:v>1429.91</c:v>
                </c:pt>
                <c:pt idx="984">
                  <c:v>1453.1</c:v>
                </c:pt>
                <c:pt idx="985">
                  <c:v>1454.02</c:v>
                </c:pt>
                <c:pt idx="986">
                  <c:v>1447.5</c:v>
                </c:pt>
                <c:pt idx="987">
                  <c:v>1448.29</c:v>
                </c:pt>
                <c:pt idx="988">
                  <c:v>1445.39</c:v>
                </c:pt>
                <c:pt idx="989">
                  <c:v>1388.86</c:v>
                </c:pt>
                <c:pt idx="990">
                  <c:v>1395.91</c:v>
                </c:pt>
                <c:pt idx="991">
                  <c:v>1401.82</c:v>
                </c:pt>
                <c:pt idx="992">
                  <c:v>1388.69</c:v>
                </c:pt>
                <c:pt idx="993">
                  <c:v>1401.78</c:v>
                </c:pt>
                <c:pt idx="994">
                  <c:v>1397.23</c:v>
                </c:pt>
                <c:pt idx="995">
                  <c:v>1395.79</c:v>
                </c:pt>
                <c:pt idx="996">
                  <c:v>1394.49</c:v>
                </c:pt>
                <c:pt idx="997">
                  <c:v>1395.87</c:v>
                </c:pt>
                <c:pt idx="998">
                  <c:v>1391.75</c:v>
                </c:pt>
                <c:pt idx="999">
                  <c:v>1381.59</c:v>
                </c:pt>
                <c:pt idx="1000">
                  <c:v>1364.11</c:v>
                </c:pt>
                <c:pt idx="1001">
                  <c:v>1346.51</c:v>
                </c:pt>
                <c:pt idx="1002">
                  <c:v>1332.51</c:v>
                </c:pt>
                <c:pt idx="1003">
                  <c:v>1308</c:v>
                </c:pt>
                <c:pt idx="1004">
                  <c:v>1320.9</c:v>
                </c:pt>
                <c:pt idx="1005">
                  <c:v>1301.02</c:v>
                </c:pt>
                <c:pt idx="1006">
                  <c:v>1293.2</c:v>
                </c:pt>
                <c:pt idx="1007">
                  <c:v>1291.82</c:v>
                </c:pt>
                <c:pt idx="1008">
                  <c:v>1317.5</c:v>
                </c:pt>
                <c:pt idx="1009">
                  <c:v>1330.28</c:v>
                </c:pt>
                <c:pt idx="1010">
                  <c:v>1341.49</c:v>
                </c:pt>
                <c:pt idx="1011">
                  <c:v>1336.02</c:v>
                </c:pt>
                <c:pt idx="1012">
                  <c:v>1341.85</c:v>
                </c:pt>
                <c:pt idx="1013">
                  <c:v>1353.17</c:v>
                </c:pt>
                <c:pt idx="1014">
                  <c:v>1321.61</c:v>
                </c:pt>
                <c:pt idx="1015">
                  <c:v>1343.2</c:v>
                </c:pt>
                <c:pt idx="1016">
                  <c:v>1347.41</c:v>
                </c:pt>
                <c:pt idx="1017">
                  <c:v>1343.62</c:v>
                </c:pt>
                <c:pt idx="1018">
                  <c:v>1306</c:v>
                </c:pt>
                <c:pt idx="1019">
                  <c:v>1303.1500000000001</c:v>
                </c:pt>
                <c:pt idx="1020">
                  <c:v>1315.54</c:v>
                </c:pt>
                <c:pt idx="1021">
                  <c:v>1318.98</c:v>
                </c:pt>
                <c:pt idx="1022">
                  <c:v>1306.3699999999999</c:v>
                </c:pt>
                <c:pt idx="1023">
                  <c:v>1286.07</c:v>
                </c:pt>
                <c:pt idx="1024">
                  <c:v>1260.95</c:v>
                </c:pt>
                <c:pt idx="1025">
                  <c:v>1267.27</c:v>
                </c:pt>
                <c:pt idx="1026">
                  <c:v>1115.06</c:v>
                </c:pt>
                <c:pt idx="1027">
                  <c:v>1184.22</c:v>
                </c:pt>
                <c:pt idx="1028">
                  <c:v>1182.05</c:v>
                </c:pt>
                <c:pt idx="1029">
                  <c:v>1164.6300000000001</c:v>
                </c:pt>
                <c:pt idx="1030">
                  <c:v>1158.8699999999999</c:v>
                </c:pt>
                <c:pt idx="1031">
                  <c:v>1132.05</c:v>
                </c:pt>
                <c:pt idx="1032">
                  <c:v>1100.1400000000001</c:v>
                </c:pt>
                <c:pt idx="1033">
                  <c:v>1077.8900000000001</c:v>
                </c:pt>
                <c:pt idx="1034">
                  <c:v>1062.47</c:v>
                </c:pt>
                <c:pt idx="1035">
                  <c:v>1114.6600000000001</c:v>
                </c:pt>
                <c:pt idx="1036">
                  <c:v>1161.26</c:v>
                </c:pt>
                <c:pt idx="1037">
                  <c:v>1155.81</c:v>
                </c:pt>
                <c:pt idx="1038">
                  <c:v>1150.82</c:v>
                </c:pt>
                <c:pt idx="1039">
                  <c:v>1136.21</c:v>
                </c:pt>
                <c:pt idx="1040">
                  <c:v>1131.5999999999999</c:v>
                </c:pt>
                <c:pt idx="1041">
                  <c:v>1170.2</c:v>
                </c:pt>
                <c:pt idx="1042">
                  <c:v>1198.8900000000001</c:v>
                </c:pt>
                <c:pt idx="1043">
                  <c:v>1179.47</c:v>
                </c:pt>
                <c:pt idx="1044">
                  <c:v>1186.28</c:v>
                </c:pt>
                <c:pt idx="1045">
                  <c:v>1226.0999999999999</c:v>
                </c:pt>
                <c:pt idx="1046">
                  <c:v>1235.74</c:v>
                </c:pt>
                <c:pt idx="1047">
                  <c:v>1222.47</c:v>
                </c:pt>
                <c:pt idx="1048">
                  <c:v>1210.71</c:v>
                </c:pt>
                <c:pt idx="1049">
                  <c:v>1233.93</c:v>
                </c:pt>
                <c:pt idx="1050">
                  <c:v>1193.78</c:v>
                </c:pt>
                <c:pt idx="1051">
                  <c:v>1195.71</c:v>
                </c:pt>
                <c:pt idx="1052">
                  <c:v>1190.1300000000001</c:v>
                </c:pt>
                <c:pt idx="1053">
                  <c:v>1213.46</c:v>
                </c:pt>
                <c:pt idx="1054">
                  <c:v>1204.07</c:v>
                </c:pt>
                <c:pt idx="1055">
                  <c:v>1179.97</c:v>
                </c:pt>
                <c:pt idx="1056">
                  <c:v>1142.96</c:v>
                </c:pt>
                <c:pt idx="1057">
                  <c:v>1154.31</c:v>
                </c:pt>
                <c:pt idx="1058">
                  <c:v>1172.6199999999999</c:v>
                </c:pt>
                <c:pt idx="1059">
                  <c:v>1200.22</c:v>
                </c:pt>
                <c:pt idx="1060">
                  <c:v>1187.94</c:v>
                </c:pt>
                <c:pt idx="1061">
                  <c:v>1178.81</c:v>
                </c:pt>
                <c:pt idx="1062">
                  <c:v>1171.99</c:v>
                </c:pt>
                <c:pt idx="1063">
                  <c:v>1145.6600000000001</c:v>
                </c:pt>
                <c:pt idx="1064">
                  <c:v>1119.3699999999999</c:v>
                </c:pt>
                <c:pt idx="1065">
                  <c:v>1139.29</c:v>
                </c:pt>
                <c:pt idx="1066">
                  <c:v>1153.3599999999999</c:v>
                </c:pt>
                <c:pt idx="1067">
                  <c:v>1155.7</c:v>
                </c:pt>
                <c:pt idx="1068">
                  <c:v>1143.44</c:v>
                </c:pt>
                <c:pt idx="1069">
                  <c:v>1172.9100000000001</c:v>
                </c:pt>
                <c:pt idx="1070">
                  <c:v>1227.75</c:v>
                </c:pt>
                <c:pt idx="1071">
                  <c:v>1232.78</c:v>
                </c:pt>
                <c:pt idx="1072">
                  <c:v>1234.31</c:v>
                </c:pt>
                <c:pt idx="1073">
                  <c:v>1254.29</c:v>
                </c:pt>
                <c:pt idx="1074">
                  <c:v>1261.01</c:v>
                </c:pt>
                <c:pt idx="1075">
                  <c:v>1253</c:v>
                </c:pt>
                <c:pt idx="1076">
                  <c:v>1262.01</c:v>
                </c:pt>
                <c:pt idx="1077">
                  <c:v>1289.98</c:v>
                </c:pt>
                <c:pt idx="1078">
                  <c:v>1298.6400000000001</c:v>
                </c:pt>
                <c:pt idx="1079">
                  <c:v>1317.09</c:v>
                </c:pt>
                <c:pt idx="1080">
                  <c:v>1312.97</c:v>
                </c:pt>
                <c:pt idx="1081">
                  <c:v>1326.58</c:v>
                </c:pt>
                <c:pt idx="1082">
                  <c:v>1335.73</c:v>
                </c:pt>
                <c:pt idx="1083">
                  <c:v>1297.5</c:v>
                </c:pt>
                <c:pt idx="1084">
                  <c:v>1300.46</c:v>
                </c:pt>
                <c:pt idx="1085">
                  <c:v>1314.71</c:v>
                </c:pt>
                <c:pt idx="1086">
                  <c:v>1295.75</c:v>
                </c:pt>
                <c:pt idx="1087">
                  <c:v>1322.52</c:v>
                </c:pt>
                <c:pt idx="1088">
                  <c:v>1324.03</c:v>
                </c:pt>
                <c:pt idx="1089">
                  <c:v>1324.87</c:v>
                </c:pt>
                <c:pt idx="1090">
                  <c:v>1333.86</c:v>
                </c:pt>
                <c:pt idx="1091">
                  <c:v>1359.1</c:v>
                </c:pt>
                <c:pt idx="1092">
                  <c:v>1361.65</c:v>
                </c:pt>
                <c:pt idx="1093">
                  <c:v>1368.84</c:v>
                </c:pt>
                <c:pt idx="1094">
                  <c:v>1374.94</c:v>
                </c:pt>
                <c:pt idx="1095">
                  <c:v>1357.8</c:v>
                </c:pt>
                <c:pt idx="1096">
                  <c:v>1343.5</c:v>
                </c:pt>
                <c:pt idx="1097">
                  <c:v>1362.99</c:v>
                </c:pt>
                <c:pt idx="1098">
                  <c:v>1371.55</c:v>
                </c:pt>
                <c:pt idx="1099">
                  <c:v>1358.73</c:v>
                </c:pt>
                <c:pt idx="1100">
                  <c:v>1369.1</c:v>
                </c:pt>
                <c:pt idx="1101">
                  <c:v>1421.07</c:v>
                </c:pt>
                <c:pt idx="1102">
                  <c:v>1383.02</c:v>
                </c:pt>
                <c:pt idx="1103">
                  <c:v>1377.41</c:v>
                </c:pt>
                <c:pt idx="1104">
                  <c:v>1379.75</c:v>
                </c:pt>
                <c:pt idx="1105">
                  <c:v>1366.08</c:v>
                </c:pt>
                <c:pt idx="1106">
                  <c:v>1362.1</c:v>
                </c:pt>
                <c:pt idx="1107">
                  <c:v>1390.47</c:v>
                </c:pt>
                <c:pt idx="1108">
                  <c:v>1390.72</c:v>
                </c:pt>
                <c:pt idx="1109">
                  <c:v>1360.48</c:v>
                </c:pt>
                <c:pt idx="1110">
                  <c:v>1385.24</c:v>
                </c:pt>
                <c:pt idx="1111">
                  <c:v>1393.59</c:v>
                </c:pt>
                <c:pt idx="1112">
                  <c:v>1403.72</c:v>
                </c:pt>
                <c:pt idx="1113">
                  <c:v>1383.7</c:v>
                </c:pt>
                <c:pt idx="1114">
                  <c:v>1383.18</c:v>
                </c:pt>
                <c:pt idx="1115">
                  <c:v>1361.89</c:v>
                </c:pt>
                <c:pt idx="1116">
                  <c:v>1352.15</c:v>
                </c:pt>
                <c:pt idx="1117">
                  <c:v>1350.52</c:v>
                </c:pt>
                <c:pt idx="1118">
                  <c:v>1299.03</c:v>
                </c:pt>
                <c:pt idx="1119">
                  <c:v>1276.28</c:v>
                </c:pt>
                <c:pt idx="1120">
                  <c:v>1239.1300000000001</c:v>
                </c:pt>
                <c:pt idx="1121">
                  <c:v>1266.8800000000001</c:v>
                </c:pt>
                <c:pt idx="1122">
                  <c:v>1272.02</c:v>
                </c:pt>
                <c:pt idx="1123">
                  <c:v>1266.72</c:v>
                </c:pt>
                <c:pt idx="1124">
                  <c:v>1246.25</c:v>
                </c:pt>
                <c:pt idx="1125">
                  <c:v>1208.83</c:v>
                </c:pt>
                <c:pt idx="1126">
                  <c:v>1207.29</c:v>
                </c:pt>
                <c:pt idx="1127">
                  <c:v>1222.4000000000001</c:v>
                </c:pt>
                <c:pt idx="1128">
                  <c:v>1219.3599999999999</c:v>
                </c:pt>
                <c:pt idx="1129">
                  <c:v>1212.74</c:v>
                </c:pt>
                <c:pt idx="1130">
                  <c:v>1212.21</c:v>
                </c:pt>
                <c:pt idx="1131">
                  <c:v>1191.3699999999999</c:v>
                </c:pt>
                <c:pt idx="1132">
                  <c:v>1160.8599999999999</c:v>
                </c:pt>
                <c:pt idx="1133">
                  <c:v>1157.97</c:v>
                </c:pt>
                <c:pt idx="1134">
                  <c:v>1170.5999999999999</c:v>
                </c:pt>
                <c:pt idx="1135">
                  <c:v>1203.67</c:v>
                </c:pt>
                <c:pt idx="1136">
                  <c:v>1198.72</c:v>
                </c:pt>
                <c:pt idx="1137">
                  <c:v>1220.8</c:v>
                </c:pt>
                <c:pt idx="1138">
                  <c:v>1231.94</c:v>
                </c:pt>
                <c:pt idx="1139">
                  <c:v>1232.3399999999999</c:v>
                </c:pt>
                <c:pt idx="1140">
                  <c:v>1243.56</c:v>
                </c:pt>
                <c:pt idx="1141">
                  <c:v>1251.69</c:v>
                </c:pt>
                <c:pt idx="1142">
                  <c:v>1257.4100000000001</c:v>
                </c:pt>
                <c:pt idx="1143">
                  <c:v>1275.5999999999999</c:v>
                </c:pt>
                <c:pt idx="1144">
                  <c:v>1260.07</c:v>
                </c:pt>
                <c:pt idx="1145">
                  <c:v>1267.42</c:v>
                </c:pt>
                <c:pt idx="1146">
                  <c:v>1259.47</c:v>
                </c:pt>
                <c:pt idx="1147">
                  <c:v>1260.72</c:v>
                </c:pt>
                <c:pt idx="1148">
                  <c:v>1219.49</c:v>
                </c:pt>
                <c:pt idx="1149">
                  <c:v>1190.23</c:v>
                </c:pt>
                <c:pt idx="1150">
                  <c:v>1177.6600000000001</c:v>
                </c:pt>
                <c:pt idx="1151">
                  <c:v>1177.93</c:v>
                </c:pt>
                <c:pt idx="1152">
                  <c:v>1239.23</c:v>
                </c:pt>
                <c:pt idx="1153">
                  <c:v>1241.51</c:v>
                </c:pt>
                <c:pt idx="1154">
                  <c:v>1257.26</c:v>
                </c:pt>
                <c:pt idx="1155">
                  <c:v>1245.53</c:v>
                </c:pt>
                <c:pt idx="1156">
                  <c:v>1246.6400000000001</c:v>
                </c:pt>
                <c:pt idx="1157">
                  <c:v>1239.0899999999999</c:v>
                </c:pt>
                <c:pt idx="1158">
                  <c:v>1217.8800000000001</c:v>
                </c:pt>
                <c:pt idx="1159">
                  <c:v>1213.27</c:v>
                </c:pt>
                <c:pt idx="1160">
                  <c:v>1194.73</c:v>
                </c:pt>
                <c:pt idx="1161">
                  <c:v>1202</c:v>
                </c:pt>
                <c:pt idx="1162">
                  <c:v>1190.0999999999999</c:v>
                </c:pt>
                <c:pt idx="1163">
                  <c:v>1187.24</c:v>
                </c:pt>
                <c:pt idx="1164">
                  <c:v>1170.25</c:v>
                </c:pt>
                <c:pt idx="1165">
                  <c:v>1151.1600000000001</c:v>
                </c:pt>
                <c:pt idx="1166">
                  <c:v>1167.25</c:v>
                </c:pt>
                <c:pt idx="1167">
                  <c:v>1189.23</c:v>
                </c:pt>
                <c:pt idx="1168">
                  <c:v>1175.5899999999999</c:v>
                </c:pt>
                <c:pt idx="1169">
                  <c:v>1156.1500000000001</c:v>
                </c:pt>
                <c:pt idx="1170">
                  <c:v>1126.21</c:v>
                </c:pt>
                <c:pt idx="1171">
                  <c:v>1123.72</c:v>
                </c:pt>
                <c:pt idx="1172">
                  <c:v>1113.42</c:v>
                </c:pt>
                <c:pt idx="1173">
                  <c:v>1095.1099999999999</c:v>
                </c:pt>
                <c:pt idx="1174">
                  <c:v>1092.1199999999999</c:v>
                </c:pt>
                <c:pt idx="1175">
                  <c:v>1120.2</c:v>
                </c:pt>
                <c:pt idx="1176">
                  <c:v>1106.8</c:v>
                </c:pt>
                <c:pt idx="1177">
                  <c:v>1082.5899999999999</c:v>
                </c:pt>
                <c:pt idx="1178">
                  <c:v>1088.8</c:v>
                </c:pt>
                <c:pt idx="1179">
                  <c:v>1064.29</c:v>
                </c:pt>
                <c:pt idx="1180">
                  <c:v>1076.58</c:v>
                </c:pt>
                <c:pt idx="1181">
                  <c:v>1075.45</c:v>
                </c:pt>
                <c:pt idx="1182">
                  <c:v>1067.05</c:v>
                </c:pt>
                <c:pt idx="1183">
                  <c:v>1045.23</c:v>
                </c:pt>
                <c:pt idx="1184">
                  <c:v>1072.94</c:v>
                </c:pt>
                <c:pt idx="1185">
                  <c:v>1056.71</c:v>
                </c:pt>
                <c:pt idx="1186">
                  <c:v>1063.8599999999999</c:v>
                </c:pt>
                <c:pt idx="1187">
                  <c:v>1047.47</c:v>
                </c:pt>
                <c:pt idx="1188">
                  <c:v>1035.9100000000001</c:v>
                </c:pt>
                <c:pt idx="1189">
                  <c:v>1036.68</c:v>
                </c:pt>
                <c:pt idx="1190">
                  <c:v>1039.5</c:v>
                </c:pt>
                <c:pt idx="1191">
                  <c:v>1049.58</c:v>
                </c:pt>
                <c:pt idx="1192">
                  <c:v>1059.6199999999999</c:v>
                </c:pt>
                <c:pt idx="1193">
                  <c:v>1098.68</c:v>
                </c:pt>
                <c:pt idx="1194">
                  <c:v>1091.44</c:v>
                </c:pt>
                <c:pt idx="1195">
                  <c:v>1054.45</c:v>
                </c:pt>
                <c:pt idx="1196">
                  <c:v>1017.28</c:v>
                </c:pt>
                <c:pt idx="1197">
                  <c:v>1007.68</c:v>
                </c:pt>
                <c:pt idx="1198">
                  <c:v>1045.51</c:v>
                </c:pt>
                <c:pt idx="1199">
                  <c:v>1028.95</c:v>
                </c:pt>
                <c:pt idx="1200">
                  <c:v>1045.0899999999999</c:v>
                </c:pt>
                <c:pt idx="1201">
                  <c:v>1012.16</c:v>
                </c:pt>
                <c:pt idx="1202">
                  <c:v>1002.96</c:v>
                </c:pt>
                <c:pt idx="1203">
                  <c:v>1004.13</c:v>
                </c:pt>
                <c:pt idx="1204">
                  <c:v>1020.77</c:v>
                </c:pt>
                <c:pt idx="1205">
                  <c:v>1021.17</c:v>
                </c:pt>
                <c:pt idx="1206">
                  <c:v>1040.3599999999999</c:v>
                </c:pt>
                <c:pt idx="1207">
                  <c:v>1058.8</c:v>
                </c:pt>
                <c:pt idx="1208">
                  <c:v>1076.1600000000001</c:v>
                </c:pt>
                <c:pt idx="1209">
                  <c:v>1054.3800000000001</c:v>
                </c:pt>
                <c:pt idx="1210">
                  <c:v>1027.6099999999999</c:v>
                </c:pt>
                <c:pt idx="1211">
                  <c:v>1006.43</c:v>
                </c:pt>
                <c:pt idx="1212">
                  <c:v>974.27</c:v>
                </c:pt>
                <c:pt idx="1213">
                  <c:v>958.33</c:v>
                </c:pt>
                <c:pt idx="1214">
                  <c:v>925.43</c:v>
                </c:pt>
                <c:pt idx="1215">
                  <c:v>948.58</c:v>
                </c:pt>
                <c:pt idx="1216">
                  <c:v>918.65</c:v>
                </c:pt>
                <c:pt idx="1217">
                  <c:v>908.75</c:v>
                </c:pt>
                <c:pt idx="1218">
                  <c:v>870.37</c:v>
                </c:pt>
                <c:pt idx="1219">
                  <c:v>857.51</c:v>
                </c:pt>
                <c:pt idx="1220">
                  <c:v>855.05</c:v>
                </c:pt>
                <c:pt idx="1221">
                  <c:v>824.01</c:v>
                </c:pt>
                <c:pt idx="1222">
                  <c:v>799.18</c:v>
                </c:pt>
                <c:pt idx="1223">
                  <c:v>718.32</c:v>
                </c:pt>
                <c:pt idx="1224">
                  <c:v>629.15</c:v>
                </c:pt>
                <c:pt idx="1225">
                  <c:v>718.26</c:v>
                </c:pt>
                <c:pt idx="1226">
                  <c:v>764.93</c:v>
                </c:pt>
                <c:pt idx="1227">
                  <c:v>768.06</c:v>
                </c:pt>
                <c:pt idx="1228">
                  <c:v>811.03</c:v>
                </c:pt>
                <c:pt idx="1229">
                  <c:v>794.99</c:v>
                </c:pt>
                <c:pt idx="1230">
                  <c:v>814.97</c:v>
                </c:pt>
                <c:pt idx="1231">
                  <c:v>844.09</c:v>
                </c:pt>
                <c:pt idx="1232">
                  <c:v>828.57</c:v>
                </c:pt>
                <c:pt idx="1233">
                  <c:v>756.63</c:v>
                </c:pt>
                <c:pt idx="1234">
                  <c:v>737.88</c:v>
                </c:pt>
                <c:pt idx="1235">
                  <c:v>743.06</c:v>
                </c:pt>
                <c:pt idx="1236">
                  <c:v>762.39</c:v>
                </c:pt>
                <c:pt idx="1237">
                  <c:v>769.8</c:v>
                </c:pt>
                <c:pt idx="1238">
                  <c:v>766.57</c:v>
                </c:pt>
                <c:pt idx="1239">
                  <c:v>756.27</c:v>
                </c:pt>
                <c:pt idx="1240">
                  <c:v>782.13</c:v>
                </c:pt>
                <c:pt idx="1241">
                  <c:v>817.14</c:v>
                </c:pt>
                <c:pt idx="1242">
                  <c:v>820.99</c:v>
                </c:pt>
                <c:pt idx="1243">
                  <c:v>781.31</c:v>
                </c:pt>
                <c:pt idx="1244">
                  <c:v>783.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768448"/>
        <c:axId val="592574080"/>
      </c:lineChart>
      <c:catAx>
        <c:axId val="633767424"/>
        <c:scaling>
          <c:orientation val="minMax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7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592573504"/>
        <c:crosses val="autoZero"/>
        <c:auto val="0"/>
        <c:lblAlgn val="ctr"/>
        <c:lblOffset val="70"/>
        <c:tickLblSkip val="100"/>
        <c:tickMarkSkip val="200"/>
        <c:noMultiLvlLbl val="0"/>
      </c:catAx>
      <c:valAx>
        <c:axId val="592573504"/>
        <c:scaling>
          <c:orientation val="minMax"/>
          <c:max val="34000"/>
          <c:min val="14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9678436833007E-4"/>
              <c:y val="0.24175492939415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3767424"/>
        <c:crosses val="autoZero"/>
        <c:crossBetween val="between"/>
      </c:valAx>
      <c:catAx>
        <c:axId val="63376844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574080"/>
        <c:crosses val="autoZero"/>
        <c:auto val="0"/>
        <c:lblAlgn val="ctr"/>
        <c:lblOffset val="100"/>
        <c:noMultiLvlLbl val="0"/>
      </c:catAx>
      <c:valAx>
        <c:axId val="592574080"/>
        <c:scaling>
          <c:orientation val="minMax"/>
          <c:max val="220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3768448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9.088634157343034E-2"/>
          <c:y val="0.93030849656189674"/>
          <c:w val="0.80381548196886343"/>
          <c:h val="6.8509229734712962E-2"/>
        </c:manualLayout>
      </c:layout>
      <c:overlay val="0"/>
      <c:txPr>
        <a:bodyPr/>
        <a:lstStyle/>
        <a:p>
          <a:pPr>
            <a:defRPr sz="655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6664023506802E-2"/>
          <c:y val="4.3562530362967589E-2"/>
          <c:w val="0.84836521835766798"/>
          <c:h val="0.81146280102713586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K$2</c:f>
              <c:strCache>
                <c:ptCount val="1"/>
                <c:pt idx="0">
                  <c:v>Индекс СПбМТСБ-ДТ летнее</c:v>
                </c:pt>
              </c:strCache>
            </c:strRef>
          </c:tx>
          <c:spPr>
            <a:ln w="571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K$1207:$K$1462</c:f>
              <c:numCache>
                <c:formatCode>General</c:formatCode>
                <c:ptCount val="256"/>
                <c:pt idx="0">
                  <c:v>30666</c:v>
                </c:pt>
                <c:pt idx="1">
                  <c:v>30676</c:v>
                </c:pt>
                <c:pt idx="2">
                  <c:v>30700</c:v>
                </c:pt>
                <c:pt idx="3">
                  <c:v>29985</c:v>
                </c:pt>
                <c:pt idx="4">
                  <c:v>29853</c:v>
                </c:pt>
                <c:pt idx="5">
                  <c:v>30412</c:v>
                </c:pt>
                <c:pt idx="6">
                  <c:v>30135</c:v>
                </c:pt>
                <c:pt idx="7">
                  <c:v>30535</c:v>
                </c:pt>
                <c:pt idx="8">
                  <c:v>30262</c:v>
                </c:pt>
                <c:pt idx="9">
                  <c:v>30634</c:v>
                </c:pt>
                <c:pt idx="10">
                  <c:v>30152</c:v>
                </c:pt>
                <c:pt idx="11">
                  <c:v>30331</c:v>
                </c:pt>
                <c:pt idx="12">
                  <c:v>31525</c:v>
                </c:pt>
                <c:pt idx="13">
                  <c:v>30557</c:v>
                </c:pt>
                <c:pt idx="14">
                  <c:v>30625</c:v>
                </c:pt>
                <c:pt idx="15">
                  <c:v>30713</c:v>
                </c:pt>
                <c:pt idx="16">
                  <c:v>31242</c:v>
                </c:pt>
                <c:pt idx="17">
                  <c:v>30848</c:v>
                </c:pt>
                <c:pt idx="18">
                  <c:v>31246</c:v>
                </c:pt>
                <c:pt idx="19">
                  <c:v>31519</c:v>
                </c:pt>
                <c:pt idx="20">
                  <c:v>30977</c:v>
                </c:pt>
                <c:pt idx="21">
                  <c:v>30842</c:v>
                </c:pt>
                <c:pt idx="22">
                  <c:v>30855</c:v>
                </c:pt>
                <c:pt idx="23">
                  <c:v>30627</c:v>
                </c:pt>
                <c:pt idx="24">
                  <c:v>30546</c:v>
                </c:pt>
                <c:pt idx="25">
                  <c:v>30678</c:v>
                </c:pt>
                <c:pt idx="26">
                  <c:v>30703</c:v>
                </c:pt>
                <c:pt idx="27">
                  <c:v>30854</c:v>
                </c:pt>
                <c:pt idx="28">
                  <c:v>30912</c:v>
                </c:pt>
                <c:pt idx="29">
                  <c:v>31055</c:v>
                </c:pt>
                <c:pt idx="30">
                  <c:v>31252</c:v>
                </c:pt>
                <c:pt idx="31">
                  <c:v>31537</c:v>
                </c:pt>
                <c:pt idx="32">
                  <c:v>31543</c:v>
                </c:pt>
                <c:pt idx="33">
                  <c:v>31792</c:v>
                </c:pt>
                <c:pt idx="34">
                  <c:v>31766</c:v>
                </c:pt>
                <c:pt idx="35">
                  <c:v>32387</c:v>
                </c:pt>
                <c:pt idx="36">
                  <c:v>32510</c:v>
                </c:pt>
                <c:pt idx="37">
                  <c:v>32826</c:v>
                </c:pt>
                <c:pt idx="38">
                  <c:v>33266</c:v>
                </c:pt>
                <c:pt idx="39">
                  <c:v>33210</c:v>
                </c:pt>
                <c:pt idx="40">
                  <c:v>33075</c:v>
                </c:pt>
                <c:pt idx="41">
                  <c:v>33025</c:v>
                </c:pt>
                <c:pt idx="42">
                  <c:v>32797</c:v>
                </c:pt>
                <c:pt idx="43">
                  <c:v>32685</c:v>
                </c:pt>
                <c:pt idx="44">
                  <c:v>32741</c:v>
                </c:pt>
                <c:pt idx="45">
                  <c:v>32630</c:v>
                </c:pt>
                <c:pt idx="46">
                  <c:v>32760</c:v>
                </c:pt>
                <c:pt idx="47">
                  <c:v>32578</c:v>
                </c:pt>
                <c:pt idx="48">
                  <c:v>32517</c:v>
                </c:pt>
                <c:pt idx="49">
                  <c:v>32560</c:v>
                </c:pt>
                <c:pt idx="50">
                  <c:v>32601</c:v>
                </c:pt>
                <c:pt idx="51">
                  <c:v>32552</c:v>
                </c:pt>
                <c:pt idx="52">
                  <c:v>32664</c:v>
                </c:pt>
                <c:pt idx="53">
                  <c:v>32724</c:v>
                </c:pt>
                <c:pt idx="54">
                  <c:v>33029</c:v>
                </c:pt>
                <c:pt idx="55">
                  <c:v>33008</c:v>
                </c:pt>
                <c:pt idx="56">
                  <c:v>33036</c:v>
                </c:pt>
                <c:pt idx="57">
                  <c:v>32641</c:v>
                </c:pt>
                <c:pt idx="58">
                  <c:v>32766</c:v>
                </c:pt>
                <c:pt idx="59">
                  <c:v>32918</c:v>
                </c:pt>
                <c:pt idx="60">
                  <c:v>32998</c:v>
                </c:pt>
                <c:pt idx="61">
                  <c:v>32966</c:v>
                </c:pt>
                <c:pt idx="62">
                  <c:v>32949</c:v>
                </c:pt>
                <c:pt idx="63">
                  <c:v>32852</c:v>
                </c:pt>
                <c:pt idx="64">
                  <c:v>32814</c:v>
                </c:pt>
                <c:pt idx="65">
                  <c:v>32862</c:v>
                </c:pt>
                <c:pt idx="66">
                  <c:v>32780</c:v>
                </c:pt>
                <c:pt idx="67">
                  <c:v>32806</c:v>
                </c:pt>
                <c:pt idx="68">
                  <c:v>32765</c:v>
                </c:pt>
                <c:pt idx="69">
                  <c:v>32786</c:v>
                </c:pt>
                <c:pt idx="70">
                  <c:v>32738</c:v>
                </c:pt>
                <c:pt idx="71">
                  <c:v>32727</c:v>
                </c:pt>
                <c:pt idx="72">
                  <c:v>32756</c:v>
                </c:pt>
                <c:pt idx="73">
                  <c:v>32833</c:v>
                </c:pt>
                <c:pt idx="74">
                  <c:v>32937</c:v>
                </c:pt>
                <c:pt idx="75">
                  <c:v>33075</c:v>
                </c:pt>
                <c:pt idx="76">
                  <c:v>33132</c:v>
                </c:pt>
                <c:pt idx="77">
                  <c:v>33172</c:v>
                </c:pt>
                <c:pt idx="78">
                  <c:v>33064</c:v>
                </c:pt>
                <c:pt idx="79">
                  <c:v>33186</c:v>
                </c:pt>
                <c:pt idx="80">
                  <c:v>33156</c:v>
                </c:pt>
                <c:pt idx="81">
                  <c:v>33246</c:v>
                </c:pt>
                <c:pt idx="82">
                  <c:v>33242</c:v>
                </c:pt>
                <c:pt idx="83">
                  <c:v>33180</c:v>
                </c:pt>
                <c:pt idx="84">
                  <c:v>33233</c:v>
                </c:pt>
                <c:pt idx="85">
                  <c:v>33265</c:v>
                </c:pt>
                <c:pt idx="86">
                  <c:v>33398</c:v>
                </c:pt>
                <c:pt idx="87">
                  <c:v>33427</c:v>
                </c:pt>
                <c:pt idx="88">
                  <c:v>33278</c:v>
                </c:pt>
                <c:pt idx="89">
                  <c:v>33194</c:v>
                </c:pt>
                <c:pt idx="90">
                  <c:v>33123</c:v>
                </c:pt>
                <c:pt idx="91">
                  <c:v>33193</c:v>
                </c:pt>
                <c:pt idx="92">
                  <c:v>33089</c:v>
                </c:pt>
                <c:pt idx="93">
                  <c:v>32927</c:v>
                </c:pt>
                <c:pt idx="94">
                  <c:v>32948</c:v>
                </c:pt>
                <c:pt idx="95">
                  <c:v>33020</c:v>
                </c:pt>
                <c:pt idx="96">
                  <c:v>32881</c:v>
                </c:pt>
                <c:pt idx="97">
                  <c:v>32832</c:v>
                </c:pt>
                <c:pt idx="98">
                  <c:v>32769</c:v>
                </c:pt>
                <c:pt idx="99">
                  <c:v>32779</c:v>
                </c:pt>
                <c:pt idx="100">
                  <c:v>32262</c:v>
                </c:pt>
                <c:pt idx="101">
                  <c:v>32120</c:v>
                </c:pt>
                <c:pt idx="102">
                  <c:v>32523</c:v>
                </c:pt>
                <c:pt idx="103">
                  <c:v>32428</c:v>
                </c:pt>
                <c:pt idx="104">
                  <c:v>32393</c:v>
                </c:pt>
                <c:pt idx="105">
                  <c:v>32240</c:v>
                </c:pt>
                <c:pt idx="106">
                  <c:v>32299</c:v>
                </c:pt>
                <c:pt idx="107">
                  <c:v>32460</c:v>
                </c:pt>
                <c:pt idx="108">
                  <c:v>32681</c:v>
                </c:pt>
                <c:pt idx="109">
                  <c:v>32940</c:v>
                </c:pt>
                <c:pt idx="110">
                  <c:v>32962</c:v>
                </c:pt>
                <c:pt idx="111">
                  <c:v>32936</c:v>
                </c:pt>
                <c:pt idx="112">
                  <c:v>32752</c:v>
                </c:pt>
                <c:pt idx="113">
                  <c:v>32754</c:v>
                </c:pt>
                <c:pt idx="114">
                  <c:v>32853</c:v>
                </c:pt>
                <c:pt idx="115">
                  <c:v>33006</c:v>
                </c:pt>
                <c:pt idx="116">
                  <c:v>32871</c:v>
                </c:pt>
                <c:pt idx="117">
                  <c:v>32894</c:v>
                </c:pt>
                <c:pt idx="118">
                  <c:v>32732</c:v>
                </c:pt>
                <c:pt idx="119">
                  <c:v>32521</c:v>
                </c:pt>
                <c:pt idx="120">
                  <c:v>32667</c:v>
                </c:pt>
                <c:pt idx="121">
                  <c:v>32733</c:v>
                </c:pt>
                <c:pt idx="122">
                  <c:v>32735</c:v>
                </c:pt>
                <c:pt idx="123">
                  <c:v>32437</c:v>
                </c:pt>
                <c:pt idx="124">
                  <c:v>32168</c:v>
                </c:pt>
                <c:pt idx="125">
                  <c:v>31916</c:v>
                </c:pt>
                <c:pt idx="126">
                  <c:v>31746</c:v>
                </c:pt>
                <c:pt idx="127">
                  <c:v>31771</c:v>
                </c:pt>
                <c:pt idx="128">
                  <c:v>31911</c:v>
                </c:pt>
                <c:pt idx="129">
                  <c:v>31862</c:v>
                </c:pt>
                <c:pt idx="130">
                  <c:v>31922</c:v>
                </c:pt>
                <c:pt idx="131">
                  <c:v>31887</c:v>
                </c:pt>
                <c:pt idx="132">
                  <c:v>31895</c:v>
                </c:pt>
                <c:pt idx="133">
                  <c:v>31889</c:v>
                </c:pt>
                <c:pt idx="134">
                  <c:v>31845</c:v>
                </c:pt>
                <c:pt idx="135">
                  <c:v>31974</c:v>
                </c:pt>
                <c:pt idx="136">
                  <c:v>31935</c:v>
                </c:pt>
                <c:pt idx="137">
                  <c:v>32105</c:v>
                </c:pt>
                <c:pt idx="138">
                  <c:v>32070</c:v>
                </c:pt>
                <c:pt idx="139">
                  <c:v>32132</c:v>
                </c:pt>
                <c:pt idx="140">
                  <c:v>32207</c:v>
                </c:pt>
                <c:pt idx="141">
                  <c:v>32192</c:v>
                </c:pt>
                <c:pt idx="142">
                  <c:v>31959</c:v>
                </c:pt>
                <c:pt idx="143">
                  <c:v>32185</c:v>
                </c:pt>
                <c:pt idx="144">
                  <c:v>32077</c:v>
                </c:pt>
                <c:pt idx="145">
                  <c:v>31973</c:v>
                </c:pt>
                <c:pt idx="146">
                  <c:v>32003</c:v>
                </c:pt>
                <c:pt idx="147">
                  <c:v>32041</c:v>
                </c:pt>
                <c:pt idx="148">
                  <c:v>31958</c:v>
                </c:pt>
                <c:pt idx="149">
                  <c:v>32060</c:v>
                </c:pt>
                <c:pt idx="150">
                  <c:v>32002</c:v>
                </c:pt>
                <c:pt idx="151">
                  <c:v>31995</c:v>
                </c:pt>
                <c:pt idx="152">
                  <c:v>32122</c:v>
                </c:pt>
                <c:pt idx="153">
                  <c:v>32167</c:v>
                </c:pt>
                <c:pt idx="154">
                  <c:v>32159</c:v>
                </c:pt>
                <c:pt idx="155">
                  <c:v>32070</c:v>
                </c:pt>
                <c:pt idx="156">
                  <c:v>32065</c:v>
                </c:pt>
                <c:pt idx="157">
                  <c:v>32129</c:v>
                </c:pt>
                <c:pt idx="158">
                  <c:v>32193</c:v>
                </c:pt>
                <c:pt idx="159">
                  <c:v>32505</c:v>
                </c:pt>
                <c:pt idx="160">
                  <c:v>32577</c:v>
                </c:pt>
                <c:pt idx="161">
                  <c:v>32663</c:v>
                </c:pt>
                <c:pt idx="162">
                  <c:v>32648</c:v>
                </c:pt>
                <c:pt idx="163">
                  <c:v>32722</c:v>
                </c:pt>
                <c:pt idx="164">
                  <c:v>32653</c:v>
                </c:pt>
                <c:pt idx="165">
                  <c:v>32835</c:v>
                </c:pt>
                <c:pt idx="166">
                  <c:v>32771</c:v>
                </c:pt>
                <c:pt idx="167">
                  <c:v>32766</c:v>
                </c:pt>
                <c:pt idx="168">
                  <c:v>32752</c:v>
                </c:pt>
                <c:pt idx="169">
                  <c:v>32617</c:v>
                </c:pt>
                <c:pt idx="170">
                  <c:v>32640</c:v>
                </c:pt>
                <c:pt idx="171">
                  <c:v>32596</c:v>
                </c:pt>
                <c:pt idx="172">
                  <c:v>32610</c:v>
                </c:pt>
                <c:pt idx="173">
                  <c:v>32637</c:v>
                </c:pt>
                <c:pt idx="174">
                  <c:v>32578</c:v>
                </c:pt>
                <c:pt idx="175">
                  <c:v>32609</c:v>
                </c:pt>
                <c:pt idx="176">
                  <c:v>32605</c:v>
                </c:pt>
                <c:pt idx="177">
                  <c:v>32802</c:v>
                </c:pt>
                <c:pt idx="178">
                  <c:v>32834</c:v>
                </c:pt>
                <c:pt idx="179">
                  <c:v>32942</c:v>
                </c:pt>
                <c:pt idx="180">
                  <c:v>32930</c:v>
                </c:pt>
                <c:pt idx="181">
                  <c:v>33208</c:v>
                </c:pt>
                <c:pt idx="182">
                  <c:v>33226</c:v>
                </c:pt>
                <c:pt idx="183">
                  <c:v>32880</c:v>
                </c:pt>
                <c:pt idx="184">
                  <c:v>32866</c:v>
                </c:pt>
                <c:pt idx="185">
                  <c:v>32944</c:v>
                </c:pt>
                <c:pt idx="186">
                  <c:v>32982</c:v>
                </c:pt>
                <c:pt idx="187">
                  <c:v>32759</c:v>
                </c:pt>
                <c:pt idx="188">
                  <c:v>32624</c:v>
                </c:pt>
                <c:pt idx="189">
                  <c:v>32548</c:v>
                </c:pt>
                <c:pt idx="190">
                  <c:v>32628</c:v>
                </c:pt>
                <c:pt idx="191">
                  <c:v>32463</c:v>
                </c:pt>
                <c:pt idx="192">
                  <c:v>32427</c:v>
                </c:pt>
                <c:pt idx="193">
                  <c:v>32466</c:v>
                </c:pt>
                <c:pt idx="194">
                  <c:v>32482</c:v>
                </c:pt>
                <c:pt idx="195">
                  <c:v>32660</c:v>
                </c:pt>
                <c:pt idx="196">
                  <c:v>32539</c:v>
                </c:pt>
                <c:pt idx="197">
                  <c:v>32313</c:v>
                </c:pt>
                <c:pt idx="198">
                  <c:v>32097</c:v>
                </c:pt>
                <c:pt idx="199">
                  <c:v>31969</c:v>
                </c:pt>
                <c:pt idx="200">
                  <c:v>31597</c:v>
                </c:pt>
                <c:pt idx="201">
                  <c:v>31504</c:v>
                </c:pt>
                <c:pt idx="202">
                  <c:v>31615</c:v>
                </c:pt>
                <c:pt idx="203">
                  <c:v>31829</c:v>
                </c:pt>
                <c:pt idx="204">
                  <c:v>31812</c:v>
                </c:pt>
                <c:pt idx="205">
                  <c:v>31745</c:v>
                </c:pt>
                <c:pt idx="206">
                  <c:v>31727</c:v>
                </c:pt>
                <c:pt idx="207">
                  <c:v>31978</c:v>
                </c:pt>
                <c:pt idx="208">
                  <c:v>31922</c:v>
                </c:pt>
                <c:pt idx="209">
                  <c:v>31687</c:v>
                </c:pt>
                <c:pt idx="210">
                  <c:v>31687</c:v>
                </c:pt>
                <c:pt idx="211">
                  <c:v>31763</c:v>
                </c:pt>
                <c:pt idx="212">
                  <c:v>31565</c:v>
                </c:pt>
                <c:pt idx="213">
                  <c:v>31416</c:v>
                </c:pt>
                <c:pt idx="214">
                  <c:v>31207</c:v>
                </c:pt>
                <c:pt idx="215">
                  <c:v>31176</c:v>
                </c:pt>
                <c:pt idx="216">
                  <c:v>31743</c:v>
                </c:pt>
                <c:pt idx="217">
                  <c:v>31021</c:v>
                </c:pt>
                <c:pt idx="218">
                  <c:v>31569</c:v>
                </c:pt>
                <c:pt idx="219">
                  <c:v>30948</c:v>
                </c:pt>
                <c:pt idx="220">
                  <c:v>31076</c:v>
                </c:pt>
                <c:pt idx="221">
                  <c:v>31054</c:v>
                </c:pt>
                <c:pt idx="222">
                  <c:v>29407</c:v>
                </c:pt>
                <c:pt idx="223">
                  <c:v>28649</c:v>
                </c:pt>
                <c:pt idx="224">
                  <c:v>27853</c:v>
                </c:pt>
                <c:pt idx="225">
                  <c:v>27982</c:v>
                </c:pt>
                <c:pt idx="226">
                  <c:v>27963</c:v>
                </c:pt>
                <c:pt idx="227">
                  <c:v>28689</c:v>
                </c:pt>
                <c:pt idx="228">
                  <c:v>29430</c:v>
                </c:pt>
                <c:pt idx="229">
                  <c:v>29576</c:v>
                </c:pt>
                <c:pt idx="230">
                  <c:v>29663</c:v>
                </c:pt>
                <c:pt idx="231">
                  <c:v>29746</c:v>
                </c:pt>
                <c:pt idx="232">
                  <c:v>30159</c:v>
                </c:pt>
                <c:pt idx="233">
                  <c:v>30357</c:v>
                </c:pt>
                <c:pt idx="234">
                  <c:v>30149</c:v>
                </c:pt>
                <c:pt idx="235">
                  <c:v>30144</c:v>
                </c:pt>
                <c:pt idx="236">
                  <c:v>29900</c:v>
                </c:pt>
                <c:pt idx="237">
                  <c:v>29371</c:v>
                </c:pt>
                <c:pt idx="238">
                  <c:v>28937</c:v>
                </c:pt>
                <c:pt idx="239">
                  <c:v>28915</c:v>
                </c:pt>
                <c:pt idx="240">
                  <c:v>29029</c:v>
                </c:pt>
                <c:pt idx="241">
                  <c:v>28935</c:v>
                </c:pt>
                <c:pt idx="242">
                  <c:v>28967</c:v>
                </c:pt>
                <c:pt idx="243">
                  <c:v>28944</c:v>
                </c:pt>
                <c:pt idx="244">
                  <c:v>28989</c:v>
                </c:pt>
                <c:pt idx="245">
                  <c:v>29097</c:v>
                </c:pt>
                <c:pt idx="246">
                  <c:v>29293</c:v>
                </c:pt>
                <c:pt idx="247">
                  <c:v>29388</c:v>
                </c:pt>
                <c:pt idx="248">
                  <c:v>29606</c:v>
                </c:pt>
                <c:pt idx="249">
                  <c:v>29285</c:v>
                </c:pt>
                <c:pt idx="250">
                  <c:v>29457</c:v>
                </c:pt>
                <c:pt idx="251">
                  <c:v>29104</c:v>
                </c:pt>
                <c:pt idx="252">
                  <c:v>28802</c:v>
                </c:pt>
                <c:pt idx="253">
                  <c:v>29190</c:v>
                </c:pt>
                <c:pt idx="254">
                  <c:v>29087</c:v>
                </c:pt>
                <c:pt idx="255">
                  <c:v>30173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Индексы_Мир_СПбМТСБ!$AT$1</c:f>
              <c:strCache>
                <c:ptCount val="1"/>
                <c:pt idx="0">
                  <c:v>Мартов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AT$1166:$AT$1432</c:f>
              <c:numCache>
                <c:formatCode>#,##0.00</c:formatCode>
                <c:ptCount val="267"/>
                <c:pt idx="0">
                  <c:v>32600</c:v>
                </c:pt>
                <c:pt idx="1">
                  <c:v>32660</c:v>
                </c:pt>
                <c:pt idx="2">
                  <c:v>32580</c:v>
                </c:pt>
                <c:pt idx="3">
                  <c:v>32530</c:v>
                </c:pt>
                <c:pt idx="4">
                  <c:v>32410</c:v>
                </c:pt>
                <c:pt idx="5">
                  <c:v>32400</c:v>
                </c:pt>
                <c:pt idx="6">
                  <c:v>32400</c:v>
                </c:pt>
                <c:pt idx="7">
                  <c:v>32400</c:v>
                </c:pt>
                <c:pt idx="8">
                  <c:v>32400</c:v>
                </c:pt>
                <c:pt idx="9">
                  <c:v>32400</c:v>
                </c:pt>
                <c:pt idx="10">
                  <c:v>32400</c:v>
                </c:pt>
                <c:pt idx="11">
                  <c:v>32550</c:v>
                </c:pt>
                <c:pt idx="12">
                  <c:v>32590</c:v>
                </c:pt>
                <c:pt idx="13">
                  <c:v>32550</c:v>
                </c:pt>
                <c:pt idx="14">
                  <c:v>32550</c:v>
                </c:pt>
                <c:pt idx="15">
                  <c:v>32550</c:v>
                </c:pt>
                <c:pt idx="16">
                  <c:v>32550</c:v>
                </c:pt>
                <c:pt idx="17">
                  <c:v>32660</c:v>
                </c:pt>
                <c:pt idx="18">
                  <c:v>32690</c:v>
                </c:pt>
                <c:pt idx="19">
                  <c:v>32690</c:v>
                </c:pt>
                <c:pt idx="20">
                  <c:v>32690</c:v>
                </c:pt>
                <c:pt idx="21">
                  <c:v>32670</c:v>
                </c:pt>
                <c:pt idx="22">
                  <c:v>32670</c:v>
                </c:pt>
                <c:pt idx="23">
                  <c:v>32740</c:v>
                </c:pt>
                <c:pt idx="24">
                  <c:v>32700</c:v>
                </c:pt>
                <c:pt idx="25">
                  <c:v>32700</c:v>
                </c:pt>
                <c:pt idx="26">
                  <c:v>32700</c:v>
                </c:pt>
                <c:pt idx="27">
                  <c:v>32700</c:v>
                </c:pt>
                <c:pt idx="28">
                  <c:v>32660</c:v>
                </c:pt>
                <c:pt idx="29">
                  <c:v>32660</c:v>
                </c:pt>
                <c:pt idx="30">
                  <c:v>32740</c:v>
                </c:pt>
                <c:pt idx="31">
                  <c:v>32740</c:v>
                </c:pt>
                <c:pt idx="32">
                  <c:v>32700</c:v>
                </c:pt>
                <c:pt idx="33">
                  <c:v>32700</c:v>
                </c:pt>
                <c:pt idx="34">
                  <c:v>32700</c:v>
                </c:pt>
                <c:pt idx="35">
                  <c:v>32700</c:v>
                </c:pt>
                <c:pt idx="36">
                  <c:v>32700</c:v>
                </c:pt>
                <c:pt idx="37">
                  <c:v>32700</c:v>
                </c:pt>
                <c:pt idx="38">
                  <c:v>32700</c:v>
                </c:pt>
                <c:pt idx="39">
                  <c:v>32700</c:v>
                </c:pt>
                <c:pt idx="40">
                  <c:v>32700</c:v>
                </c:pt>
                <c:pt idx="41">
                  <c:v>32580</c:v>
                </c:pt>
                <c:pt idx="42">
                  <c:v>32550</c:v>
                </c:pt>
                <c:pt idx="43">
                  <c:v>32500</c:v>
                </c:pt>
                <c:pt idx="44">
                  <c:v>32300</c:v>
                </c:pt>
                <c:pt idx="45">
                  <c:v>32010</c:v>
                </c:pt>
                <c:pt idx="46">
                  <c:v>32010</c:v>
                </c:pt>
                <c:pt idx="47">
                  <c:v>31960</c:v>
                </c:pt>
                <c:pt idx="48">
                  <c:v>31960</c:v>
                </c:pt>
                <c:pt idx="49">
                  <c:v>31960</c:v>
                </c:pt>
                <c:pt idx="50">
                  <c:v>31930</c:v>
                </c:pt>
                <c:pt idx="51">
                  <c:v>32000</c:v>
                </c:pt>
                <c:pt idx="52">
                  <c:v>32000</c:v>
                </c:pt>
                <c:pt idx="53">
                  <c:v>32160</c:v>
                </c:pt>
                <c:pt idx="54">
                  <c:v>32200</c:v>
                </c:pt>
                <c:pt idx="55">
                  <c:v>32200</c:v>
                </c:pt>
                <c:pt idx="56">
                  <c:v>32520</c:v>
                </c:pt>
                <c:pt idx="57">
                  <c:v>32520</c:v>
                </c:pt>
                <c:pt idx="58">
                  <c:v>32650</c:v>
                </c:pt>
                <c:pt idx="59">
                  <c:v>32650</c:v>
                </c:pt>
                <c:pt idx="60">
                  <c:v>32650</c:v>
                </c:pt>
                <c:pt idx="61">
                  <c:v>32390</c:v>
                </c:pt>
                <c:pt idx="62">
                  <c:v>32120</c:v>
                </c:pt>
                <c:pt idx="63">
                  <c:v>32250</c:v>
                </c:pt>
                <c:pt idx="64">
                  <c:v>32250</c:v>
                </c:pt>
                <c:pt idx="65">
                  <c:v>32250</c:v>
                </c:pt>
                <c:pt idx="66">
                  <c:v>32250</c:v>
                </c:pt>
                <c:pt idx="67">
                  <c:v>32250</c:v>
                </c:pt>
                <c:pt idx="68">
                  <c:v>32350</c:v>
                </c:pt>
                <c:pt idx="69">
                  <c:v>32360</c:v>
                </c:pt>
                <c:pt idx="70">
                  <c:v>32690</c:v>
                </c:pt>
                <c:pt idx="71">
                  <c:v>32690</c:v>
                </c:pt>
                <c:pt idx="72">
                  <c:v>32740</c:v>
                </c:pt>
                <c:pt idx="73">
                  <c:v>32740</c:v>
                </c:pt>
                <c:pt idx="74">
                  <c:v>32740</c:v>
                </c:pt>
                <c:pt idx="75">
                  <c:v>32740</c:v>
                </c:pt>
                <c:pt idx="76">
                  <c:v>32930</c:v>
                </c:pt>
                <c:pt idx="77">
                  <c:v>32950</c:v>
                </c:pt>
                <c:pt idx="78">
                  <c:v>33550</c:v>
                </c:pt>
                <c:pt idx="79">
                  <c:v>33830</c:v>
                </c:pt>
                <c:pt idx="80">
                  <c:v>33920</c:v>
                </c:pt>
                <c:pt idx="81">
                  <c:v>33610</c:v>
                </c:pt>
                <c:pt idx="82">
                  <c:v>33700</c:v>
                </c:pt>
                <c:pt idx="83">
                  <c:v>33600</c:v>
                </c:pt>
                <c:pt idx="84">
                  <c:v>33400</c:v>
                </c:pt>
                <c:pt idx="85">
                  <c:v>33210</c:v>
                </c:pt>
                <c:pt idx="86">
                  <c:v>33150</c:v>
                </c:pt>
                <c:pt idx="87">
                  <c:v>33200</c:v>
                </c:pt>
                <c:pt idx="88">
                  <c:v>32930</c:v>
                </c:pt>
                <c:pt idx="89">
                  <c:v>32880</c:v>
                </c:pt>
                <c:pt idx="90">
                  <c:v>32880</c:v>
                </c:pt>
                <c:pt idx="91">
                  <c:v>32880</c:v>
                </c:pt>
                <c:pt idx="92">
                  <c:v>32950</c:v>
                </c:pt>
                <c:pt idx="93">
                  <c:v>32930</c:v>
                </c:pt>
                <c:pt idx="94">
                  <c:v>32790</c:v>
                </c:pt>
                <c:pt idx="95">
                  <c:v>32810</c:v>
                </c:pt>
                <c:pt idx="96">
                  <c:v>32860</c:v>
                </c:pt>
                <c:pt idx="97">
                  <c:v>32890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Индексы_Мир_СПбМТСБ!$AF$1</c:f>
              <c:strCache>
                <c:ptCount val="1"/>
                <c:pt idx="0">
                  <c:v>Июн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H$1166:$BH$1432</c:f>
              <c:numCache>
                <c:formatCode>General</c:formatCode>
                <c:ptCount val="267"/>
                <c:pt idx="36" formatCode="#,##0.00">
                  <c:v>33280</c:v>
                </c:pt>
                <c:pt idx="37" formatCode="#,##0.00">
                  <c:v>33280</c:v>
                </c:pt>
                <c:pt idx="38" formatCode="#,##0.00">
                  <c:v>33280</c:v>
                </c:pt>
                <c:pt idx="39" formatCode="#,##0.00">
                  <c:v>33280</c:v>
                </c:pt>
                <c:pt idx="40" formatCode="#,##0.00">
                  <c:v>33280</c:v>
                </c:pt>
                <c:pt idx="41" formatCode="#,##0.00">
                  <c:v>32710</c:v>
                </c:pt>
                <c:pt idx="42" formatCode="#,##0.00">
                  <c:v>32700</c:v>
                </c:pt>
                <c:pt idx="43" formatCode="#,##0.00">
                  <c:v>32700</c:v>
                </c:pt>
                <c:pt idx="44" formatCode="#,##0.00">
                  <c:v>32500</c:v>
                </c:pt>
                <c:pt idx="45" formatCode="#,##0.00">
                  <c:v>32500</c:v>
                </c:pt>
                <c:pt idx="46" formatCode="#,##0.00">
                  <c:v>32500</c:v>
                </c:pt>
                <c:pt idx="47" formatCode="#,##0.00">
                  <c:v>32500</c:v>
                </c:pt>
                <c:pt idx="48" formatCode="#,##0.00">
                  <c:v>32400</c:v>
                </c:pt>
                <c:pt idx="49" formatCode="#,##0.00">
                  <c:v>32330</c:v>
                </c:pt>
                <c:pt idx="50" formatCode="#,##0.00">
                  <c:v>32300</c:v>
                </c:pt>
                <c:pt idx="51" formatCode="#,##0.00">
                  <c:v>32300</c:v>
                </c:pt>
                <c:pt idx="52" formatCode="#,##0.00">
                  <c:v>32300</c:v>
                </c:pt>
                <c:pt idx="53" formatCode="#,##0.00">
                  <c:v>32300</c:v>
                </c:pt>
                <c:pt idx="54" formatCode="#,##0.00">
                  <c:v>32320</c:v>
                </c:pt>
                <c:pt idx="55" formatCode="#,##0.00">
                  <c:v>32340</c:v>
                </c:pt>
                <c:pt idx="56" formatCode="#,##0.00">
                  <c:v>32550</c:v>
                </c:pt>
                <c:pt idx="57" formatCode="#,##0.00">
                  <c:v>32610</c:v>
                </c:pt>
                <c:pt idx="58" formatCode="#,##0.00">
                  <c:v>32650</c:v>
                </c:pt>
                <c:pt idx="59" formatCode="#,##0.00">
                  <c:v>32650</c:v>
                </c:pt>
                <c:pt idx="60" formatCode="#,##0.00">
                  <c:v>32650</c:v>
                </c:pt>
                <c:pt idx="61" formatCode="#,##0.00">
                  <c:v>32550</c:v>
                </c:pt>
                <c:pt idx="62" formatCode="#,##0.00">
                  <c:v>32380</c:v>
                </c:pt>
                <c:pt idx="63" formatCode="#,##0.00">
                  <c:v>32380</c:v>
                </c:pt>
                <c:pt idx="64" formatCode="#,##0.00">
                  <c:v>32380</c:v>
                </c:pt>
                <c:pt idx="65" formatCode="#,##0.00">
                  <c:v>32380</c:v>
                </c:pt>
                <c:pt idx="66" formatCode="#,##0.00">
                  <c:v>32380</c:v>
                </c:pt>
                <c:pt idx="67" formatCode="#,##0.00">
                  <c:v>32380</c:v>
                </c:pt>
                <c:pt idx="68" formatCode="#,##0.00">
                  <c:v>32420</c:v>
                </c:pt>
                <c:pt idx="69" formatCode="#,##0.00">
                  <c:v>32450</c:v>
                </c:pt>
                <c:pt idx="70" formatCode="#,##0.00">
                  <c:v>32560</c:v>
                </c:pt>
                <c:pt idx="71" formatCode="#,##0.00">
                  <c:v>32560</c:v>
                </c:pt>
                <c:pt idx="72" formatCode="#,##0.00">
                  <c:v>32560</c:v>
                </c:pt>
                <c:pt idx="73" formatCode="#,##0.00">
                  <c:v>32560</c:v>
                </c:pt>
                <c:pt idx="74" formatCode="#,##0.00">
                  <c:v>32600</c:v>
                </c:pt>
                <c:pt idx="75" formatCode="#,##0.00">
                  <c:v>32650</c:v>
                </c:pt>
                <c:pt idx="76" formatCode="#,##0.00">
                  <c:v>32920</c:v>
                </c:pt>
                <c:pt idx="77" formatCode="#,##0.00">
                  <c:v>33000</c:v>
                </c:pt>
                <c:pt idx="78" formatCode="#,##0.00">
                  <c:v>33490</c:v>
                </c:pt>
                <c:pt idx="79" formatCode="#,##0.00">
                  <c:v>33650</c:v>
                </c:pt>
                <c:pt idx="80" formatCode="#,##0.00">
                  <c:v>33630</c:v>
                </c:pt>
                <c:pt idx="81" formatCode="#,##0.00">
                  <c:v>33410</c:v>
                </c:pt>
                <c:pt idx="82" formatCode="#,##0.00">
                  <c:v>33430</c:v>
                </c:pt>
                <c:pt idx="83" formatCode="#,##0.00">
                  <c:v>33480</c:v>
                </c:pt>
                <c:pt idx="84" formatCode="#,##0.00">
                  <c:v>33140</c:v>
                </c:pt>
                <c:pt idx="85" formatCode="#,##0.00">
                  <c:v>33110</c:v>
                </c:pt>
                <c:pt idx="86" formatCode="#,##0.00">
                  <c:v>32980</c:v>
                </c:pt>
                <c:pt idx="87" formatCode="#,##0.00">
                  <c:v>33120</c:v>
                </c:pt>
                <c:pt idx="88" formatCode="#,##0.00">
                  <c:v>32870</c:v>
                </c:pt>
                <c:pt idx="89" formatCode="#,##0.00">
                  <c:v>32870</c:v>
                </c:pt>
                <c:pt idx="90" formatCode="#,##0.00">
                  <c:v>32800</c:v>
                </c:pt>
                <c:pt idx="91" formatCode="#,##0.00">
                  <c:v>32800</c:v>
                </c:pt>
                <c:pt idx="92" formatCode="#,##0.00">
                  <c:v>32800</c:v>
                </c:pt>
                <c:pt idx="93" formatCode="#,##0.00">
                  <c:v>32800</c:v>
                </c:pt>
                <c:pt idx="94" formatCode="#,##0.00">
                  <c:v>32750</c:v>
                </c:pt>
                <c:pt idx="95" formatCode="#,##0.00">
                  <c:v>32900</c:v>
                </c:pt>
                <c:pt idx="96" formatCode="#,##0.00">
                  <c:v>32800</c:v>
                </c:pt>
                <c:pt idx="97" formatCode="#,##0.00">
                  <c:v>32810</c:v>
                </c:pt>
                <c:pt idx="98" formatCode="#,##0.00">
                  <c:v>32850</c:v>
                </c:pt>
                <c:pt idx="99" formatCode="#,##0.00">
                  <c:v>32680</c:v>
                </c:pt>
                <c:pt idx="100" formatCode="#,##0.00">
                  <c:v>32680</c:v>
                </c:pt>
                <c:pt idx="101" formatCode="#,##0.00">
                  <c:v>32710</c:v>
                </c:pt>
                <c:pt idx="102" formatCode="#,##0.00">
                  <c:v>32710</c:v>
                </c:pt>
                <c:pt idx="103" formatCode="#,##0.00">
                  <c:v>32750</c:v>
                </c:pt>
                <c:pt idx="104" formatCode="#,##0.00">
                  <c:v>32800</c:v>
                </c:pt>
                <c:pt idx="105" formatCode="#,##0.00">
                  <c:v>32800</c:v>
                </c:pt>
                <c:pt idx="106" formatCode="#,##0.00">
                  <c:v>32800</c:v>
                </c:pt>
                <c:pt idx="107" formatCode="#,##0.00">
                  <c:v>32800</c:v>
                </c:pt>
                <c:pt idx="108" formatCode="#,##0.00">
                  <c:v>32850</c:v>
                </c:pt>
                <c:pt idx="109" formatCode="#,##0.00">
                  <c:v>32900</c:v>
                </c:pt>
                <c:pt idx="110" formatCode="#,##0.00">
                  <c:v>32900</c:v>
                </c:pt>
                <c:pt idx="111" formatCode="#,##0.00">
                  <c:v>32900</c:v>
                </c:pt>
                <c:pt idx="112" formatCode="#,##0.00">
                  <c:v>32900</c:v>
                </c:pt>
                <c:pt idx="113" formatCode="#,##0.00">
                  <c:v>32900</c:v>
                </c:pt>
                <c:pt idx="114" formatCode="#,##0.00">
                  <c:v>32900</c:v>
                </c:pt>
                <c:pt idx="115" formatCode="#,##0.00">
                  <c:v>32900</c:v>
                </c:pt>
                <c:pt idx="116" formatCode="#,##0.00">
                  <c:v>33060</c:v>
                </c:pt>
                <c:pt idx="117" formatCode="#,##0.00">
                  <c:v>33100</c:v>
                </c:pt>
                <c:pt idx="118" formatCode="#,##0.00">
                  <c:v>33100</c:v>
                </c:pt>
                <c:pt idx="119" formatCode="#,##0.00">
                  <c:v>33100</c:v>
                </c:pt>
                <c:pt idx="120" formatCode="#,##0.00">
                  <c:v>33100</c:v>
                </c:pt>
                <c:pt idx="121" formatCode="#,##0.00">
                  <c:v>33100</c:v>
                </c:pt>
                <c:pt idx="122" formatCode="#,##0.00">
                  <c:v>33050</c:v>
                </c:pt>
                <c:pt idx="123" formatCode="#,##0.00">
                  <c:v>32910</c:v>
                </c:pt>
                <c:pt idx="124" formatCode="#,##0.00">
                  <c:v>32910</c:v>
                </c:pt>
                <c:pt idx="125" formatCode="#,##0.00">
                  <c:v>32910</c:v>
                </c:pt>
                <c:pt idx="126" formatCode="#,##0.00">
                  <c:v>32910</c:v>
                </c:pt>
                <c:pt idx="127" formatCode="#,##0.00">
                  <c:v>33130</c:v>
                </c:pt>
                <c:pt idx="128" formatCode="#,##0.00">
                  <c:v>33130</c:v>
                </c:pt>
                <c:pt idx="129" formatCode="#,##0.00">
                  <c:v>33050</c:v>
                </c:pt>
                <c:pt idx="130" formatCode="#,##0.00">
                  <c:v>32880</c:v>
                </c:pt>
                <c:pt idx="131" formatCode="#,##0.00">
                  <c:v>32880</c:v>
                </c:pt>
                <c:pt idx="132" formatCode="#,##0.00">
                  <c:v>32880</c:v>
                </c:pt>
                <c:pt idx="133" formatCode="#,##0.00">
                  <c:v>32880</c:v>
                </c:pt>
                <c:pt idx="134" formatCode="#,##0.00">
                  <c:v>32700</c:v>
                </c:pt>
                <c:pt idx="135" formatCode="#,##0.00">
                  <c:v>32700</c:v>
                </c:pt>
                <c:pt idx="136" formatCode="#,##0.00">
                  <c:v>32710</c:v>
                </c:pt>
                <c:pt idx="137" formatCode="#,##0.00">
                  <c:v>32710</c:v>
                </c:pt>
                <c:pt idx="138" formatCode="#,##0.00">
                  <c:v>32850</c:v>
                </c:pt>
                <c:pt idx="139" formatCode="#,##0.00">
                  <c:v>32950</c:v>
                </c:pt>
                <c:pt idx="140" formatCode="#,##0.00">
                  <c:v>32720</c:v>
                </c:pt>
                <c:pt idx="141" formatCode="#,##0.00">
                  <c:v>32700</c:v>
                </c:pt>
                <c:pt idx="142" formatCode="#,##0.00">
                  <c:v>32560</c:v>
                </c:pt>
                <c:pt idx="143" formatCode="#,##0.00">
                  <c:v>32700</c:v>
                </c:pt>
                <c:pt idx="144" formatCode="#,##0.00">
                  <c:v>32520</c:v>
                </c:pt>
                <c:pt idx="145" formatCode="#,##0.00">
                  <c:v>32520</c:v>
                </c:pt>
                <c:pt idx="146" formatCode="#,##0.00">
                  <c:v>32580</c:v>
                </c:pt>
                <c:pt idx="147" formatCode="#,##0.00">
                  <c:v>33040</c:v>
                </c:pt>
                <c:pt idx="148" formatCode="#,##0.00">
                  <c:v>33100</c:v>
                </c:pt>
                <c:pt idx="149" formatCode="#,##0.00">
                  <c:v>33100</c:v>
                </c:pt>
                <c:pt idx="150" formatCode="#,##0.00">
                  <c:v>33200</c:v>
                </c:pt>
                <c:pt idx="151" formatCode="#,##0.00">
                  <c:v>33100</c:v>
                </c:pt>
                <c:pt idx="152" formatCode="#,##0.00">
                  <c:v>32980</c:v>
                </c:pt>
                <c:pt idx="153" formatCode="#,##0.00">
                  <c:v>32920</c:v>
                </c:pt>
                <c:pt idx="154" formatCode="#,##0.00">
                  <c:v>32750</c:v>
                </c:pt>
                <c:pt idx="155" formatCode="#,##0.00">
                  <c:v>32800</c:v>
                </c:pt>
                <c:pt idx="156" formatCode="#,##0.00">
                  <c:v>32850</c:v>
                </c:pt>
                <c:pt idx="157" formatCode="#,##0.00">
                  <c:v>32850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Индексы_Мир_СПбМТСБ!$BI$1</c:f>
              <c:strCache>
                <c:ptCount val="1"/>
                <c:pt idx="0">
                  <c:v>Июл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I$1166:$BI$1432</c:f>
              <c:numCache>
                <c:formatCode>General</c:formatCode>
                <c:ptCount val="267"/>
                <c:pt idx="120" formatCode="#,##0.00">
                  <c:v>33370</c:v>
                </c:pt>
                <c:pt idx="121" formatCode="#,##0.00">
                  <c:v>33370</c:v>
                </c:pt>
                <c:pt idx="122" formatCode="#,##0.00">
                  <c:v>33370</c:v>
                </c:pt>
                <c:pt idx="123" formatCode="#,##0.00">
                  <c:v>33370</c:v>
                </c:pt>
                <c:pt idx="124" formatCode="#,##0.00">
                  <c:v>33370</c:v>
                </c:pt>
                <c:pt idx="125" formatCode="#,##0.00">
                  <c:v>33370</c:v>
                </c:pt>
                <c:pt idx="126" formatCode="#,##0.00">
                  <c:v>33370</c:v>
                </c:pt>
                <c:pt idx="127" formatCode="#,##0.00">
                  <c:v>33370</c:v>
                </c:pt>
                <c:pt idx="128" formatCode="#,##0.00">
                  <c:v>33370</c:v>
                </c:pt>
                <c:pt idx="129" formatCode="#,##0.00">
                  <c:v>33370</c:v>
                </c:pt>
                <c:pt idx="130" formatCode="#,##0.00">
                  <c:v>33370</c:v>
                </c:pt>
                <c:pt idx="131" formatCode="#,##0.00">
                  <c:v>33370</c:v>
                </c:pt>
                <c:pt idx="132" formatCode="#,##0.00">
                  <c:v>33370</c:v>
                </c:pt>
                <c:pt idx="133" formatCode="#,##0.00">
                  <c:v>33370</c:v>
                </c:pt>
                <c:pt idx="134" formatCode="#,##0.00">
                  <c:v>33370</c:v>
                </c:pt>
                <c:pt idx="135" formatCode="#,##0.00">
                  <c:v>33370</c:v>
                </c:pt>
                <c:pt idx="136" formatCode="#,##0.00">
                  <c:v>33370</c:v>
                </c:pt>
                <c:pt idx="137" formatCode="#,##0.00">
                  <c:v>33370</c:v>
                </c:pt>
                <c:pt idx="138" formatCode="#,##0.00">
                  <c:v>33370</c:v>
                </c:pt>
                <c:pt idx="139" formatCode="#,##0.00">
                  <c:v>32860</c:v>
                </c:pt>
                <c:pt idx="140" formatCode="#,##0.00">
                  <c:v>32850</c:v>
                </c:pt>
                <c:pt idx="141" formatCode="#,##0.00">
                  <c:v>32700</c:v>
                </c:pt>
                <c:pt idx="142" formatCode="#,##0.00">
                  <c:v>32600</c:v>
                </c:pt>
                <c:pt idx="143" formatCode="#,##0.00">
                  <c:v>32600</c:v>
                </c:pt>
                <c:pt idx="144" formatCode="#,##0.00">
                  <c:v>32600</c:v>
                </c:pt>
                <c:pt idx="145" formatCode="#,##0.00">
                  <c:v>32600</c:v>
                </c:pt>
                <c:pt idx="146" formatCode="#,##0.00">
                  <c:v>32600</c:v>
                </c:pt>
                <c:pt idx="147" formatCode="#,##0.00">
                  <c:v>32930</c:v>
                </c:pt>
                <c:pt idx="148" formatCode="#,##0.00">
                  <c:v>33000</c:v>
                </c:pt>
                <c:pt idx="149" formatCode="#,##0.00">
                  <c:v>33010</c:v>
                </c:pt>
                <c:pt idx="150" formatCode="#,##0.00">
                  <c:v>33350</c:v>
                </c:pt>
                <c:pt idx="151" formatCode="#,##0.00">
                  <c:v>33140</c:v>
                </c:pt>
                <c:pt idx="152" formatCode="#,##0.00">
                  <c:v>33140</c:v>
                </c:pt>
                <c:pt idx="153" formatCode="#,##0.00">
                  <c:v>32880</c:v>
                </c:pt>
                <c:pt idx="154" formatCode="#,##0.00">
                  <c:v>32600</c:v>
                </c:pt>
                <c:pt idx="155" formatCode="#,##0.00">
                  <c:v>32700</c:v>
                </c:pt>
                <c:pt idx="156" formatCode="#,##0.00">
                  <c:v>32800</c:v>
                </c:pt>
                <c:pt idx="157" formatCode="#,##0.00">
                  <c:v>32610</c:v>
                </c:pt>
                <c:pt idx="158" formatCode="#,##0.00">
                  <c:v>32610</c:v>
                </c:pt>
                <c:pt idx="159" formatCode="#,##0.00">
                  <c:v>32610</c:v>
                </c:pt>
                <c:pt idx="160" formatCode="#,##0.00">
                  <c:v>32430</c:v>
                </c:pt>
                <c:pt idx="161" formatCode="#,##0.00">
                  <c:v>32520</c:v>
                </c:pt>
                <c:pt idx="162" formatCode="#,##0.00">
                  <c:v>32520</c:v>
                </c:pt>
                <c:pt idx="163" formatCode="#,##0.00">
                  <c:v>32490</c:v>
                </c:pt>
                <c:pt idx="164" formatCode="#,##0.00">
                  <c:v>32380</c:v>
                </c:pt>
                <c:pt idx="165" formatCode="#,##0.00">
                  <c:v>32000</c:v>
                </c:pt>
                <c:pt idx="166" formatCode="#,##0.00">
                  <c:v>31900</c:v>
                </c:pt>
                <c:pt idx="167" formatCode="#,##0.00">
                  <c:v>31720</c:v>
                </c:pt>
                <c:pt idx="168" formatCode="#,##0.00">
                  <c:v>31830</c:v>
                </c:pt>
                <c:pt idx="169" formatCode="#,##0.00">
                  <c:v>31900</c:v>
                </c:pt>
                <c:pt idx="170" formatCode="#,##0.00">
                  <c:v>31900</c:v>
                </c:pt>
                <c:pt idx="171" formatCode="#,##0.00">
                  <c:v>32000</c:v>
                </c:pt>
                <c:pt idx="172" formatCode="#,##0.00">
                  <c:v>31810</c:v>
                </c:pt>
                <c:pt idx="173" formatCode="#,##0.00">
                  <c:v>31810</c:v>
                </c:pt>
                <c:pt idx="174" formatCode="#,##0.00">
                  <c:v>31810</c:v>
                </c:pt>
                <c:pt idx="175" formatCode="#,##0.00">
                  <c:v>31810</c:v>
                </c:pt>
                <c:pt idx="176" formatCode="#,##0.00">
                  <c:v>31810</c:v>
                </c:pt>
                <c:pt idx="177" formatCode="#,##0.00">
                  <c:v>31870</c:v>
                </c:pt>
                <c:pt idx="178" formatCode="#,##0.00">
                  <c:v>31900</c:v>
                </c:pt>
                <c:pt idx="179" formatCode="#,##0.00">
                  <c:v>31950</c:v>
                </c:pt>
                <c:pt idx="180" formatCode="#,##0.00">
                  <c:v>32040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Индексы_Мир_СПбМТСБ!$BJ$1</c:f>
              <c:strCache>
                <c:ptCount val="1"/>
                <c:pt idx="0">
                  <c:v>Августовсик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J$1166:$BJ$1432</c:f>
              <c:numCache>
                <c:formatCode>General</c:formatCode>
                <c:ptCount val="267"/>
                <c:pt idx="139" formatCode="#,##0.00">
                  <c:v>33620</c:v>
                </c:pt>
                <c:pt idx="140" formatCode="#,##0.00">
                  <c:v>33620</c:v>
                </c:pt>
                <c:pt idx="141" formatCode="#,##0.00">
                  <c:v>33620</c:v>
                </c:pt>
                <c:pt idx="142" formatCode="#,##0.00">
                  <c:v>33620</c:v>
                </c:pt>
                <c:pt idx="143" formatCode="#,##0.00">
                  <c:v>33620</c:v>
                </c:pt>
                <c:pt idx="144" formatCode="#,##0.00">
                  <c:v>33620</c:v>
                </c:pt>
                <c:pt idx="145" formatCode="#,##0.00">
                  <c:v>33620</c:v>
                </c:pt>
                <c:pt idx="146" formatCode="#,##0.00">
                  <c:v>33620</c:v>
                </c:pt>
                <c:pt idx="147" formatCode="#,##0.00">
                  <c:v>33620</c:v>
                </c:pt>
                <c:pt idx="148" formatCode="#,##0.00">
                  <c:v>33620</c:v>
                </c:pt>
                <c:pt idx="149" formatCode="#,##0.00">
                  <c:v>33620</c:v>
                </c:pt>
                <c:pt idx="150" formatCode="#,##0.00">
                  <c:v>33620</c:v>
                </c:pt>
                <c:pt idx="151" formatCode="#,##0.00">
                  <c:v>33620</c:v>
                </c:pt>
                <c:pt idx="152" formatCode="#,##0.00">
                  <c:v>33620</c:v>
                </c:pt>
                <c:pt idx="153" formatCode="#,##0.00">
                  <c:v>33620</c:v>
                </c:pt>
                <c:pt idx="154" formatCode="#,##0.00">
                  <c:v>33620</c:v>
                </c:pt>
                <c:pt idx="155" formatCode="#,##0.00">
                  <c:v>33620</c:v>
                </c:pt>
                <c:pt idx="156" formatCode="#,##0.00">
                  <c:v>33620</c:v>
                </c:pt>
                <c:pt idx="157" formatCode="#,##0.00">
                  <c:v>33620</c:v>
                </c:pt>
                <c:pt idx="158" formatCode="#,##0.00">
                  <c:v>32850</c:v>
                </c:pt>
                <c:pt idx="159" formatCode="#,##0.00">
                  <c:v>32750</c:v>
                </c:pt>
                <c:pt idx="160" formatCode="#,##0.00">
                  <c:v>32500</c:v>
                </c:pt>
                <c:pt idx="161" formatCode="#,##0.00">
                  <c:v>32500</c:v>
                </c:pt>
                <c:pt idx="162" formatCode="#,##0.00">
                  <c:v>32500</c:v>
                </c:pt>
                <c:pt idx="163" formatCode="#,##0.00">
                  <c:v>32500</c:v>
                </c:pt>
                <c:pt idx="164" formatCode="#,##0.00">
                  <c:v>32450</c:v>
                </c:pt>
                <c:pt idx="165" formatCode="#,##0.00">
                  <c:v>32190</c:v>
                </c:pt>
                <c:pt idx="166" formatCode="#,##0.00">
                  <c:v>31900</c:v>
                </c:pt>
                <c:pt idx="167" formatCode="#,##0.00">
                  <c:v>31800</c:v>
                </c:pt>
                <c:pt idx="168" formatCode="#,##0.00">
                  <c:v>31800</c:v>
                </c:pt>
                <c:pt idx="169" formatCode="#,##0.00">
                  <c:v>31950</c:v>
                </c:pt>
                <c:pt idx="170" formatCode="#,##0.00">
                  <c:v>31950</c:v>
                </c:pt>
                <c:pt idx="171" formatCode="#,##0.00">
                  <c:v>31950</c:v>
                </c:pt>
                <c:pt idx="172" formatCode="#,##0.00">
                  <c:v>31950</c:v>
                </c:pt>
                <c:pt idx="173" formatCode="#,##0.00">
                  <c:v>31950</c:v>
                </c:pt>
                <c:pt idx="174" formatCode="#,##0.00">
                  <c:v>31950</c:v>
                </c:pt>
                <c:pt idx="175" formatCode="#,##0.00">
                  <c:v>31950</c:v>
                </c:pt>
                <c:pt idx="176" formatCode="#,##0.00">
                  <c:v>31850</c:v>
                </c:pt>
                <c:pt idx="177" formatCode="#,##0.00">
                  <c:v>31950</c:v>
                </c:pt>
                <c:pt idx="178" formatCode="#,##0.00">
                  <c:v>32010</c:v>
                </c:pt>
                <c:pt idx="179" formatCode="#,##0.00">
                  <c:v>32060</c:v>
                </c:pt>
                <c:pt idx="180" formatCode="#,##0.00">
                  <c:v>32100</c:v>
                </c:pt>
                <c:pt idx="181" formatCode="#,##0.00">
                  <c:v>32170</c:v>
                </c:pt>
                <c:pt idx="182" formatCode="#,##0.00">
                  <c:v>32170</c:v>
                </c:pt>
                <c:pt idx="183" formatCode="#,##0.00">
                  <c:v>32170</c:v>
                </c:pt>
                <c:pt idx="184" formatCode="#,##0.00">
                  <c:v>32170</c:v>
                </c:pt>
                <c:pt idx="185" formatCode="#,##0.00">
                  <c:v>32170</c:v>
                </c:pt>
                <c:pt idx="186" formatCode="#,##0.00">
                  <c:v>32300</c:v>
                </c:pt>
                <c:pt idx="187" formatCode="#,##0.00">
                  <c:v>32020</c:v>
                </c:pt>
                <c:pt idx="188" formatCode="#,##0.00">
                  <c:v>32020</c:v>
                </c:pt>
                <c:pt idx="189" formatCode="#,##0.00">
                  <c:v>32020</c:v>
                </c:pt>
                <c:pt idx="190" formatCode="#,##0.00">
                  <c:v>32020</c:v>
                </c:pt>
                <c:pt idx="191" formatCode="#,##0.00">
                  <c:v>32020</c:v>
                </c:pt>
                <c:pt idx="192" formatCode="#,##0.00">
                  <c:v>32200</c:v>
                </c:pt>
                <c:pt idx="193" formatCode="#,##0.00">
                  <c:v>32180</c:v>
                </c:pt>
                <c:pt idx="194" formatCode="#,##0.00">
                  <c:v>32180</c:v>
                </c:pt>
                <c:pt idx="195" formatCode="#,##0.00">
                  <c:v>32180</c:v>
                </c:pt>
                <c:pt idx="196" formatCode="#,##0.00">
                  <c:v>32180</c:v>
                </c:pt>
                <c:pt idx="197" formatCode="#,##0.00">
                  <c:v>32180</c:v>
                </c:pt>
                <c:pt idx="198" formatCode="#,##0.00">
                  <c:v>32170</c:v>
                </c:pt>
                <c:pt idx="199" formatCode="#,##0.00">
                  <c:v>32170</c:v>
                </c:pt>
                <c:pt idx="200" formatCode="#,##0.00">
                  <c:v>32200</c:v>
                </c:pt>
                <c:pt idx="201" formatCode="#,##0.00">
                  <c:v>3229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Индексы_Мир_СПбМТСБ!$BK$1</c:f>
              <c:strCache>
                <c:ptCount val="1"/>
                <c:pt idx="0">
                  <c:v>Сент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K$1166:$BK$1432</c:f>
              <c:numCache>
                <c:formatCode>General</c:formatCode>
                <c:ptCount val="267"/>
                <c:pt idx="158" formatCode="#,##0.00">
                  <c:v>33890</c:v>
                </c:pt>
                <c:pt idx="159" formatCode="#,##0.00">
                  <c:v>33890</c:v>
                </c:pt>
                <c:pt idx="160" formatCode="#,##0.00">
                  <c:v>33890</c:v>
                </c:pt>
                <c:pt idx="161" formatCode="#,##0.00">
                  <c:v>33890</c:v>
                </c:pt>
                <c:pt idx="162" formatCode="#,##0.00">
                  <c:v>33890</c:v>
                </c:pt>
                <c:pt idx="163" formatCode="#,##0.00">
                  <c:v>33890</c:v>
                </c:pt>
                <c:pt idx="164" formatCode="#,##0.00">
                  <c:v>33890</c:v>
                </c:pt>
                <c:pt idx="165" formatCode="#,##0.00">
                  <c:v>33890</c:v>
                </c:pt>
                <c:pt idx="166" formatCode="#,##0.00">
                  <c:v>33890</c:v>
                </c:pt>
                <c:pt idx="167" formatCode="#,##0.00">
                  <c:v>33890</c:v>
                </c:pt>
                <c:pt idx="168" formatCode="#,##0.00">
                  <c:v>33890</c:v>
                </c:pt>
                <c:pt idx="169" formatCode="#,##0.00">
                  <c:v>33890</c:v>
                </c:pt>
                <c:pt idx="170" formatCode="#,##0.00">
                  <c:v>33890</c:v>
                </c:pt>
                <c:pt idx="171" formatCode="#,##0.00">
                  <c:v>33890</c:v>
                </c:pt>
                <c:pt idx="172" formatCode="#,##0.00">
                  <c:v>33890</c:v>
                </c:pt>
                <c:pt idx="173" formatCode="#,##0.00">
                  <c:v>33890</c:v>
                </c:pt>
                <c:pt idx="174" formatCode="#,##0.00">
                  <c:v>33890</c:v>
                </c:pt>
                <c:pt idx="175" formatCode="#,##0.00">
                  <c:v>33890</c:v>
                </c:pt>
                <c:pt idx="176" formatCode="#,##0.00">
                  <c:v>33890</c:v>
                </c:pt>
                <c:pt idx="177" formatCode="#,##0.00">
                  <c:v>33890</c:v>
                </c:pt>
                <c:pt idx="178" formatCode="#,##0.00">
                  <c:v>33890</c:v>
                </c:pt>
                <c:pt idx="179" formatCode="#,##0.00">
                  <c:v>33890</c:v>
                </c:pt>
                <c:pt idx="180" formatCode="#,##0.00">
                  <c:v>33890</c:v>
                </c:pt>
                <c:pt idx="181" formatCode="#,##0.00">
                  <c:v>32780</c:v>
                </c:pt>
                <c:pt idx="182" formatCode="#,##0.00">
                  <c:v>32300</c:v>
                </c:pt>
                <c:pt idx="183" formatCode="#,##0.00">
                  <c:v>32250</c:v>
                </c:pt>
                <c:pt idx="184" formatCode="#,##0.00">
                  <c:v>32250</c:v>
                </c:pt>
                <c:pt idx="185" formatCode="#,##0.00">
                  <c:v>32250</c:v>
                </c:pt>
                <c:pt idx="186" formatCode="#,##0.00">
                  <c:v>32270</c:v>
                </c:pt>
                <c:pt idx="187" formatCode="#,##0.00">
                  <c:v>32250</c:v>
                </c:pt>
                <c:pt idx="188" formatCode="#,##0.00">
                  <c:v>32250</c:v>
                </c:pt>
                <c:pt idx="189" formatCode="#,##0.00">
                  <c:v>32150</c:v>
                </c:pt>
                <c:pt idx="190" formatCode="#,##0.00">
                  <c:v>32150</c:v>
                </c:pt>
                <c:pt idx="191" formatCode="#,##0.00">
                  <c:v>32150</c:v>
                </c:pt>
                <c:pt idx="192" formatCode="#,##0.00">
                  <c:v>32150</c:v>
                </c:pt>
                <c:pt idx="193" formatCode="#,##0.00">
                  <c:v>32150</c:v>
                </c:pt>
                <c:pt idx="194" formatCode="#,##0.00">
                  <c:v>32150</c:v>
                </c:pt>
                <c:pt idx="195" formatCode="#,##0.00">
                  <c:v>32150</c:v>
                </c:pt>
                <c:pt idx="196" formatCode="#,##0.00">
                  <c:v>32150</c:v>
                </c:pt>
                <c:pt idx="197" formatCode="#,##0.00">
                  <c:v>32150</c:v>
                </c:pt>
                <c:pt idx="198" formatCode="#,##0.00">
                  <c:v>32160</c:v>
                </c:pt>
                <c:pt idx="199" formatCode="#,##0.00">
                  <c:v>32160</c:v>
                </c:pt>
                <c:pt idx="200" formatCode="#,##0.00">
                  <c:v>32550</c:v>
                </c:pt>
                <c:pt idx="201" formatCode="#,##0.00">
                  <c:v>32600</c:v>
                </c:pt>
                <c:pt idx="202" formatCode="#,##0.00">
                  <c:v>32600</c:v>
                </c:pt>
                <c:pt idx="203" formatCode="#,##0.00">
                  <c:v>32700</c:v>
                </c:pt>
                <c:pt idx="204" formatCode="#,##0.00">
                  <c:v>32750</c:v>
                </c:pt>
                <c:pt idx="205" formatCode="#,##0.00">
                  <c:v>32730</c:v>
                </c:pt>
                <c:pt idx="206" formatCode="#,##0.00">
                  <c:v>32850</c:v>
                </c:pt>
                <c:pt idx="207" formatCode="#,##0.00">
                  <c:v>32790</c:v>
                </c:pt>
                <c:pt idx="208" formatCode="#,##0.00">
                  <c:v>32750</c:v>
                </c:pt>
                <c:pt idx="209" formatCode="#,##0.00">
                  <c:v>32750</c:v>
                </c:pt>
                <c:pt idx="210" formatCode="#,##0.00">
                  <c:v>32640</c:v>
                </c:pt>
                <c:pt idx="211" formatCode="#,##0.00">
                  <c:v>32550</c:v>
                </c:pt>
                <c:pt idx="212" formatCode="#,##0.00">
                  <c:v>32500</c:v>
                </c:pt>
                <c:pt idx="213" formatCode="#,##0.00">
                  <c:v>32550</c:v>
                </c:pt>
                <c:pt idx="214" formatCode="#,##0.00">
                  <c:v>32550</c:v>
                </c:pt>
                <c:pt idx="215" formatCode="#,##0.00">
                  <c:v>32550</c:v>
                </c:pt>
                <c:pt idx="216" formatCode="#,##0.00">
                  <c:v>32550</c:v>
                </c:pt>
                <c:pt idx="217" formatCode="#,##0.00">
                  <c:v>32530</c:v>
                </c:pt>
                <c:pt idx="218" formatCode="#,##0.00">
                  <c:v>32580</c:v>
                </c:pt>
                <c:pt idx="219" formatCode="#,##0.00">
                  <c:v>32600</c:v>
                </c:pt>
                <c:pt idx="220" formatCode="#,##0.00">
                  <c:v>32700</c:v>
                </c:pt>
                <c:pt idx="221" formatCode="#,##0.00">
                  <c:v>32800</c:v>
                </c:pt>
                <c:pt idx="222" formatCode="#,##0.00">
                  <c:v>32880</c:v>
                </c:pt>
                <c:pt idx="223" formatCode="#,##0.00">
                  <c:v>33030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Индексы_Мир_СПбМТСБ!$BL$1</c:f>
              <c:strCache>
                <c:ptCount val="1"/>
                <c:pt idx="0">
                  <c:v>Окт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L$1166:$BL$1432</c:f>
              <c:numCache>
                <c:formatCode>General</c:formatCode>
                <c:ptCount val="267"/>
                <c:pt idx="181" formatCode="#,##0.00">
                  <c:v>34510</c:v>
                </c:pt>
                <c:pt idx="182" formatCode="#,##0.00">
                  <c:v>34510</c:v>
                </c:pt>
                <c:pt idx="183" formatCode="#,##0.00">
                  <c:v>34510</c:v>
                </c:pt>
                <c:pt idx="184" formatCode="#,##0.00">
                  <c:v>34510</c:v>
                </c:pt>
                <c:pt idx="185" formatCode="#,##0.00">
                  <c:v>34510</c:v>
                </c:pt>
                <c:pt idx="186" formatCode="#,##0.00">
                  <c:v>34510</c:v>
                </c:pt>
                <c:pt idx="187" formatCode="#,##0.00">
                  <c:v>34510</c:v>
                </c:pt>
                <c:pt idx="188" formatCode="#,##0.00">
                  <c:v>34510</c:v>
                </c:pt>
                <c:pt idx="189" formatCode="#,##0.00">
                  <c:v>34510</c:v>
                </c:pt>
                <c:pt idx="190" formatCode="#,##0.00">
                  <c:v>34510</c:v>
                </c:pt>
                <c:pt idx="191" formatCode="#,##0.00">
                  <c:v>34510</c:v>
                </c:pt>
                <c:pt idx="192" formatCode="#,##0.00">
                  <c:v>34510</c:v>
                </c:pt>
                <c:pt idx="193" formatCode="#,##0.00">
                  <c:v>34510</c:v>
                </c:pt>
                <c:pt idx="194" formatCode="#,##0.00">
                  <c:v>34510</c:v>
                </c:pt>
                <c:pt idx="195" formatCode="#,##0.00">
                  <c:v>34510</c:v>
                </c:pt>
                <c:pt idx="196" formatCode="#,##0.00">
                  <c:v>34510</c:v>
                </c:pt>
                <c:pt idx="197" formatCode="#,##0.00">
                  <c:v>34510</c:v>
                </c:pt>
                <c:pt idx="198" formatCode="#,##0.00">
                  <c:v>34510</c:v>
                </c:pt>
                <c:pt idx="199" formatCode="#,##0.00">
                  <c:v>34510</c:v>
                </c:pt>
                <c:pt idx="200" formatCode="#,##0.00">
                  <c:v>34510</c:v>
                </c:pt>
                <c:pt idx="201" formatCode="#,##0.00">
                  <c:v>34510</c:v>
                </c:pt>
                <c:pt idx="202" formatCode="#,##0.00">
                  <c:v>33390</c:v>
                </c:pt>
                <c:pt idx="203" formatCode="#,##0.00">
                  <c:v>32900</c:v>
                </c:pt>
                <c:pt idx="204" formatCode="#,##0.00">
                  <c:v>32900</c:v>
                </c:pt>
                <c:pt idx="205" formatCode="#,##0.00">
                  <c:v>32900</c:v>
                </c:pt>
                <c:pt idx="206" formatCode="#,##0.00">
                  <c:v>32900</c:v>
                </c:pt>
                <c:pt idx="207" formatCode="#,##0.00">
                  <c:v>32750</c:v>
                </c:pt>
                <c:pt idx="208" formatCode="#,##0.00">
                  <c:v>32750</c:v>
                </c:pt>
                <c:pt idx="209" formatCode="#,##0.00">
                  <c:v>32730</c:v>
                </c:pt>
                <c:pt idx="210" formatCode="#,##0.00">
                  <c:v>32640</c:v>
                </c:pt>
                <c:pt idx="211" formatCode="#,##0.00">
                  <c:v>32550</c:v>
                </c:pt>
                <c:pt idx="212" formatCode="#,##0.00">
                  <c:v>32550</c:v>
                </c:pt>
                <c:pt idx="213" formatCode="#,##0.00">
                  <c:v>32550</c:v>
                </c:pt>
                <c:pt idx="214" formatCode="#,##0.00">
                  <c:v>32550</c:v>
                </c:pt>
                <c:pt idx="215" formatCode="#,##0.00">
                  <c:v>32550</c:v>
                </c:pt>
                <c:pt idx="216" formatCode="#,##0.00">
                  <c:v>32550</c:v>
                </c:pt>
                <c:pt idx="217" formatCode="#,##0.00">
                  <c:v>32520</c:v>
                </c:pt>
                <c:pt idx="218" formatCode="#,##0.00">
                  <c:v>32600</c:v>
                </c:pt>
                <c:pt idx="219" formatCode="#,##0.00">
                  <c:v>32600</c:v>
                </c:pt>
                <c:pt idx="220" formatCode="#,##0.00">
                  <c:v>32600</c:v>
                </c:pt>
                <c:pt idx="221" formatCode="#,##0.00">
                  <c:v>32700</c:v>
                </c:pt>
                <c:pt idx="222" formatCode="#,##0.00">
                  <c:v>32920</c:v>
                </c:pt>
                <c:pt idx="223" formatCode="#,##0.00">
                  <c:v>32920</c:v>
                </c:pt>
                <c:pt idx="224" formatCode="#,##0.00">
                  <c:v>32800</c:v>
                </c:pt>
                <c:pt idx="225" formatCode="#,##0.00">
                  <c:v>32710</c:v>
                </c:pt>
                <c:pt idx="226" formatCode="#,##0.00">
                  <c:v>32710</c:v>
                </c:pt>
                <c:pt idx="227" formatCode="#,##0.00">
                  <c:v>32710</c:v>
                </c:pt>
                <c:pt idx="228" formatCode="#,##0.00">
                  <c:v>32710</c:v>
                </c:pt>
                <c:pt idx="229" formatCode="#,##0.00">
                  <c:v>32600</c:v>
                </c:pt>
                <c:pt idx="230" formatCode="#,##0.00">
                  <c:v>32430</c:v>
                </c:pt>
                <c:pt idx="231" formatCode="#,##0.00">
                  <c:v>32350</c:v>
                </c:pt>
                <c:pt idx="232" formatCode="#,##0.00">
                  <c:v>32350</c:v>
                </c:pt>
                <c:pt idx="233" formatCode="#,##0.00">
                  <c:v>32350</c:v>
                </c:pt>
                <c:pt idx="234" formatCode="#,##0.00">
                  <c:v>32350</c:v>
                </c:pt>
                <c:pt idx="235" formatCode="#,##0.00">
                  <c:v>32300</c:v>
                </c:pt>
                <c:pt idx="236" formatCode="#,##0.00">
                  <c:v>32300</c:v>
                </c:pt>
                <c:pt idx="237" formatCode="#,##0.00">
                  <c:v>32300</c:v>
                </c:pt>
                <c:pt idx="238" formatCode="#,##0.00">
                  <c:v>32300</c:v>
                </c:pt>
                <c:pt idx="239" formatCode="#,##0.00">
                  <c:v>32300</c:v>
                </c:pt>
                <c:pt idx="240" formatCode="#,##0.00">
                  <c:v>32150</c:v>
                </c:pt>
                <c:pt idx="241" formatCode="#,##0.00">
                  <c:v>32150</c:v>
                </c:pt>
                <c:pt idx="242" formatCode="#,##0.00">
                  <c:v>31680</c:v>
                </c:pt>
                <c:pt idx="243" formatCode="#,##0.00">
                  <c:v>31590</c:v>
                </c:pt>
                <c:pt idx="244" formatCode="#,##0.00">
                  <c:v>31590</c:v>
                </c:pt>
                <c:pt idx="245" formatCode="#,##0.00">
                  <c:v>31750</c:v>
                </c:pt>
                <c:pt idx="246" formatCode="#,##0.00">
                  <c:v>31750</c:v>
                </c:pt>
                <c:pt idx="247" formatCode="#,##0.00">
                  <c:v>31700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Индексы_Мир_СПбМТСБ!$BM$1</c:f>
              <c:strCache>
                <c:ptCount val="1"/>
                <c:pt idx="0">
                  <c:v>Но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M$1166:$BM$1432</c:f>
              <c:numCache>
                <c:formatCode>General</c:formatCode>
                <c:ptCount val="267"/>
                <c:pt idx="202" formatCode="#,##0.00">
                  <c:v>32960</c:v>
                </c:pt>
                <c:pt idx="203" formatCode="#,##0.00">
                  <c:v>32960</c:v>
                </c:pt>
                <c:pt idx="204" formatCode="#,##0.00">
                  <c:v>32960</c:v>
                </c:pt>
                <c:pt idx="205" formatCode="#,##0.00">
                  <c:v>32960</c:v>
                </c:pt>
                <c:pt idx="206" formatCode="#,##0.00">
                  <c:v>32960</c:v>
                </c:pt>
                <c:pt idx="207" formatCode="#,##0.00">
                  <c:v>32960</c:v>
                </c:pt>
                <c:pt idx="208" formatCode="#,##0.00">
                  <c:v>32960</c:v>
                </c:pt>
                <c:pt idx="209" formatCode="#,##0.00">
                  <c:v>32960</c:v>
                </c:pt>
                <c:pt idx="210" formatCode="#,##0.00">
                  <c:v>32960</c:v>
                </c:pt>
                <c:pt idx="211" formatCode="#,##0.00">
                  <c:v>32960</c:v>
                </c:pt>
                <c:pt idx="212" formatCode="#,##0.00">
                  <c:v>32960</c:v>
                </c:pt>
                <c:pt idx="213" formatCode="#,##0.00">
                  <c:v>32960</c:v>
                </c:pt>
                <c:pt idx="214" formatCode="#,##0.00">
                  <c:v>32960</c:v>
                </c:pt>
                <c:pt idx="215" formatCode="#,##0.00">
                  <c:v>32960</c:v>
                </c:pt>
                <c:pt idx="216" formatCode="#,##0.00">
                  <c:v>32960</c:v>
                </c:pt>
                <c:pt idx="217" formatCode="#,##0.00">
                  <c:v>32960</c:v>
                </c:pt>
                <c:pt idx="218" formatCode="#,##0.00">
                  <c:v>32960</c:v>
                </c:pt>
                <c:pt idx="219" formatCode="#,##0.00">
                  <c:v>32960</c:v>
                </c:pt>
                <c:pt idx="220" formatCode="#,##0.00">
                  <c:v>32960</c:v>
                </c:pt>
                <c:pt idx="221" formatCode="#,##0.00">
                  <c:v>32960</c:v>
                </c:pt>
                <c:pt idx="222" formatCode="#,##0.00">
                  <c:v>32960</c:v>
                </c:pt>
                <c:pt idx="223" formatCode="#,##0.00">
                  <c:v>32960</c:v>
                </c:pt>
                <c:pt idx="224" formatCode="#,##0.00">
                  <c:v>32840</c:v>
                </c:pt>
                <c:pt idx="225" formatCode="#,##0.00">
                  <c:v>32610</c:v>
                </c:pt>
                <c:pt idx="226" formatCode="#,##0.00">
                  <c:v>32630</c:v>
                </c:pt>
                <c:pt idx="227" formatCode="#,##0.00">
                  <c:v>32630</c:v>
                </c:pt>
                <c:pt idx="228" formatCode="#,##0.00">
                  <c:v>32500</c:v>
                </c:pt>
                <c:pt idx="229" formatCode="#,##0.00">
                  <c:v>32450</c:v>
                </c:pt>
                <c:pt idx="230" formatCode="#,##0.00">
                  <c:v>32100</c:v>
                </c:pt>
                <c:pt idx="231" formatCode="#,##0.00">
                  <c:v>32160</c:v>
                </c:pt>
                <c:pt idx="232" formatCode="#,##0.00">
                  <c:v>32160</c:v>
                </c:pt>
                <c:pt idx="233" formatCode="#,##0.00">
                  <c:v>32160</c:v>
                </c:pt>
                <c:pt idx="234" formatCode="#,##0.00">
                  <c:v>32160</c:v>
                </c:pt>
                <c:pt idx="235" formatCode="#,##0.00">
                  <c:v>32160</c:v>
                </c:pt>
                <c:pt idx="236" formatCode="#,##0.00">
                  <c:v>32160</c:v>
                </c:pt>
                <c:pt idx="237" formatCode="#,##0.00">
                  <c:v>32160</c:v>
                </c:pt>
                <c:pt idx="238" formatCode="#,##0.00">
                  <c:v>32160</c:v>
                </c:pt>
                <c:pt idx="239" formatCode="#,##0.00">
                  <c:v>32050</c:v>
                </c:pt>
                <c:pt idx="240" formatCode="#,##0.00">
                  <c:v>32000</c:v>
                </c:pt>
                <c:pt idx="241" formatCode="#,##0.00">
                  <c:v>31750</c:v>
                </c:pt>
                <c:pt idx="242" formatCode="#,##0.00">
                  <c:v>31700</c:v>
                </c:pt>
                <c:pt idx="243" formatCode="#,##0.00">
                  <c:v>31700</c:v>
                </c:pt>
                <c:pt idx="244" formatCode="#,##0.00">
                  <c:v>31940</c:v>
                </c:pt>
                <c:pt idx="245" formatCode="#,##0.00">
                  <c:v>31970</c:v>
                </c:pt>
                <c:pt idx="246" formatCode="#,##0.00">
                  <c:v>31970</c:v>
                </c:pt>
                <c:pt idx="247" formatCode="#,##0.00">
                  <c:v>31850</c:v>
                </c:pt>
                <c:pt idx="248" formatCode="#,##0.00">
                  <c:v>32000</c:v>
                </c:pt>
                <c:pt idx="249" formatCode="#,##0.00">
                  <c:v>32200</c:v>
                </c:pt>
                <c:pt idx="250" formatCode="#,##0.00">
                  <c:v>32170</c:v>
                </c:pt>
                <c:pt idx="251" formatCode="#,##0.00">
                  <c:v>32100</c:v>
                </c:pt>
                <c:pt idx="252" formatCode="#,##0.00">
                  <c:v>32100</c:v>
                </c:pt>
                <c:pt idx="253" formatCode="#,##0.00">
                  <c:v>31950</c:v>
                </c:pt>
                <c:pt idx="254" formatCode="#,##0.00">
                  <c:v>31950</c:v>
                </c:pt>
                <c:pt idx="255" formatCode="#,##0.00">
                  <c:v>31700</c:v>
                </c:pt>
                <c:pt idx="256" formatCode="#,##0.00">
                  <c:v>31650</c:v>
                </c:pt>
                <c:pt idx="257" formatCode="#,##0.00">
                  <c:v>31750</c:v>
                </c:pt>
                <c:pt idx="258" formatCode="#,##0.00">
                  <c:v>31600</c:v>
                </c:pt>
                <c:pt idx="259" formatCode="#,##0.00">
                  <c:v>31530</c:v>
                </c:pt>
                <c:pt idx="260" formatCode="#,##0.00">
                  <c:v>31400</c:v>
                </c:pt>
                <c:pt idx="261" formatCode="#,##0.00">
                  <c:v>31170</c:v>
                </c:pt>
                <c:pt idx="262" formatCode="#,##0.00">
                  <c:v>31100</c:v>
                </c:pt>
                <c:pt idx="263" formatCode="#,##0.00">
                  <c:v>30880</c:v>
                </c:pt>
                <c:pt idx="264" formatCode="#,##0.00">
                  <c:v>3023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241216"/>
        <c:axId val="592569472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spPr>
            <a:ln w="571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A$1207:$A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H$1207:$H$1462</c:f>
              <c:numCache>
                <c:formatCode>General</c:formatCode>
                <c:ptCount val="256"/>
                <c:pt idx="0">
                  <c:v>1388.86</c:v>
                </c:pt>
                <c:pt idx="1">
                  <c:v>1395.91</c:v>
                </c:pt>
                <c:pt idx="2">
                  <c:v>1401.82</c:v>
                </c:pt>
                <c:pt idx="3">
                  <c:v>1388.69</c:v>
                </c:pt>
                <c:pt idx="4">
                  <c:v>1401.78</c:v>
                </c:pt>
                <c:pt idx="5">
                  <c:v>1397.23</c:v>
                </c:pt>
                <c:pt idx="6">
                  <c:v>1395.79</c:v>
                </c:pt>
                <c:pt idx="7">
                  <c:v>1394.49</c:v>
                </c:pt>
                <c:pt idx="8">
                  <c:v>1395.87</c:v>
                </c:pt>
                <c:pt idx="9">
                  <c:v>1391.75</c:v>
                </c:pt>
                <c:pt idx="10">
                  <c:v>1381.59</c:v>
                </c:pt>
                <c:pt idx="11">
                  <c:v>1364.11</c:v>
                </c:pt>
                <c:pt idx="12">
                  <c:v>1346.51</c:v>
                </c:pt>
                <c:pt idx="13">
                  <c:v>1332.51</c:v>
                </c:pt>
                <c:pt idx="14">
                  <c:v>1308</c:v>
                </c:pt>
                <c:pt idx="15">
                  <c:v>1320.9</c:v>
                </c:pt>
                <c:pt idx="16">
                  <c:v>1301.02</c:v>
                </c:pt>
                <c:pt idx="17">
                  <c:v>1293.2</c:v>
                </c:pt>
                <c:pt idx="18">
                  <c:v>1291.82</c:v>
                </c:pt>
                <c:pt idx="19">
                  <c:v>1317.5</c:v>
                </c:pt>
                <c:pt idx="20">
                  <c:v>1330.28</c:v>
                </c:pt>
                <c:pt idx="21">
                  <c:v>1341.49</c:v>
                </c:pt>
                <c:pt idx="22">
                  <c:v>1336.02</c:v>
                </c:pt>
                <c:pt idx="23">
                  <c:v>1341.85</c:v>
                </c:pt>
                <c:pt idx="24">
                  <c:v>1353.17</c:v>
                </c:pt>
                <c:pt idx="25">
                  <c:v>1321.61</c:v>
                </c:pt>
                <c:pt idx="26">
                  <c:v>1343.2</c:v>
                </c:pt>
                <c:pt idx="27">
                  <c:v>1347.41</c:v>
                </c:pt>
                <c:pt idx="28">
                  <c:v>1343.62</c:v>
                </c:pt>
                <c:pt idx="29">
                  <c:v>1306</c:v>
                </c:pt>
                <c:pt idx="30">
                  <c:v>1303.1500000000001</c:v>
                </c:pt>
                <c:pt idx="31">
                  <c:v>1315.54</c:v>
                </c:pt>
                <c:pt idx="32">
                  <c:v>1318.98</c:v>
                </c:pt>
                <c:pt idx="33">
                  <c:v>1306.3699999999999</c:v>
                </c:pt>
                <c:pt idx="34">
                  <c:v>1286.07</c:v>
                </c:pt>
                <c:pt idx="35">
                  <c:v>1260.95</c:v>
                </c:pt>
                <c:pt idx="36">
                  <c:v>1267.27</c:v>
                </c:pt>
                <c:pt idx="37">
                  <c:v>1115.06</c:v>
                </c:pt>
                <c:pt idx="38">
                  <c:v>1184.22</c:v>
                </c:pt>
                <c:pt idx="39">
                  <c:v>1182.05</c:v>
                </c:pt>
                <c:pt idx="40">
                  <c:v>1164.6300000000001</c:v>
                </c:pt>
                <c:pt idx="41">
                  <c:v>1158.8699999999999</c:v>
                </c:pt>
                <c:pt idx="42">
                  <c:v>1132.05</c:v>
                </c:pt>
                <c:pt idx="43">
                  <c:v>1100.1400000000001</c:v>
                </c:pt>
                <c:pt idx="44">
                  <c:v>1077.8900000000001</c:v>
                </c:pt>
                <c:pt idx="45">
                  <c:v>1062.47</c:v>
                </c:pt>
                <c:pt idx="46">
                  <c:v>1114.6600000000001</c:v>
                </c:pt>
                <c:pt idx="47">
                  <c:v>1161.26</c:v>
                </c:pt>
                <c:pt idx="48">
                  <c:v>1155.81</c:v>
                </c:pt>
                <c:pt idx="49">
                  <c:v>1150.82</c:v>
                </c:pt>
                <c:pt idx="50">
                  <c:v>1136.21</c:v>
                </c:pt>
                <c:pt idx="51">
                  <c:v>1131.5999999999999</c:v>
                </c:pt>
                <c:pt idx="52">
                  <c:v>1170.2</c:v>
                </c:pt>
                <c:pt idx="53">
                  <c:v>1198.8900000000001</c:v>
                </c:pt>
                <c:pt idx="54">
                  <c:v>1179.47</c:v>
                </c:pt>
                <c:pt idx="55">
                  <c:v>1186.28</c:v>
                </c:pt>
                <c:pt idx="56">
                  <c:v>1226.0999999999999</c:v>
                </c:pt>
                <c:pt idx="57">
                  <c:v>1235.74</c:v>
                </c:pt>
                <c:pt idx="58">
                  <c:v>1222.47</c:v>
                </c:pt>
                <c:pt idx="59">
                  <c:v>1210.71</c:v>
                </c:pt>
                <c:pt idx="60">
                  <c:v>1233.93</c:v>
                </c:pt>
                <c:pt idx="61">
                  <c:v>1193.78</c:v>
                </c:pt>
                <c:pt idx="62">
                  <c:v>1195.71</c:v>
                </c:pt>
                <c:pt idx="63">
                  <c:v>1190.1300000000001</c:v>
                </c:pt>
                <c:pt idx="64">
                  <c:v>1213.46</c:v>
                </c:pt>
                <c:pt idx="65">
                  <c:v>1204.07</c:v>
                </c:pt>
                <c:pt idx="66">
                  <c:v>1179.97</c:v>
                </c:pt>
                <c:pt idx="67">
                  <c:v>1142.96</c:v>
                </c:pt>
                <c:pt idx="68">
                  <c:v>1154.31</c:v>
                </c:pt>
                <c:pt idx="69">
                  <c:v>1172.6199999999999</c:v>
                </c:pt>
                <c:pt idx="70">
                  <c:v>1200.22</c:v>
                </c:pt>
                <c:pt idx="71">
                  <c:v>1187.94</c:v>
                </c:pt>
                <c:pt idx="72">
                  <c:v>1178.81</c:v>
                </c:pt>
                <c:pt idx="73">
                  <c:v>1171.99</c:v>
                </c:pt>
                <c:pt idx="74">
                  <c:v>1145.6600000000001</c:v>
                </c:pt>
                <c:pt idx="75">
                  <c:v>1119.3699999999999</c:v>
                </c:pt>
                <c:pt idx="76">
                  <c:v>1139.29</c:v>
                </c:pt>
                <c:pt idx="77">
                  <c:v>1153.3599999999999</c:v>
                </c:pt>
                <c:pt idx="78">
                  <c:v>1155.7</c:v>
                </c:pt>
                <c:pt idx="79">
                  <c:v>1143.44</c:v>
                </c:pt>
                <c:pt idx="80">
                  <c:v>1172.9100000000001</c:v>
                </c:pt>
                <c:pt idx="81">
                  <c:v>1227.75</c:v>
                </c:pt>
                <c:pt idx="82">
                  <c:v>1232.78</c:v>
                </c:pt>
                <c:pt idx="83">
                  <c:v>1234.31</c:v>
                </c:pt>
                <c:pt idx="84">
                  <c:v>1254.29</c:v>
                </c:pt>
                <c:pt idx="85">
                  <c:v>1261.01</c:v>
                </c:pt>
                <c:pt idx="86">
                  <c:v>1253</c:v>
                </c:pt>
                <c:pt idx="87">
                  <c:v>1262.01</c:v>
                </c:pt>
                <c:pt idx="88">
                  <c:v>1289.98</c:v>
                </c:pt>
                <c:pt idx="89">
                  <c:v>1298.6400000000001</c:v>
                </c:pt>
                <c:pt idx="90">
                  <c:v>1317.09</c:v>
                </c:pt>
                <c:pt idx="91">
                  <c:v>1312.97</c:v>
                </c:pt>
                <c:pt idx="92">
                  <c:v>1326.58</c:v>
                </c:pt>
                <c:pt idx="93">
                  <c:v>1335.73</c:v>
                </c:pt>
                <c:pt idx="94">
                  <c:v>1297.5</c:v>
                </c:pt>
                <c:pt idx="95">
                  <c:v>1300.46</c:v>
                </c:pt>
                <c:pt idx="96">
                  <c:v>1314.71</c:v>
                </c:pt>
                <c:pt idx="97">
                  <c:v>1295.75</c:v>
                </c:pt>
                <c:pt idx="98">
                  <c:v>1322.52</c:v>
                </c:pt>
                <c:pt idx="99">
                  <c:v>1324.03</c:v>
                </c:pt>
                <c:pt idx="100">
                  <c:v>1324.87</c:v>
                </c:pt>
                <c:pt idx="101">
                  <c:v>1333.86</c:v>
                </c:pt>
                <c:pt idx="102">
                  <c:v>1359.1</c:v>
                </c:pt>
                <c:pt idx="103">
                  <c:v>1361.65</c:v>
                </c:pt>
                <c:pt idx="104">
                  <c:v>1368.84</c:v>
                </c:pt>
                <c:pt idx="105">
                  <c:v>1374.94</c:v>
                </c:pt>
                <c:pt idx="106">
                  <c:v>1357.8</c:v>
                </c:pt>
                <c:pt idx="107">
                  <c:v>1343.5</c:v>
                </c:pt>
                <c:pt idx="108">
                  <c:v>1362.99</c:v>
                </c:pt>
                <c:pt idx="109">
                  <c:v>1371.55</c:v>
                </c:pt>
                <c:pt idx="110">
                  <c:v>1358.73</c:v>
                </c:pt>
                <c:pt idx="111">
                  <c:v>1369.1</c:v>
                </c:pt>
                <c:pt idx="112">
                  <c:v>1421.07</c:v>
                </c:pt>
                <c:pt idx="113">
                  <c:v>1383.02</c:v>
                </c:pt>
                <c:pt idx="114">
                  <c:v>1377.41</c:v>
                </c:pt>
                <c:pt idx="115">
                  <c:v>1379.75</c:v>
                </c:pt>
                <c:pt idx="116">
                  <c:v>1366.08</c:v>
                </c:pt>
                <c:pt idx="117">
                  <c:v>1362.1</c:v>
                </c:pt>
                <c:pt idx="118">
                  <c:v>1390.47</c:v>
                </c:pt>
                <c:pt idx="119">
                  <c:v>1390.72</c:v>
                </c:pt>
                <c:pt idx="120">
                  <c:v>1360.48</c:v>
                </c:pt>
                <c:pt idx="121">
                  <c:v>1385.24</c:v>
                </c:pt>
                <c:pt idx="122">
                  <c:v>1393.59</c:v>
                </c:pt>
                <c:pt idx="123">
                  <c:v>1403.72</c:v>
                </c:pt>
                <c:pt idx="124">
                  <c:v>1383.7</c:v>
                </c:pt>
                <c:pt idx="125">
                  <c:v>1383.18</c:v>
                </c:pt>
                <c:pt idx="126">
                  <c:v>1361.89</c:v>
                </c:pt>
                <c:pt idx="127">
                  <c:v>1352.15</c:v>
                </c:pt>
                <c:pt idx="128">
                  <c:v>1350.52</c:v>
                </c:pt>
                <c:pt idx="129">
                  <c:v>1299.03</c:v>
                </c:pt>
                <c:pt idx="130">
                  <c:v>1276.28</c:v>
                </c:pt>
                <c:pt idx="131">
                  <c:v>1239.1300000000001</c:v>
                </c:pt>
                <c:pt idx="132">
                  <c:v>1266.8800000000001</c:v>
                </c:pt>
                <c:pt idx="133">
                  <c:v>1272.02</c:v>
                </c:pt>
                <c:pt idx="134">
                  <c:v>1266.72</c:v>
                </c:pt>
                <c:pt idx="135">
                  <c:v>1246.25</c:v>
                </c:pt>
                <c:pt idx="136">
                  <c:v>1208.83</c:v>
                </c:pt>
                <c:pt idx="137">
                  <c:v>1207.29</c:v>
                </c:pt>
                <c:pt idx="138">
                  <c:v>1222.4000000000001</c:v>
                </c:pt>
                <c:pt idx="139">
                  <c:v>1219.3599999999999</c:v>
                </c:pt>
                <c:pt idx="140">
                  <c:v>1212.74</c:v>
                </c:pt>
                <c:pt idx="141">
                  <c:v>1212.21</c:v>
                </c:pt>
                <c:pt idx="142">
                  <c:v>1191.3699999999999</c:v>
                </c:pt>
                <c:pt idx="143">
                  <c:v>1160.8599999999999</c:v>
                </c:pt>
                <c:pt idx="144">
                  <c:v>1157.97</c:v>
                </c:pt>
                <c:pt idx="145">
                  <c:v>1170.5999999999999</c:v>
                </c:pt>
                <c:pt idx="146">
                  <c:v>1203.67</c:v>
                </c:pt>
                <c:pt idx="147">
                  <c:v>1198.72</c:v>
                </c:pt>
                <c:pt idx="148">
                  <c:v>1220.8</c:v>
                </c:pt>
                <c:pt idx="149">
                  <c:v>1231.94</c:v>
                </c:pt>
                <c:pt idx="150">
                  <c:v>1232.3399999999999</c:v>
                </c:pt>
                <c:pt idx="151">
                  <c:v>1243.56</c:v>
                </c:pt>
                <c:pt idx="152">
                  <c:v>1251.69</c:v>
                </c:pt>
                <c:pt idx="153">
                  <c:v>1257.4100000000001</c:v>
                </c:pt>
                <c:pt idx="154">
                  <c:v>1275.5999999999999</c:v>
                </c:pt>
                <c:pt idx="155">
                  <c:v>1260.07</c:v>
                </c:pt>
                <c:pt idx="156">
                  <c:v>1267.42</c:v>
                </c:pt>
                <c:pt idx="157">
                  <c:v>1259.47</c:v>
                </c:pt>
                <c:pt idx="158">
                  <c:v>1260.72</c:v>
                </c:pt>
                <c:pt idx="159">
                  <c:v>1219.49</c:v>
                </c:pt>
                <c:pt idx="160">
                  <c:v>1190.23</c:v>
                </c:pt>
                <c:pt idx="161">
                  <c:v>1177.6600000000001</c:v>
                </c:pt>
                <c:pt idx="162">
                  <c:v>1177.93</c:v>
                </c:pt>
                <c:pt idx="163">
                  <c:v>1239.23</c:v>
                </c:pt>
                <c:pt idx="164">
                  <c:v>1241.51</c:v>
                </c:pt>
                <c:pt idx="165">
                  <c:v>1257.26</c:v>
                </c:pt>
                <c:pt idx="166">
                  <c:v>1245.53</c:v>
                </c:pt>
                <c:pt idx="167">
                  <c:v>1246.6400000000001</c:v>
                </c:pt>
                <c:pt idx="168">
                  <c:v>1239.0899999999999</c:v>
                </c:pt>
                <c:pt idx="169">
                  <c:v>1217.8800000000001</c:v>
                </c:pt>
                <c:pt idx="170">
                  <c:v>1213.27</c:v>
                </c:pt>
                <c:pt idx="171">
                  <c:v>1194.73</c:v>
                </c:pt>
                <c:pt idx="172">
                  <c:v>1202</c:v>
                </c:pt>
                <c:pt idx="173">
                  <c:v>1190.0999999999999</c:v>
                </c:pt>
                <c:pt idx="174">
                  <c:v>1187.24</c:v>
                </c:pt>
                <c:pt idx="175">
                  <c:v>1170.25</c:v>
                </c:pt>
                <c:pt idx="176">
                  <c:v>1151.1600000000001</c:v>
                </c:pt>
                <c:pt idx="177">
                  <c:v>1167.25</c:v>
                </c:pt>
                <c:pt idx="178">
                  <c:v>1189.23</c:v>
                </c:pt>
                <c:pt idx="179">
                  <c:v>1175.5899999999999</c:v>
                </c:pt>
                <c:pt idx="180">
                  <c:v>1156.1500000000001</c:v>
                </c:pt>
                <c:pt idx="181">
                  <c:v>1126.21</c:v>
                </c:pt>
                <c:pt idx="182">
                  <c:v>1123.72</c:v>
                </c:pt>
                <c:pt idx="183">
                  <c:v>1113.42</c:v>
                </c:pt>
                <c:pt idx="184">
                  <c:v>1095.1099999999999</c:v>
                </c:pt>
                <c:pt idx="185">
                  <c:v>1092.1199999999999</c:v>
                </c:pt>
                <c:pt idx="186">
                  <c:v>1120.2</c:v>
                </c:pt>
                <c:pt idx="187">
                  <c:v>1106.8</c:v>
                </c:pt>
                <c:pt idx="188">
                  <c:v>1082.5899999999999</c:v>
                </c:pt>
                <c:pt idx="189">
                  <c:v>1088.8</c:v>
                </c:pt>
                <c:pt idx="190">
                  <c:v>1064.29</c:v>
                </c:pt>
                <c:pt idx="191">
                  <c:v>1076.58</c:v>
                </c:pt>
                <c:pt idx="192">
                  <c:v>1075.45</c:v>
                </c:pt>
                <c:pt idx="193">
                  <c:v>1067.05</c:v>
                </c:pt>
                <c:pt idx="194">
                  <c:v>1045.23</c:v>
                </c:pt>
                <c:pt idx="195">
                  <c:v>1072.94</c:v>
                </c:pt>
                <c:pt idx="196">
                  <c:v>1056.71</c:v>
                </c:pt>
                <c:pt idx="197">
                  <c:v>1063.8599999999999</c:v>
                </c:pt>
                <c:pt idx="198">
                  <c:v>1047.47</c:v>
                </c:pt>
                <c:pt idx="199">
                  <c:v>1035.9100000000001</c:v>
                </c:pt>
                <c:pt idx="200">
                  <c:v>1036.68</c:v>
                </c:pt>
                <c:pt idx="201">
                  <c:v>1039.5</c:v>
                </c:pt>
                <c:pt idx="202">
                  <c:v>1049.58</c:v>
                </c:pt>
                <c:pt idx="203">
                  <c:v>1059.6199999999999</c:v>
                </c:pt>
                <c:pt idx="204">
                  <c:v>1098.68</c:v>
                </c:pt>
                <c:pt idx="205">
                  <c:v>1091.44</c:v>
                </c:pt>
                <c:pt idx="206">
                  <c:v>1054.45</c:v>
                </c:pt>
                <c:pt idx="207">
                  <c:v>1017.28</c:v>
                </c:pt>
                <c:pt idx="208">
                  <c:v>1007.68</c:v>
                </c:pt>
                <c:pt idx="209">
                  <c:v>1045.51</c:v>
                </c:pt>
                <c:pt idx="210">
                  <c:v>1028.95</c:v>
                </c:pt>
                <c:pt idx="211">
                  <c:v>1045.0899999999999</c:v>
                </c:pt>
                <c:pt idx="212">
                  <c:v>1012.16</c:v>
                </c:pt>
                <c:pt idx="213">
                  <c:v>1002.96</c:v>
                </c:pt>
                <c:pt idx="214">
                  <c:v>1004.13</c:v>
                </c:pt>
                <c:pt idx="215">
                  <c:v>1020.77</c:v>
                </c:pt>
                <c:pt idx="216">
                  <c:v>1021.17</c:v>
                </c:pt>
                <c:pt idx="217">
                  <c:v>1040.3599999999999</c:v>
                </c:pt>
                <c:pt idx="218">
                  <c:v>1058.8</c:v>
                </c:pt>
                <c:pt idx="219">
                  <c:v>1076.1600000000001</c:v>
                </c:pt>
                <c:pt idx="220">
                  <c:v>1054.3800000000001</c:v>
                </c:pt>
                <c:pt idx="221">
                  <c:v>1027.6099999999999</c:v>
                </c:pt>
                <c:pt idx="222">
                  <c:v>1006.43</c:v>
                </c:pt>
                <c:pt idx="223">
                  <c:v>974.27</c:v>
                </c:pt>
                <c:pt idx="224">
                  <c:v>958.33</c:v>
                </c:pt>
                <c:pt idx="225">
                  <c:v>925.43</c:v>
                </c:pt>
                <c:pt idx="226">
                  <c:v>948.58</c:v>
                </c:pt>
                <c:pt idx="227">
                  <c:v>918.65</c:v>
                </c:pt>
                <c:pt idx="228">
                  <c:v>908.75</c:v>
                </c:pt>
                <c:pt idx="229">
                  <c:v>870.37</c:v>
                </c:pt>
                <c:pt idx="230">
                  <c:v>857.51</c:v>
                </c:pt>
                <c:pt idx="231">
                  <c:v>855.05</c:v>
                </c:pt>
                <c:pt idx="232">
                  <c:v>824.01</c:v>
                </c:pt>
                <c:pt idx="233">
                  <c:v>799.18</c:v>
                </c:pt>
                <c:pt idx="234">
                  <c:v>718.32</c:v>
                </c:pt>
                <c:pt idx="235">
                  <c:v>629.15</c:v>
                </c:pt>
                <c:pt idx="236">
                  <c:v>718.26</c:v>
                </c:pt>
                <c:pt idx="237">
                  <c:v>764.93</c:v>
                </c:pt>
                <c:pt idx="238">
                  <c:v>768.06</c:v>
                </c:pt>
                <c:pt idx="239">
                  <c:v>811.03</c:v>
                </c:pt>
                <c:pt idx="240">
                  <c:v>794.99</c:v>
                </c:pt>
                <c:pt idx="241">
                  <c:v>814.97</c:v>
                </c:pt>
                <c:pt idx="242">
                  <c:v>844.09</c:v>
                </c:pt>
                <c:pt idx="243">
                  <c:v>828.57</c:v>
                </c:pt>
                <c:pt idx="244">
                  <c:v>756.63</c:v>
                </c:pt>
                <c:pt idx="245">
                  <c:v>737.88</c:v>
                </c:pt>
                <c:pt idx="246">
                  <c:v>743.06</c:v>
                </c:pt>
                <c:pt idx="247">
                  <c:v>762.39</c:v>
                </c:pt>
                <c:pt idx="248">
                  <c:v>769.8</c:v>
                </c:pt>
                <c:pt idx="249">
                  <c:v>766.57</c:v>
                </c:pt>
                <c:pt idx="250">
                  <c:v>756.27</c:v>
                </c:pt>
                <c:pt idx="251">
                  <c:v>782.13</c:v>
                </c:pt>
                <c:pt idx="252">
                  <c:v>817.14</c:v>
                </c:pt>
                <c:pt idx="253">
                  <c:v>820.99</c:v>
                </c:pt>
                <c:pt idx="254">
                  <c:v>781.31</c:v>
                </c:pt>
                <c:pt idx="255">
                  <c:v>783.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241728"/>
        <c:axId val="592571776"/>
      </c:lineChart>
      <c:dateAx>
        <c:axId val="639241216"/>
        <c:scaling>
          <c:orientation val="minMax"/>
          <c:max val="42031"/>
          <c:min val="41648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8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592569472"/>
        <c:crosses val="autoZero"/>
        <c:auto val="1"/>
        <c:lblOffset val="100"/>
        <c:baseTimeUnit val="days"/>
        <c:majorUnit val="60"/>
        <c:majorTimeUnit val="days"/>
        <c:minorUnit val="30"/>
        <c:minorTimeUnit val="days"/>
      </c:dateAx>
      <c:valAx>
        <c:axId val="592569472"/>
        <c:scaling>
          <c:orientation val="minMax"/>
          <c:max val="35000"/>
          <c:min val="27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8231153941575E-4"/>
              <c:y val="0.2417551029261838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241216"/>
        <c:crosses val="autoZero"/>
        <c:crossBetween val="between"/>
      </c:valAx>
      <c:dateAx>
        <c:axId val="63924172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571776"/>
        <c:crosses val="autoZero"/>
        <c:auto val="0"/>
        <c:lblOffset val="100"/>
        <c:baseTimeUnit val="days"/>
      </c:dateAx>
      <c:valAx>
        <c:axId val="592571776"/>
        <c:scaling>
          <c:orientation val="minMax"/>
          <c:max val="1550"/>
          <c:min val="20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241728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41836748018438E-2"/>
          <c:y val="0.91172529880045983"/>
          <c:w val="0.866911505464802"/>
          <c:h val="8.8274701199540173E-2"/>
        </c:manualLayout>
      </c:layout>
      <c:overlay val="0"/>
      <c:txPr>
        <a:bodyPr/>
        <a:lstStyle/>
        <a:p>
          <a:pPr>
            <a:defRPr sz="775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9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000000"/>
                </a:solidFill>
                <a:latin typeface="Calibri"/>
              </a:rPr>
              <a:t>2010-2011:</a:t>
            </a:r>
          </a:p>
          <a:p>
            <a:pPr algn="l">
              <a:defRPr sz="9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000000"/>
                </a:solidFill>
                <a:latin typeface="Calibri"/>
              </a:rPr>
              <a:t>RTSI          </a:t>
            </a:r>
            <a:r>
              <a:rPr lang="ru-RU" sz="1050" b="1" i="0" u="none" strike="noStrike" baseline="0">
                <a:solidFill>
                  <a:srgbClr val="000000"/>
                </a:solidFill>
                <a:latin typeface="Calibri"/>
              </a:rPr>
              <a:t>           + 16,04 %</a:t>
            </a:r>
          </a:p>
          <a:p>
            <a:pPr algn="l">
              <a:defRPr sz="9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FF0000"/>
                </a:solidFill>
                <a:latin typeface="Calibri"/>
              </a:rPr>
              <a:t>Регуляр-92        + 27,76 %</a:t>
            </a:r>
          </a:p>
        </c:rich>
      </c:tx>
      <c:layout>
        <c:manualLayout>
          <c:xMode val="edge"/>
          <c:yMode val="edge"/>
          <c:x val="7.4000335418026086E-2"/>
          <c:y val="5.9017027830198909E-2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0666388888896554E-2"/>
          <c:y val="4.1359101541253725E-2"/>
          <c:w val="0.84377301587301623"/>
          <c:h val="0.82053404122423468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J$218:$J$1462</c:f>
              <c:numCache>
                <c:formatCode>General</c:formatCode>
                <c:ptCount val="1245"/>
                <c:pt idx="0">
                  <c:v>19521</c:v>
                </c:pt>
                <c:pt idx="1">
                  <c:v>21074</c:v>
                </c:pt>
                <c:pt idx="2">
                  <c:v>20757</c:v>
                </c:pt>
                <c:pt idx="3">
                  <c:v>21517</c:v>
                </c:pt>
                <c:pt idx="4">
                  <c:v>21790</c:v>
                </c:pt>
                <c:pt idx="5">
                  <c:v>22061</c:v>
                </c:pt>
                <c:pt idx="6">
                  <c:v>22069</c:v>
                </c:pt>
                <c:pt idx="7">
                  <c:v>22211</c:v>
                </c:pt>
                <c:pt idx="8">
                  <c:v>22371</c:v>
                </c:pt>
                <c:pt idx="9">
                  <c:v>22279</c:v>
                </c:pt>
                <c:pt idx="10">
                  <c:v>22373</c:v>
                </c:pt>
                <c:pt idx="11">
                  <c:v>21931</c:v>
                </c:pt>
                <c:pt idx="12">
                  <c:v>22338</c:v>
                </c:pt>
                <c:pt idx="13">
                  <c:v>22441</c:v>
                </c:pt>
                <c:pt idx="14">
                  <c:v>22446</c:v>
                </c:pt>
                <c:pt idx="15">
                  <c:v>23061</c:v>
                </c:pt>
                <c:pt idx="16">
                  <c:v>22119</c:v>
                </c:pt>
                <c:pt idx="17">
                  <c:v>23161</c:v>
                </c:pt>
                <c:pt idx="18">
                  <c:v>22819</c:v>
                </c:pt>
                <c:pt idx="19">
                  <c:v>23130</c:v>
                </c:pt>
                <c:pt idx="20">
                  <c:v>23411</c:v>
                </c:pt>
                <c:pt idx="21">
                  <c:v>23571</c:v>
                </c:pt>
                <c:pt idx="22">
                  <c:v>23186</c:v>
                </c:pt>
                <c:pt idx="23">
                  <c:v>22819</c:v>
                </c:pt>
                <c:pt idx="24">
                  <c:v>23561</c:v>
                </c:pt>
                <c:pt idx="25">
                  <c:v>23721</c:v>
                </c:pt>
                <c:pt idx="26">
                  <c:v>23721</c:v>
                </c:pt>
                <c:pt idx="27">
                  <c:v>23411</c:v>
                </c:pt>
                <c:pt idx="28">
                  <c:v>23571</c:v>
                </c:pt>
                <c:pt idx="29">
                  <c:v>22769</c:v>
                </c:pt>
                <c:pt idx="30">
                  <c:v>23311</c:v>
                </c:pt>
                <c:pt idx="31">
                  <c:v>22385</c:v>
                </c:pt>
                <c:pt idx="32">
                  <c:v>22481</c:v>
                </c:pt>
                <c:pt idx="33">
                  <c:v>22558</c:v>
                </c:pt>
                <c:pt idx="34">
                  <c:v>23411</c:v>
                </c:pt>
                <c:pt idx="35">
                  <c:v>22469</c:v>
                </c:pt>
                <c:pt idx="36">
                  <c:v>22544</c:v>
                </c:pt>
                <c:pt idx="37">
                  <c:v>22544</c:v>
                </c:pt>
                <c:pt idx="38">
                  <c:v>22459</c:v>
                </c:pt>
                <c:pt idx="39">
                  <c:v>22769</c:v>
                </c:pt>
                <c:pt idx="40">
                  <c:v>23016</c:v>
                </c:pt>
                <c:pt idx="41">
                  <c:v>23120</c:v>
                </c:pt>
                <c:pt idx="42">
                  <c:v>22819</c:v>
                </c:pt>
                <c:pt idx="43">
                  <c:v>22860</c:v>
                </c:pt>
                <c:pt idx="44">
                  <c:v>22935</c:v>
                </c:pt>
                <c:pt idx="45">
                  <c:v>22935</c:v>
                </c:pt>
                <c:pt idx="46">
                  <c:v>22752</c:v>
                </c:pt>
                <c:pt idx="47">
                  <c:v>22619</c:v>
                </c:pt>
                <c:pt idx="48">
                  <c:v>22950</c:v>
                </c:pt>
                <c:pt idx="49">
                  <c:v>23053</c:v>
                </c:pt>
                <c:pt idx="50">
                  <c:v>23061</c:v>
                </c:pt>
                <c:pt idx="51">
                  <c:v>23179</c:v>
                </c:pt>
                <c:pt idx="52">
                  <c:v>23127</c:v>
                </c:pt>
                <c:pt idx="53">
                  <c:v>23311</c:v>
                </c:pt>
                <c:pt idx="54">
                  <c:v>22932</c:v>
                </c:pt>
                <c:pt idx="55">
                  <c:v>23561</c:v>
                </c:pt>
                <c:pt idx="56">
                  <c:v>23721</c:v>
                </c:pt>
                <c:pt idx="57">
                  <c:v>23561</c:v>
                </c:pt>
                <c:pt idx="58">
                  <c:v>23561</c:v>
                </c:pt>
                <c:pt idx="59">
                  <c:v>23721</c:v>
                </c:pt>
                <c:pt idx="60">
                  <c:v>23711</c:v>
                </c:pt>
                <c:pt idx="61">
                  <c:v>23871</c:v>
                </c:pt>
                <c:pt idx="62">
                  <c:v>24161</c:v>
                </c:pt>
                <c:pt idx="63">
                  <c:v>24261</c:v>
                </c:pt>
                <c:pt idx="64">
                  <c:v>24421</c:v>
                </c:pt>
                <c:pt idx="65">
                  <c:v>24395</c:v>
                </c:pt>
                <c:pt idx="66">
                  <c:v>24513</c:v>
                </c:pt>
                <c:pt idx="67">
                  <c:v>24513</c:v>
                </c:pt>
                <c:pt idx="68">
                  <c:v>24336</c:v>
                </c:pt>
                <c:pt idx="69">
                  <c:v>23981</c:v>
                </c:pt>
                <c:pt idx="70">
                  <c:v>24154</c:v>
                </c:pt>
                <c:pt idx="71">
                  <c:v>24280</c:v>
                </c:pt>
                <c:pt idx="72">
                  <c:v>24460</c:v>
                </c:pt>
                <c:pt idx="73">
                  <c:v>24542</c:v>
                </c:pt>
                <c:pt idx="74">
                  <c:v>24619</c:v>
                </c:pt>
                <c:pt idx="75">
                  <c:v>24461</c:v>
                </c:pt>
                <c:pt idx="76">
                  <c:v>24419</c:v>
                </c:pt>
                <c:pt idx="77">
                  <c:v>24658</c:v>
                </c:pt>
                <c:pt idx="78">
                  <c:v>24724</c:v>
                </c:pt>
                <c:pt idx="79">
                  <c:v>24813</c:v>
                </c:pt>
                <c:pt idx="80">
                  <c:v>25136</c:v>
                </c:pt>
                <c:pt idx="81">
                  <c:v>24791</c:v>
                </c:pt>
                <c:pt idx="82">
                  <c:v>24530</c:v>
                </c:pt>
                <c:pt idx="83">
                  <c:v>24677</c:v>
                </c:pt>
                <c:pt idx="84">
                  <c:v>24680</c:v>
                </c:pt>
                <c:pt idx="85">
                  <c:v>24461</c:v>
                </c:pt>
                <c:pt idx="86">
                  <c:v>24420</c:v>
                </c:pt>
                <c:pt idx="87">
                  <c:v>24319</c:v>
                </c:pt>
                <c:pt idx="88">
                  <c:v>24586</c:v>
                </c:pt>
                <c:pt idx="89">
                  <c:v>24369</c:v>
                </c:pt>
                <c:pt idx="90">
                  <c:v>24562</c:v>
                </c:pt>
                <c:pt idx="91">
                  <c:v>24296</c:v>
                </c:pt>
                <c:pt idx="92">
                  <c:v>24456</c:v>
                </c:pt>
                <c:pt idx="93">
                  <c:v>24211</c:v>
                </c:pt>
                <c:pt idx="94">
                  <c:v>24086</c:v>
                </c:pt>
                <c:pt idx="95">
                  <c:v>23861</c:v>
                </c:pt>
                <c:pt idx="96">
                  <c:v>23861</c:v>
                </c:pt>
                <c:pt idx="97">
                  <c:v>24004</c:v>
                </c:pt>
                <c:pt idx="98">
                  <c:v>24011</c:v>
                </c:pt>
                <c:pt idx="99">
                  <c:v>23820</c:v>
                </c:pt>
                <c:pt idx="100">
                  <c:v>24036</c:v>
                </c:pt>
                <c:pt idx="101">
                  <c:v>23963</c:v>
                </c:pt>
                <c:pt idx="102">
                  <c:v>23959</c:v>
                </c:pt>
                <c:pt idx="103">
                  <c:v>24166</c:v>
                </c:pt>
                <c:pt idx="104">
                  <c:v>24347</c:v>
                </c:pt>
                <c:pt idx="105">
                  <c:v>22982</c:v>
                </c:pt>
                <c:pt idx="106">
                  <c:v>24219</c:v>
                </c:pt>
                <c:pt idx="107">
                  <c:v>24108</c:v>
                </c:pt>
                <c:pt idx="108">
                  <c:v>23997</c:v>
                </c:pt>
                <c:pt idx="109">
                  <c:v>24176</c:v>
                </c:pt>
                <c:pt idx="110">
                  <c:v>24356</c:v>
                </c:pt>
                <c:pt idx="111">
                  <c:v>24648</c:v>
                </c:pt>
                <c:pt idx="112">
                  <c:v>24646</c:v>
                </c:pt>
                <c:pt idx="113">
                  <c:v>24969</c:v>
                </c:pt>
                <c:pt idx="114">
                  <c:v>24806</c:v>
                </c:pt>
                <c:pt idx="115">
                  <c:v>24975</c:v>
                </c:pt>
                <c:pt idx="116">
                  <c:v>24419</c:v>
                </c:pt>
                <c:pt idx="117">
                  <c:v>24838</c:v>
                </c:pt>
                <c:pt idx="118">
                  <c:v>25080</c:v>
                </c:pt>
                <c:pt idx="119">
                  <c:v>24971</c:v>
                </c:pt>
                <c:pt idx="120">
                  <c:v>24725</c:v>
                </c:pt>
                <c:pt idx="121">
                  <c:v>25119</c:v>
                </c:pt>
                <c:pt idx="122">
                  <c:v>24933</c:v>
                </c:pt>
                <c:pt idx="123">
                  <c:v>24989</c:v>
                </c:pt>
                <c:pt idx="124">
                  <c:v>24788</c:v>
                </c:pt>
                <c:pt idx="125">
                  <c:v>24811</c:v>
                </c:pt>
                <c:pt idx="126">
                  <c:v>24619</c:v>
                </c:pt>
                <c:pt idx="127">
                  <c:v>24811</c:v>
                </c:pt>
                <c:pt idx="128">
                  <c:v>24971</c:v>
                </c:pt>
                <c:pt idx="129">
                  <c:v>24744</c:v>
                </c:pt>
                <c:pt idx="130">
                  <c:v>24717</c:v>
                </c:pt>
                <c:pt idx="131">
                  <c:v>24625</c:v>
                </c:pt>
                <c:pt idx="132">
                  <c:v>24535</c:v>
                </c:pt>
                <c:pt idx="133">
                  <c:v>24119</c:v>
                </c:pt>
                <c:pt idx="134">
                  <c:v>24347</c:v>
                </c:pt>
                <c:pt idx="135">
                  <c:v>24472</c:v>
                </c:pt>
                <c:pt idx="136">
                  <c:v>24294</c:v>
                </c:pt>
                <c:pt idx="137">
                  <c:v>24345</c:v>
                </c:pt>
                <c:pt idx="138">
                  <c:v>24029</c:v>
                </c:pt>
                <c:pt idx="139">
                  <c:v>24119</c:v>
                </c:pt>
                <c:pt idx="140">
                  <c:v>24287</c:v>
                </c:pt>
                <c:pt idx="141">
                  <c:v>24119</c:v>
                </c:pt>
                <c:pt idx="142">
                  <c:v>24435</c:v>
                </c:pt>
                <c:pt idx="143">
                  <c:v>24078</c:v>
                </c:pt>
                <c:pt idx="144">
                  <c:v>24193</c:v>
                </c:pt>
                <c:pt idx="145">
                  <c:v>24510</c:v>
                </c:pt>
                <c:pt idx="146">
                  <c:v>24135</c:v>
                </c:pt>
                <c:pt idx="147">
                  <c:v>23999</c:v>
                </c:pt>
                <c:pt idx="148">
                  <c:v>24244</c:v>
                </c:pt>
                <c:pt idx="149">
                  <c:v>24537</c:v>
                </c:pt>
                <c:pt idx="150">
                  <c:v>24249</c:v>
                </c:pt>
                <c:pt idx="151">
                  <c:v>24124</c:v>
                </c:pt>
                <c:pt idx="152">
                  <c:v>24416</c:v>
                </c:pt>
                <c:pt idx="153">
                  <c:v>24394</c:v>
                </c:pt>
                <c:pt idx="154">
                  <c:v>24611</c:v>
                </c:pt>
                <c:pt idx="155">
                  <c:v>24294</c:v>
                </c:pt>
                <c:pt idx="156">
                  <c:v>24294</c:v>
                </c:pt>
                <c:pt idx="157">
                  <c:v>24469</c:v>
                </c:pt>
                <c:pt idx="158">
                  <c:v>24199</c:v>
                </c:pt>
                <c:pt idx="159">
                  <c:v>24411</c:v>
                </c:pt>
                <c:pt idx="160">
                  <c:v>24311</c:v>
                </c:pt>
                <c:pt idx="161">
                  <c:v>23890</c:v>
                </c:pt>
                <c:pt idx="162">
                  <c:v>23994</c:v>
                </c:pt>
                <c:pt idx="163">
                  <c:v>23705</c:v>
                </c:pt>
                <c:pt idx="164">
                  <c:v>23828</c:v>
                </c:pt>
                <c:pt idx="165">
                  <c:v>24261</c:v>
                </c:pt>
                <c:pt idx="166">
                  <c:v>23619</c:v>
                </c:pt>
                <c:pt idx="167">
                  <c:v>23802</c:v>
                </c:pt>
                <c:pt idx="168">
                  <c:v>24019</c:v>
                </c:pt>
                <c:pt idx="169">
                  <c:v>23964</c:v>
                </c:pt>
                <c:pt idx="170">
                  <c:v>24280</c:v>
                </c:pt>
                <c:pt idx="171">
                  <c:v>23847</c:v>
                </c:pt>
                <c:pt idx="172">
                  <c:v>24519</c:v>
                </c:pt>
                <c:pt idx="173">
                  <c:v>24019</c:v>
                </c:pt>
                <c:pt idx="174">
                  <c:v>24387</c:v>
                </c:pt>
                <c:pt idx="175">
                  <c:v>24319</c:v>
                </c:pt>
                <c:pt idx="176">
                  <c:v>23723</c:v>
                </c:pt>
                <c:pt idx="177">
                  <c:v>24511</c:v>
                </c:pt>
                <c:pt idx="178">
                  <c:v>24070</c:v>
                </c:pt>
                <c:pt idx="179">
                  <c:v>24146</c:v>
                </c:pt>
                <c:pt idx="180">
                  <c:v>24298</c:v>
                </c:pt>
                <c:pt idx="181">
                  <c:v>24182</c:v>
                </c:pt>
                <c:pt idx="182">
                  <c:v>23952</c:v>
                </c:pt>
                <c:pt idx="183">
                  <c:v>24419</c:v>
                </c:pt>
                <c:pt idx="184">
                  <c:v>24716</c:v>
                </c:pt>
                <c:pt idx="185">
                  <c:v>24676</c:v>
                </c:pt>
                <c:pt idx="186">
                  <c:v>24224</c:v>
                </c:pt>
                <c:pt idx="187">
                  <c:v>24563</c:v>
                </c:pt>
                <c:pt idx="188">
                  <c:v>24492</c:v>
                </c:pt>
                <c:pt idx="189">
                  <c:v>24275</c:v>
                </c:pt>
                <c:pt idx="190">
                  <c:v>24500</c:v>
                </c:pt>
                <c:pt idx="191">
                  <c:v>24538</c:v>
                </c:pt>
                <c:pt idx="192">
                  <c:v>24854</c:v>
                </c:pt>
                <c:pt idx="193">
                  <c:v>24819</c:v>
                </c:pt>
                <c:pt idx="194">
                  <c:v>24490</c:v>
                </c:pt>
                <c:pt idx="195">
                  <c:v>25041</c:v>
                </c:pt>
                <c:pt idx="196">
                  <c:v>24919</c:v>
                </c:pt>
                <c:pt idx="197">
                  <c:v>24687</c:v>
                </c:pt>
                <c:pt idx="198">
                  <c:v>24919</c:v>
                </c:pt>
                <c:pt idx="199">
                  <c:v>24919</c:v>
                </c:pt>
                <c:pt idx="200">
                  <c:v>24956</c:v>
                </c:pt>
                <c:pt idx="201">
                  <c:v>24995</c:v>
                </c:pt>
                <c:pt idx="202">
                  <c:v>25321</c:v>
                </c:pt>
                <c:pt idx="203">
                  <c:v>25019</c:v>
                </c:pt>
                <c:pt idx="204">
                  <c:v>25173</c:v>
                </c:pt>
                <c:pt idx="205">
                  <c:v>24922</c:v>
                </c:pt>
                <c:pt idx="206">
                  <c:v>24619</c:v>
                </c:pt>
                <c:pt idx="207">
                  <c:v>25428</c:v>
                </c:pt>
                <c:pt idx="208">
                  <c:v>24894</c:v>
                </c:pt>
                <c:pt idx="209">
                  <c:v>25219</c:v>
                </c:pt>
                <c:pt idx="210">
                  <c:v>25496</c:v>
                </c:pt>
                <c:pt idx="211">
                  <c:v>24934</c:v>
                </c:pt>
                <c:pt idx="212">
                  <c:v>25245</c:v>
                </c:pt>
                <c:pt idx="213">
                  <c:v>25119</c:v>
                </c:pt>
                <c:pt idx="214">
                  <c:v>25142</c:v>
                </c:pt>
                <c:pt idx="215">
                  <c:v>25119</c:v>
                </c:pt>
                <c:pt idx="216">
                  <c:v>25242</c:v>
                </c:pt>
                <c:pt idx="217">
                  <c:v>24956</c:v>
                </c:pt>
                <c:pt idx="218">
                  <c:v>25217</c:v>
                </c:pt>
                <c:pt idx="219">
                  <c:v>25056</c:v>
                </c:pt>
                <c:pt idx="220">
                  <c:v>24676</c:v>
                </c:pt>
                <c:pt idx="221">
                  <c:v>24997</c:v>
                </c:pt>
                <c:pt idx="222">
                  <c:v>25141</c:v>
                </c:pt>
                <c:pt idx="223">
                  <c:v>25011</c:v>
                </c:pt>
                <c:pt idx="224">
                  <c:v>24403</c:v>
                </c:pt>
                <c:pt idx="225">
                  <c:v>24219</c:v>
                </c:pt>
                <c:pt idx="226">
                  <c:v>24383</c:v>
                </c:pt>
                <c:pt idx="227">
                  <c:v>24536</c:v>
                </c:pt>
                <c:pt idx="228">
                  <c:v>24472</c:v>
                </c:pt>
                <c:pt idx="229">
                  <c:v>25318</c:v>
                </c:pt>
                <c:pt idx="230">
                  <c:v>24719</c:v>
                </c:pt>
                <c:pt idx="231">
                  <c:v>24400</c:v>
                </c:pt>
                <c:pt idx="232">
                  <c:v>24397</c:v>
                </c:pt>
                <c:pt idx="233">
                  <c:v>24955</c:v>
                </c:pt>
                <c:pt idx="234">
                  <c:v>24370</c:v>
                </c:pt>
                <c:pt idx="235">
                  <c:v>25044</c:v>
                </c:pt>
                <c:pt idx="236">
                  <c:v>25284</c:v>
                </c:pt>
                <c:pt idx="237">
                  <c:v>25473</c:v>
                </c:pt>
                <c:pt idx="238">
                  <c:v>25161</c:v>
                </c:pt>
                <c:pt idx="239">
                  <c:v>25019</c:v>
                </c:pt>
                <c:pt idx="240">
                  <c:v>25014</c:v>
                </c:pt>
                <c:pt idx="241">
                  <c:v>24857</c:v>
                </c:pt>
                <c:pt idx="242">
                  <c:v>24939</c:v>
                </c:pt>
                <c:pt idx="243">
                  <c:v>24939</c:v>
                </c:pt>
                <c:pt idx="244">
                  <c:v>24939</c:v>
                </c:pt>
                <c:pt idx="245">
                  <c:v>24939</c:v>
                </c:pt>
                <c:pt idx="246">
                  <c:v>24939</c:v>
                </c:pt>
                <c:pt idx="247">
                  <c:v>24939</c:v>
                </c:pt>
                <c:pt idx="248">
                  <c:v>24939</c:v>
                </c:pt>
                <c:pt idx="249">
                  <c:v>24939</c:v>
                </c:pt>
                <c:pt idx="250">
                  <c:v>25912</c:v>
                </c:pt>
                <c:pt idx="251">
                  <c:v>25428</c:v>
                </c:pt>
                <c:pt idx="252">
                  <c:v>26699</c:v>
                </c:pt>
                <c:pt idx="253">
                  <c:v>26774</c:v>
                </c:pt>
                <c:pt idx="254">
                  <c:v>26945</c:v>
                </c:pt>
                <c:pt idx="255">
                  <c:v>25922</c:v>
                </c:pt>
                <c:pt idx="256">
                  <c:v>27183</c:v>
                </c:pt>
                <c:pt idx="257">
                  <c:v>27352</c:v>
                </c:pt>
                <c:pt idx="258">
                  <c:v>28024</c:v>
                </c:pt>
                <c:pt idx="259">
                  <c:v>27274</c:v>
                </c:pt>
                <c:pt idx="260">
                  <c:v>26974</c:v>
                </c:pt>
                <c:pt idx="261">
                  <c:v>26920</c:v>
                </c:pt>
                <c:pt idx="262">
                  <c:v>27924</c:v>
                </c:pt>
                <c:pt idx="263">
                  <c:v>27944</c:v>
                </c:pt>
                <c:pt idx="264">
                  <c:v>27374</c:v>
                </c:pt>
                <c:pt idx="265">
                  <c:v>26924</c:v>
                </c:pt>
                <c:pt idx="266">
                  <c:v>26944</c:v>
                </c:pt>
                <c:pt idx="267">
                  <c:v>26944</c:v>
                </c:pt>
                <c:pt idx="268">
                  <c:v>27218</c:v>
                </c:pt>
                <c:pt idx="269">
                  <c:v>27271</c:v>
                </c:pt>
                <c:pt idx="270">
                  <c:v>27574</c:v>
                </c:pt>
                <c:pt idx="271">
                  <c:v>27594</c:v>
                </c:pt>
                <c:pt idx="272">
                  <c:v>26181</c:v>
                </c:pt>
                <c:pt idx="273">
                  <c:v>26230</c:v>
                </c:pt>
                <c:pt idx="274">
                  <c:v>26018</c:v>
                </c:pt>
                <c:pt idx="275">
                  <c:v>25918</c:v>
                </c:pt>
                <c:pt idx="276">
                  <c:v>25634</c:v>
                </c:pt>
                <c:pt idx="277">
                  <c:v>25782</c:v>
                </c:pt>
                <c:pt idx="278">
                  <c:v>25719</c:v>
                </c:pt>
                <c:pt idx="279">
                  <c:v>25624</c:v>
                </c:pt>
                <c:pt idx="280">
                  <c:v>25555</c:v>
                </c:pt>
                <c:pt idx="281">
                  <c:v>25721</c:v>
                </c:pt>
                <c:pt idx="282">
                  <c:v>25741</c:v>
                </c:pt>
                <c:pt idx="283">
                  <c:v>25732</c:v>
                </c:pt>
                <c:pt idx="284">
                  <c:v>26492</c:v>
                </c:pt>
                <c:pt idx="285">
                  <c:v>25755</c:v>
                </c:pt>
                <c:pt idx="286">
                  <c:v>25535</c:v>
                </c:pt>
                <c:pt idx="287">
                  <c:v>25571</c:v>
                </c:pt>
                <c:pt idx="288">
                  <c:v>25985</c:v>
                </c:pt>
                <c:pt idx="289">
                  <c:v>25925</c:v>
                </c:pt>
                <c:pt idx="290">
                  <c:v>25927</c:v>
                </c:pt>
                <c:pt idx="291">
                  <c:v>25927</c:v>
                </c:pt>
                <c:pt idx="292">
                  <c:v>25927</c:v>
                </c:pt>
                <c:pt idx="293">
                  <c:v>25802</c:v>
                </c:pt>
                <c:pt idx="294">
                  <c:v>25816</c:v>
                </c:pt>
                <c:pt idx="295">
                  <c:v>25816</c:v>
                </c:pt>
                <c:pt idx="296">
                  <c:v>25816</c:v>
                </c:pt>
                <c:pt idx="297">
                  <c:v>27092</c:v>
                </c:pt>
                <c:pt idx="298">
                  <c:v>26360</c:v>
                </c:pt>
                <c:pt idx="299">
                  <c:v>27092</c:v>
                </c:pt>
                <c:pt idx="300">
                  <c:v>27774</c:v>
                </c:pt>
                <c:pt idx="301">
                  <c:v>27794</c:v>
                </c:pt>
                <c:pt idx="302">
                  <c:v>26613</c:v>
                </c:pt>
                <c:pt idx="303">
                  <c:v>27092</c:v>
                </c:pt>
                <c:pt idx="304">
                  <c:v>27102</c:v>
                </c:pt>
                <c:pt idx="305">
                  <c:v>28094</c:v>
                </c:pt>
                <c:pt idx="306">
                  <c:v>28044</c:v>
                </c:pt>
                <c:pt idx="307">
                  <c:v>27502</c:v>
                </c:pt>
                <c:pt idx="308">
                  <c:v>27606</c:v>
                </c:pt>
                <c:pt idx="309">
                  <c:v>27532</c:v>
                </c:pt>
                <c:pt idx="310">
                  <c:v>28192</c:v>
                </c:pt>
                <c:pt idx="311">
                  <c:v>28412</c:v>
                </c:pt>
                <c:pt idx="312">
                  <c:v>28412</c:v>
                </c:pt>
                <c:pt idx="313">
                  <c:v>28412</c:v>
                </c:pt>
                <c:pt idx="314">
                  <c:v>28412</c:v>
                </c:pt>
                <c:pt idx="315">
                  <c:v>28412</c:v>
                </c:pt>
                <c:pt idx="316">
                  <c:v>28412</c:v>
                </c:pt>
                <c:pt idx="317">
                  <c:v>28412</c:v>
                </c:pt>
                <c:pt idx="318">
                  <c:v>28300</c:v>
                </c:pt>
                <c:pt idx="319">
                  <c:v>29655</c:v>
                </c:pt>
                <c:pt idx="320">
                  <c:v>30857</c:v>
                </c:pt>
                <c:pt idx="321">
                  <c:v>33307</c:v>
                </c:pt>
                <c:pt idx="322">
                  <c:v>30297</c:v>
                </c:pt>
                <c:pt idx="323">
                  <c:v>34200</c:v>
                </c:pt>
                <c:pt idx="324">
                  <c:v>34272</c:v>
                </c:pt>
                <c:pt idx="325">
                  <c:v>34331</c:v>
                </c:pt>
                <c:pt idx="326">
                  <c:v>33383</c:v>
                </c:pt>
                <c:pt idx="327">
                  <c:v>33605</c:v>
                </c:pt>
                <c:pt idx="328">
                  <c:v>33935</c:v>
                </c:pt>
                <c:pt idx="329">
                  <c:v>33972</c:v>
                </c:pt>
                <c:pt idx="330">
                  <c:v>34072</c:v>
                </c:pt>
                <c:pt idx="331">
                  <c:v>34032</c:v>
                </c:pt>
                <c:pt idx="332">
                  <c:v>34117</c:v>
                </c:pt>
                <c:pt idx="333">
                  <c:v>34077</c:v>
                </c:pt>
                <c:pt idx="334">
                  <c:v>33699</c:v>
                </c:pt>
                <c:pt idx="335">
                  <c:v>34057</c:v>
                </c:pt>
                <c:pt idx="336">
                  <c:v>34092</c:v>
                </c:pt>
                <c:pt idx="337">
                  <c:v>33964</c:v>
                </c:pt>
                <c:pt idx="338">
                  <c:v>33992</c:v>
                </c:pt>
                <c:pt idx="339">
                  <c:v>33992</c:v>
                </c:pt>
                <c:pt idx="340">
                  <c:v>33892</c:v>
                </c:pt>
                <c:pt idx="341">
                  <c:v>33912</c:v>
                </c:pt>
                <c:pt idx="342">
                  <c:v>33912</c:v>
                </c:pt>
                <c:pt idx="343">
                  <c:v>33912</c:v>
                </c:pt>
                <c:pt idx="344">
                  <c:v>33912</c:v>
                </c:pt>
                <c:pt idx="345">
                  <c:v>31803</c:v>
                </c:pt>
                <c:pt idx="346">
                  <c:v>31624</c:v>
                </c:pt>
                <c:pt idx="347">
                  <c:v>31778</c:v>
                </c:pt>
                <c:pt idx="348">
                  <c:v>31798</c:v>
                </c:pt>
                <c:pt idx="349">
                  <c:v>31792</c:v>
                </c:pt>
                <c:pt idx="350">
                  <c:v>31799</c:v>
                </c:pt>
                <c:pt idx="351">
                  <c:v>31942</c:v>
                </c:pt>
                <c:pt idx="352">
                  <c:v>31948</c:v>
                </c:pt>
                <c:pt idx="353">
                  <c:v>31968</c:v>
                </c:pt>
                <c:pt idx="354">
                  <c:v>31968</c:v>
                </c:pt>
                <c:pt idx="355">
                  <c:v>31968</c:v>
                </c:pt>
                <c:pt idx="356">
                  <c:v>31968</c:v>
                </c:pt>
                <c:pt idx="357">
                  <c:v>32081</c:v>
                </c:pt>
                <c:pt idx="358">
                  <c:v>31984</c:v>
                </c:pt>
                <c:pt idx="359">
                  <c:v>31993</c:v>
                </c:pt>
                <c:pt idx="360">
                  <c:v>32142</c:v>
                </c:pt>
                <c:pt idx="361">
                  <c:v>32192</c:v>
                </c:pt>
                <c:pt idx="362">
                  <c:v>31995</c:v>
                </c:pt>
                <c:pt idx="363">
                  <c:v>31992</c:v>
                </c:pt>
                <c:pt idx="364">
                  <c:v>31883</c:v>
                </c:pt>
                <c:pt idx="365">
                  <c:v>32042</c:v>
                </c:pt>
                <c:pt idx="366">
                  <c:v>32025</c:v>
                </c:pt>
                <c:pt idx="367">
                  <c:v>32036</c:v>
                </c:pt>
                <c:pt idx="368">
                  <c:v>31714</c:v>
                </c:pt>
                <c:pt idx="369">
                  <c:v>31830</c:v>
                </c:pt>
                <c:pt idx="370">
                  <c:v>32271</c:v>
                </c:pt>
                <c:pt idx="371">
                  <c:v>32271</c:v>
                </c:pt>
                <c:pt idx="372">
                  <c:v>31993</c:v>
                </c:pt>
                <c:pt idx="373">
                  <c:v>32393</c:v>
                </c:pt>
                <c:pt idx="374">
                  <c:v>33285</c:v>
                </c:pt>
                <c:pt idx="375">
                  <c:v>33793</c:v>
                </c:pt>
                <c:pt idx="376">
                  <c:v>33893</c:v>
                </c:pt>
                <c:pt idx="377">
                  <c:v>33650</c:v>
                </c:pt>
                <c:pt idx="378">
                  <c:v>34198</c:v>
                </c:pt>
                <c:pt idx="379">
                  <c:v>34193</c:v>
                </c:pt>
                <c:pt idx="380">
                  <c:v>34513</c:v>
                </c:pt>
                <c:pt idx="381">
                  <c:v>35263</c:v>
                </c:pt>
                <c:pt idx="382">
                  <c:v>35103</c:v>
                </c:pt>
                <c:pt idx="383">
                  <c:v>35109</c:v>
                </c:pt>
                <c:pt idx="384">
                  <c:v>35504</c:v>
                </c:pt>
                <c:pt idx="385">
                  <c:v>35590</c:v>
                </c:pt>
                <c:pt idx="386">
                  <c:v>35421</c:v>
                </c:pt>
                <c:pt idx="387">
                  <c:v>35815</c:v>
                </c:pt>
                <c:pt idx="388">
                  <c:v>35815</c:v>
                </c:pt>
                <c:pt idx="389">
                  <c:v>35893</c:v>
                </c:pt>
                <c:pt idx="390">
                  <c:v>35893</c:v>
                </c:pt>
                <c:pt idx="391">
                  <c:v>35793</c:v>
                </c:pt>
                <c:pt idx="392">
                  <c:v>35793</c:v>
                </c:pt>
                <c:pt idx="393">
                  <c:v>35893</c:v>
                </c:pt>
                <c:pt idx="394">
                  <c:v>35454</c:v>
                </c:pt>
                <c:pt idx="395">
                  <c:v>35454</c:v>
                </c:pt>
                <c:pt idx="396">
                  <c:v>34683</c:v>
                </c:pt>
                <c:pt idx="397">
                  <c:v>34683</c:v>
                </c:pt>
                <c:pt idx="398">
                  <c:v>34683</c:v>
                </c:pt>
                <c:pt idx="399">
                  <c:v>34649</c:v>
                </c:pt>
                <c:pt idx="400">
                  <c:v>34649</c:v>
                </c:pt>
                <c:pt idx="401">
                  <c:v>34693</c:v>
                </c:pt>
                <c:pt idx="402">
                  <c:v>34693</c:v>
                </c:pt>
                <c:pt idx="403">
                  <c:v>34693</c:v>
                </c:pt>
                <c:pt idx="404">
                  <c:v>34830</c:v>
                </c:pt>
                <c:pt idx="405">
                  <c:v>35093</c:v>
                </c:pt>
                <c:pt idx="406">
                  <c:v>34936</c:v>
                </c:pt>
                <c:pt idx="407">
                  <c:v>35101</c:v>
                </c:pt>
                <c:pt idx="408">
                  <c:v>35101</c:v>
                </c:pt>
                <c:pt idx="409">
                  <c:v>35193</c:v>
                </c:pt>
                <c:pt idx="410">
                  <c:v>35183</c:v>
                </c:pt>
                <c:pt idx="411">
                  <c:v>35193</c:v>
                </c:pt>
                <c:pt idx="412">
                  <c:v>34800</c:v>
                </c:pt>
                <c:pt idx="413">
                  <c:v>34800</c:v>
                </c:pt>
                <c:pt idx="414">
                  <c:v>34793</c:v>
                </c:pt>
                <c:pt idx="415">
                  <c:v>34793</c:v>
                </c:pt>
                <c:pt idx="416">
                  <c:v>34295</c:v>
                </c:pt>
                <c:pt idx="417">
                  <c:v>34295</c:v>
                </c:pt>
                <c:pt idx="418">
                  <c:v>34283</c:v>
                </c:pt>
                <c:pt idx="419">
                  <c:v>34283</c:v>
                </c:pt>
                <c:pt idx="420">
                  <c:v>34293</c:v>
                </c:pt>
                <c:pt idx="421">
                  <c:v>34022</c:v>
                </c:pt>
                <c:pt idx="422">
                  <c:v>33993</c:v>
                </c:pt>
                <c:pt idx="423">
                  <c:v>33667</c:v>
                </c:pt>
                <c:pt idx="424">
                  <c:v>33593</c:v>
                </c:pt>
                <c:pt idx="425">
                  <c:v>33808</c:v>
                </c:pt>
                <c:pt idx="426">
                  <c:v>33793</c:v>
                </c:pt>
                <c:pt idx="427">
                  <c:v>33793</c:v>
                </c:pt>
                <c:pt idx="428">
                  <c:v>33480</c:v>
                </c:pt>
                <c:pt idx="429">
                  <c:v>33293</c:v>
                </c:pt>
                <c:pt idx="430">
                  <c:v>32861</c:v>
                </c:pt>
                <c:pt idx="431">
                  <c:v>33193</c:v>
                </c:pt>
                <c:pt idx="432">
                  <c:v>33243</c:v>
                </c:pt>
                <c:pt idx="433">
                  <c:v>33293</c:v>
                </c:pt>
                <c:pt idx="434">
                  <c:v>33026</c:v>
                </c:pt>
                <c:pt idx="435">
                  <c:v>32796</c:v>
                </c:pt>
                <c:pt idx="436">
                  <c:v>32853</c:v>
                </c:pt>
                <c:pt idx="437">
                  <c:v>32822</c:v>
                </c:pt>
                <c:pt idx="438">
                  <c:v>32826</c:v>
                </c:pt>
                <c:pt idx="439">
                  <c:v>32826</c:v>
                </c:pt>
                <c:pt idx="440">
                  <c:v>32893</c:v>
                </c:pt>
                <c:pt idx="441">
                  <c:v>32893</c:v>
                </c:pt>
                <c:pt idx="442">
                  <c:v>32893</c:v>
                </c:pt>
                <c:pt idx="443">
                  <c:v>32893</c:v>
                </c:pt>
                <c:pt idx="444">
                  <c:v>33093</c:v>
                </c:pt>
                <c:pt idx="445">
                  <c:v>33093</c:v>
                </c:pt>
                <c:pt idx="446">
                  <c:v>32893</c:v>
                </c:pt>
                <c:pt idx="447">
                  <c:v>32893</c:v>
                </c:pt>
                <c:pt idx="448">
                  <c:v>32893</c:v>
                </c:pt>
                <c:pt idx="449">
                  <c:v>32893</c:v>
                </c:pt>
                <c:pt idx="450">
                  <c:v>32863</c:v>
                </c:pt>
                <c:pt idx="451">
                  <c:v>32893</c:v>
                </c:pt>
                <c:pt idx="452">
                  <c:v>32793</c:v>
                </c:pt>
                <c:pt idx="453">
                  <c:v>32793</c:v>
                </c:pt>
                <c:pt idx="454">
                  <c:v>32552</c:v>
                </c:pt>
                <c:pt idx="455">
                  <c:v>32552</c:v>
                </c:pt>
                <c:pt idx="456">
                  <c:v>31993</c:v>
                </c:pt>
                <c:pt idx="457">
                  <c:v>32093</c:v>
                </c:pt>
                <c:pt idx="458">
                  <c:v>31593</c:v>
                </c:pt>
                <c:pt idx="459">
                  <c:v>31793</c:v>
                </c:pt>
                <c:pt idx="460">
                  <c:v>31593</c:v>
                </c:pt>
                <c:pt idx="461">
                  <c:v>31393</c:v>
                </c:pt>
                <c:pt idx="462">
                  <c:v>31193</c:v>
                </c:pt>
                <c:pt idx="463">
                  <c:v>30793</c:v>
                </c:pt>
                <c:pt idx="464">
                  <c:v>30718</c:v>
                </c:pt>
                <c:pt idx="465">
                  <c:v>30821</c:v>
                </c:pt>
                <c:pt idx="466">
                  <c:v>30186</c:v>
                </c:pt>
                <c:pt idx="467">
                  <c:v>30293</c:v>
                </c:pt>
                <c:pt idx="468">
                  <c:v>30293</c:v>
                </c:pt>
                <c:pt idx="469">
                  <c:v>29803</c:v>
                </c:pt>
                <c:pt idx="470">
                  <c:v>29609</c:v>
                </c:pt>
                <c:pt idx="471">
                  <c:v>29593</c:v>
                </c:pt>
                <c:pt idx="472">
                  <c:v>29393</c:v>
                </c:pt>
                <c:pt idx="473">
                  <c:v>29328</c:v>
                </c:pt>
                <c:pt idx="474">
                  <c:v>29328</c:v>
                </c:pt>
                <c:pt idx="475">
                  <c:v>28154</c:v>
                </c:pt>
                <c:pt idx="476">
                  <c:v>27954</c:v>
                </c:pt>
                <c:pt idx="477">
                  <c:v>27953</c:v>
                </c:pt>
                <c:pt idx="478">
                  <c:v>27960</c:v>
                </c:pt>
                <c:pt idx="479">
                  <c:v>28343</c:v>
                </c:pt>
                <c:pt idx="480">
                  <c:v>27921</c:v>
                </c:pt>
                <c:pt idx="481">
                  <c:v>28293</c:v>
                </c:pt>
                <c:pt idx="482">
                  <c:v>28393</c:v>
                </c:pt>
                <c:pt idx="483">
                  <c:v>28193</c:v>
                </c:pt>
                <c:pt idx="484">
                  <c:v>28193</c:v>
                </c:pt>
                <c:pt idx="485">
                  <c:v>28393</c:v>
                </c:pt>
                <c:pt idx="486">
                  <c:v>28093</c:v>
                </c:pt>
                <c:pt idx="487">
                  <c:v>28093</c:v>
                </c:pt>
                <c:pt idx="488">
                  <c:v>28093</c:v>
                </c:pt>
                <c:pt idx="489">
                  <c:v>27203</c:v>
                </c:pt>
                <c:pt idx="490">
                  <c:v>27128</c:v>
                </c:pt>
                <c:pt idx="491">
                  <c:v>26664</c:v>
                </c:pt>
                <c:pt idx="492">
                  <c:v>27393</c:v>
                </c:pt>
                <c:pt idx="493">
                  <c:v>27035</c:v>
                </c:pt>
                <c:pt idx="494">
                  <c:v>27003</c:v>
                </c:pt>
                <c:pt idx="495">
                  <c:v>26993</c:v>
                </c:pt>
                <c:pt idx="496">
                  <c:v>26446</c:v>
                </c:pt>
                <c:pt idx="497">
                  <c:v>27044</c:v>
                </c:pt>
                <c:pt idx="498">
                  <c:v>26816</c:v>
                </c:pt>
                <c:pt idx="499">
                  <c:v>27474</c:v>
                </c:pt>
                <c:pt idx="500">
                  <c:v>27458</c:v>
                </c:pt>
                <c:pt idx="501">
                  <c:v>27360</c:v>
                </c:pt>
                <c:pt idx="502">
                  <c:v>27157</c:v>
                </c:pt>
                <c:pt idx="503">
                  <c:v>27150</c:v>
                </c:pt>
                <c:pt idx="504">
                  <c:v>27212</c:v>
                </c:pt>
                <c:pt idx="505">
                  <c:v>27147</c:v>
                </c:pt>
                <c:pt idx="506">
                  <c:v>27147</c:v>
                </c:pt>
                <c:pt idx="507">
                  <c:v>27050</c:v>
                </c:pt>
                <c:pt idx="508">
                  <c:v>26877</c:v>
                </c:pt>
                <c:pt idx="509">
                  <c:v>26845</c:v>
                </c:pt>
                <c:pt idx="510">
                  <c:v>26672</c:v>
                </c:pt>
                <c:pt idx="511">
                  <c:v>26661</c:v>
                </c:pt>
                <c:pt idx="512">
                  <c:v>26339</c:v>
                </c:pt>
                <c:pt idx="513">
                  <c:v>26339</c:v>
                </c:pt>
                <c:pt idx="514">
                  <c:v>26173</c:v>
                </c:pt>
                <c:pt idx="515">
                  <c:v>25541</c:v>
                </c:pt>
                <c:pt idx="516">
                  <c:v>25539</c:v>
                </c:pt>
                <c:pt idx="517">
                  <c:v>25614</c:v>
                </c:pt>
                <c:pt idx="518">
                  <c:v>25689</c:v>
                </c:pt>
                <c:pt idx="519">
                  <c:v>25696</c:v>
                </c:pt>
                <c:pt idx="520">
                  <c:v>25895</c:v>
                </c:pt>
                <c:pt idx="521">
                  <c:v>25603</c:v>
                </c:pt>
                <c:pt idx="522">
                  <c:v>26459</c:v>
                </c:pt>
                <c:pt idx="523">
                  <c:v>26295</c:v>
                </c:pt>
                <c:pt idx="524">
                  <c:v>26361</c:v>
                </c:pt>
                <c:pt idx="525">
                  <c:v>26361</c:v>
                </c:pt>
                <c:pt idx="526">
                  <c:v>27434</c:v>
                </c:pt>
                <c:pt idx="527">
                  <c:v>27804</c:v>
                </c:pt>
                <c:pt idx="528">
                  <c:v>28115</c:v>
                </c:pt>
                <c:pt idx="529">
                  <c:v>28168</c:v>
                </c:pt>
                <c:pt idx="530">
                  <c:v>28590</c:v>
                </c:pt>
                <c:pt idx="531">
                  <c:v>29199</c:v>
                </c:pt>
                <c:pt idx="532">
                  <c:v>29330</c:v>
                </c:pt>
                <c:pt idx="533">
                  <c:v>29433</c:v>
                </c:pt>
                <c:pt idx="534">
                  <c:v>29458</c:v>
                </c:pt>
                <c:pt idx="535">
                  <c:v>29439</c:v>
                </c:pt>
                <c:pt idx="536">
                  <c:v>28839</c:v>
                </c:pt>
                <c:pt idx="537">
                  <c:v>28803</c:v>
                </c:pt>
                <c:pt idx="538">
                  <c:v>28823</c:v>
                </c:pt>
                <c:pt idx="539">
                  <c:v>28818</c:v>
                </c:pt>
                <c:pt idx="540">
                  <c:v>28417</c:v>
                </c:pt>
                <c:pt idx="541">
                  <c:v>28395</c:v>
                </c:pt>
                <c:pt idx="542">
                  <c:v>28799</c:v>
                </c:pt>
                <c:pt idx="543">
                  <c:v>28339</c:v>
                </c:pt>
                <c:pt idx="544">
                  <c:v>28449</c:v>
                </c:pt>
                <c:pt idx="545">
                  <c:v>28844</c:v>
                </c:pt>
                <c:pt idx="546">
                  <c:v>28844</c:v>
                </c:pt>
                <c:pt idx="547">
                  <c:v>28939</c:v>
                </c:pt>
                <c:pt idx="548">
                  <c:v>28959</c:v>
                </c:pt>
                <c:pt idx="549">
                  <c:v>29523</c:v>
                </c:pt>
                <c:pt idx="550">
                  <c:v>30233</c:v>
                </c:pt>
                <c:pt idx="551">
                  <c:v>30905</c:v>
                </c:pt>
                <c:pt idx="552">
                  <c:v>29630</c:v>
                </c:pt>
                <c:pt idx="553">
                  <c:v>30033</c:v>
                </c:pt>
                <c:pt idx="554">
                  <c:v>30901</c:v>
                </c:pt>
                <c:pt idx="555">
                  <c:v>31247</c:v>
                </c:pt>
                <c:pt idx="556">
                  <c:v>31416</c:v>
                </c:pt>
                <c:pt idx="557">
                  <c:v>30229</c:v>
                </c:pt>
                <c:pt idx="558">
                  <c:v>31577</c:v>
                </c:pt>
                <c:pt idx="559">
                  <c:v>31897</c:v>
                </c:pt>
                <c:pt idx="560">
                  <c:v>32261</c:v>
                </c:pt>
                <c:pt idx="561">
                  <c:v>32150</c:v>
                </c:pt>
                <c:pt idx="562">
                  <c:v>32283</c:v>
                </c:pt>
                <c:pt idx="563">
                  <c:v>31965</c:v>
                </c:pt>
                <c:pt idx="564">
                  <c:v>32109</c:v>
                </c:pt>
                <c:pt idx="565">
                  <c:v>32419</c:v>
                </c:pt>
                <c:pt idx="566">
                  <c:v>32658</c:v>
                </c:pt>
                <c:pt idx="567">
                  <c:v>32658</c:v>
                </c:pt>
                <c:pt idx="568">
                  <c:v>32658</c:v>
                </c:pt>
                <c:pt idx="569">
                  <c:v>32119</c:v>
                </c:pt>
                <c:pt idx="570">
                  <c:v>32029</c:v>
                </c:pt>
                <c:pt idx="571">
                  <c:v>30503</c:v>
                </c:pt>
                <c:pt idx="572">
                  <c:v>32882</c:v>
                </c:pt>
                <c:pt idx="573">
                  <c:v>32718</c:v>
                </c:pt>
                <c:pt idx="574">
                  <c:v>32696</c:v>
                </c:pt>
                <c:pt idx="575">
                  <c:v>32739</c:v>
                </c:pt>
                <c:pt idx="576">
                  <c:v>32666</c:v>
                </c:pt>
                <c:pt idx="577">
                  <c:v>32849</c:v>
                </c:pt>
                <c:pt idx="578">
                  <c:v>32832</c:v>
                </c:pt>
                <c:pt idx="579">
                  <c:v>32508</c:v>
                </c:pt>
                <c:pt idx="580">
                  <c:v>32696</c:v>
                </c:pt>
                <c:pt idx="581">
                  <c:v>32692</c:v>
                </c:pt>
                <c:pt idx="582">
                  <c:v>32768</c:v>
                </c:pt>
                <c:pt idx="583">
                  <c:v>32615</c:v>
                </c:pt>
                <c:pt idx="584">
                  <c:v>32534</c:v>
                </c:pt>
                <c:pt idx="585">
                  <c:v>33011</c:v>
                </c:pt>
                <c:pt idx="586">
                  <c:v>32876</c:v>
                </c:pt>
                <c:pt idx="587">
                  <c:v>32498</c:v>
                </c:pt>
                <c:pt idx="588">
                  <c:v>31976</c:v>
                </c:pt>
                <c:pt idx="589">
                  <c:v>32389</c:v>
                </c:pt>
                <c:pt idx="590">
                  <c:v>32388</c:v>
                </c:pt>
                <c:pt idx="591">
                  <c:v>32013</c:v>
                </c:pt>
                <c:pt idx="592">
                  <c:v>32155</c:v>
                </c:pt>
                <c:pt idx="593">
                  <c:v>32449</c:v>
                </c:pt>
                <c:pt idx="594">
                  <c:v>32187</c:v>
                </c:pt>
                <c:pt idx="595">
                  <c:v>32064</c:v>
                </c:pt>
                <c:pt idx="596">
                  <c:v>31773</c:v>
                </c:pt>
                <c:pt idx="597">
                  <c:v>31706</c:v>
                </c:pt>
                <c:pt idx="598">
                  <c:v>31568</c:v>
                </c:pt>
                <c:pt idx="599">
                  <c:v>31741</c:v>
                </c:pt>
                <c:pt idx="600">
                  <c:v>31829</c:v>
                </c:pt>
                <c:pt idx="601">
                  <c:v>31876</c:v>
                </c:pt>
                <c:pt idx="602">
                  <c:v>32026</c:v>
                </c:pt>
                <c:pt idx="603">
                  <c:v>31908</c:v>
                </c:pt>
                <c:pt idx="604">
                  <c:v>31748</c:v>
                </c:pt>
                <c:pt idx="605">
                  <c:v>31677</c:v>
                </c:pt>
                <c:pt idx="606">
                  <c:v>31470</c:v>
                </c:pt>
                <c:pt idx="607">
                  <c:v>31328</c:v>
                </c:pt>
                <c:pt idx="608">
                  <c:v>31489</c:v>
                </c:pt>
                <c:pt idx="609">
                  <c:v>31218</c:v>
                </c:pt>
                <c:pt idx="610">
                  <c:v>30938</c:v>
                </c:pt>
                <c:pt idx="611">
                  <c:v>30862</c:v>
                </c:pt>
                <c:pt idx="612">
                  <c:v>30541</c:v>
                </c:pt>
                <c:pt idx="613">
                  <c:v>30735</c:v>
                </c:pt>
                <c:pt idx="614">
                  <c:v>30624</c:v>
                </c:pt>
                <c:pt idx="615">
                  <c:v>31144</c:v>
                </c:pt>
                <c:pt idx="616">
                  <c:v>31239</c:v>
                </c:pt>
                <c:pt idx="617">
                  <c:v>31742</c:v>
                </c:pt>
                <c:pt idx="618">
                  <c:v>31866</c:v>
                </c:pt>
                <c:pt idx="619">
                  <c:v>31939</c:v>
                </c:pt>
                <c:pt idx="620">
                  <c:v>31919</c:v>
                </c:pt>
                <c:pt idx="621">
                  <c:v>31893</c:v>
                </c:pt>
                <c:pt idx="622">
                  <c:v>31635</c:v>
                </c:pt>
                <c:pt idx="623">
                  <c:v>31600</c:v>
                </c:pt>
                <c:pt idx="624">
                  <c:v>31356</c:v>
                </c:pt>
                <c:pt idx="625">
                  <c:v>31264</c:v>
                </c:pt>
                <c:pt idx="626">
                  <c:v>31209</c:v>
                </c:pt>
                <c:pt idx="627">
                  <c:v>30936</c:v>
                </c:pt>
                <c:pt idx="628">
                  <c:v>30870</c:v>
                </c:pt>
                <c:pt idx="629">
                  <c:v>31154</c:v>
                </c:pt>
                <c:pt idx="630">
                  <c:v>31264</c:v>
                </c:pt>
                <c:pt idx="631">
                  <c:v>31149</c:v>
                </c:pt>
                <c:pt idx="632">
                  <c:v>31221</c:v>
                </c:pt>
                <c:pt idx="633">
                  <c:v>31362</c:v>
                </c:pt>
                <c:pt idx="634">
                  <c:v>31477</c:v>
                </c:pt>
                <c:pt idx="635">
                  <c:v>31280</c:v>
                </c:pt>
                <c:pt idx="636">
                  <c:v>31439</c:v>
                </c:pt>
                <c:pt idx="637">
                  <c:v>31439</c:v>
                </c:pt>
                <c:pt idx="638">
                  <c:v>32086</c:v>
                </c:pt>
                <c:pt idx="639">
                  <c:v>31450</c:v>
                </c:pt>
                <c:pt idx="640">
                  <c:v>31452</c:v>
                </c:pt>
                <c:pt idx="641">
                  <c:v>31598</c:v>
                </c:pt>
                <c:pt idx="642">
                  <c:v>31651</c:v>
                </c:pt>
                <c:pt idx="643">
                  <c:v>31686</c:v>
                </c:pt>
                <c:pt idx="644">
                  <c:v>31357</c:v>
                </c:pt>
                <c:pt idx="645">
                  <c:v>31664</c:v>
                </c:pt>
                <c:pt idx="646">
                  <c:v>31681</c:v>
                </c:pt>
                <c:pt idx="647">
                  <c:v>31529</c:v>
                </c:pt>
                <c:pt idx="648">
                  <c:v>31964</c:v>
                </c:pt>
                <c:pt idx="649">
                  <c:v>31980</c:v>
                </c:pt>
                <c:pt idx="650">
                  <c:v>32013</c:v>
                </c:pt>
                <c:pt idx="651">
                  <c:v>32090</c:v>
                </c:pt>
                <c:pt idx="652">
                  <c:v>31927</c:v>
                </c:pt>
                <c:pt idx="653">
                  <c:v>31992</c:v>
                </c:pt>
                <c:pt idx="654">
                  <c:v>31919</c:v>
                </c:pt>
                <c:pt idx="655">
                  <c:v>32267</c:v>
                </c:pt>
                <c:pt idx="656">
                  <c:v>32247</c:v>
                </c:pt>
                <c:pt idx="657">
                  <c:v>32112</c:v>
                </c:pt>
                <c:pt idx="658">
                  <c:v>32532</c:v>
                </c:pt>
                <c:pt idx="659">
                  <c:v>32931</c:v>
                </c:pt>
                <c:pt idx="660">
                  <c:v>32941</c:v>
                </c:pt>
                <c:pt idx="661">
                  <c:v>33571</c:v>
                </c:pt>
                <c:pt idx="662">
                  <c:v>33895</c:v>
                </c:pt>
                <c:pt idx="663">
                  <c:v>34323</c:v>
                </c:pt>
                <c:pt idx="664">
                  <c:v>34312</c:v>
                </c:pt>
                <c:pt idx="665">
                  <c:v>34385</c:v>
                </c:pt>
                <c:pt idx="666">
                  <c:v>34144</c:v>
                </c:pt>
                <c:pt idx="667">
                  <c:v>33870</c:v>
                </c:pt>
                <c:pt idx="668">
                  <c:v>34460</c:v>
                </c:pt>
                <c:pt idx="669">
                  <c:v>34444</c:v>
                </c:pt>
                <c:pt idx="670">
                  <c:v>34348</c:v>
                </c:pt>
                <c:pt idx="671">
                  <c:v>35055</c:v>
                </c:pt>
                <c:pt idx="672">
                  <c:v>35880</c:v>
                </c:pt>
                <c:pt idx="673">
                  <c:v>35804</c:v>
                </c:pt>
                <c:pt idx="674">
                  <c:v>35607</c:v>
                </c:pt>
                <c:pt idx="675">
                  <c:v>35881</c:v>
                </c:pt>
                <c:pt idx="676">
                  <c:v>35561</c:v>
                </c:pt>
                <c:pt idx="677">
                  <c:v>33353</c:v>
                </c:pt>
                <c:pt idx="678">
                  <c:v>35824</c:v>
                </c:pt>
                <c:pt idx="679">
                  <c:v>36044</c:v>
                </c:pt>
                <c:pt idx="680">
                  <c:v>35814</c:v>
                </c:pt>
                <c:pt idx="681">
                  <c:v>36029</c:v>
                </c:pt>
                <c:pt idx="682">
                  <c:v>36024</c:v>
                </c:pt>
                <c:pt idx="683">
                  <c:v>35677</c:v>
                </c:pt>
                <c:pt idx="684">
                  <c:v>35449</c:v>
                </c:pt>
                <c:pt idx="685">
                  <c:v>35365</c:v>
                </c:pt>
                <c:pt idx="686">
                  <c:v>35015</c:v>
                </c:pt>
                <c:pt idx="687">
                  <c:v>35228</c:v>
                </c:pt>
                <c:pt idx="688">
                  <c:v>35067</c:v>
                </c:pt>
                <c:pt idx="689">
                  <c:v>34535</c:v>
                </c:pt>
                <c:pt idx="690">
                  <c:v>34364</c:v>
                </c:pt>
                <c:pt idx="691">
                  <c:v>34070</c:v>
                </c:pt>
                <c:pt idx="692">
                  <c:v>33906</c:v>
                </c:pt>
                <c:pt idx="693">
                  <c:v>33784</c:v>
                </c:pt>
                <c:pt idx="694">
                  <c:v>34374</c:v>
                </c:pt>
                <c:pt idx="695">
                  <c:v>33584</c:v>
                </c:pt>
                <c:pt idx="696">
                  <c:v>33518</c:v>
                </c:pt>
                <c:pt idx="697">
                  <c:v>32863</c:v>
                </c:pt>
                <c:pt idx="698">
                  <c:v>33674</c:v>
                </c:pt>
                <c:pt idx="699">
                  <c:v>33690</c:v>
                </c:pt>
                <c:pt idx="700">
                  <c:v>33547</c:v>
                </c:pt>
                <c:pt idx="701">
                  <c:v>33210</c:v>
                </c:pt>
                <c:pt idx="702">
                  <c:v>33112</c:v>
                </c:pt>
                <c:pt idx="703">
                  <c:v>33009</c:v>
                </c:pt>
                <c:pt idx="704">
                  <c:v>33148</c:v>
                </c:pt>
                <c:pt idx="705">
                  <c:v>33197</c:v>
                </c:pt>
                <c:pt idx="706">
                  <c:v>33008</c:v>
                </c:pt>
                <c:pt idx="707">
                  <c:v>33172</c:v>
                </c:pt>
                <c:pt idx="708">
                  <c:v>33231</c:v>
                </c:pt>
                <c:pt idx="709">
                  <c:v>33216</c:v>
                </c:pt>
                <c:pt idx="710">
                  <c:v>32746</c:v>
                </c:pt>
                <c:pt idx="711">
                  <c:v>33037</c:v>
                </c:pt>
                <c:pt idx="712">
                  <c:v>32149</c:v>
                </c:pt>
                <c:pt idx="713">
                  <c:v>31937</c:v>
                </c:pt>
                <c:pt idx="714">
                  <c:v>31944</c:v>
                </c:pt>
                <c:pt idx="715">
                  <c:v>32065</c:v>
                </c:pt>
                <c:pt idx="716">
                  <c:v>31732</c:v>
                </c:pt>
                <c:pt idx="717">
                  <c:v>31509</c:v>
                </c:pt>
                <c:pt idx="718">
                  <c:v>31522</c:v>
                </c:pt>
                <c:pt idx="719">
                  <c:v>31442</c:v>
                </c:pt>
                <c:pt idx="720">
                  <c:v>31498</c:v>
                </c:pt>
                <c:pt idx="721">
                  <c:v>31499</c:v>
                </c:pt>
                <c:pt idx="722">
                  <c:v>31347</c:v>
                </c:pt>
                <c:pt idx="723">
                  <c:v>30817</c:v>
                </c:pt>
                <c:pt idx="724">
                  <c:v>30563</c:v>
                </c:pt>
                <c:pt idx="725">
                  <c:v>30444</c:v>
                </c:pt>
                <c:pt idx="726">
                  <c:v>30773</c:v>
                </c:pt>
                <c:pt idx="727">
                  <c:v>31209</c:v>
                </c:pt>
                <c:pt idx="728">
                  <c:v>29634</c:v>
                </c:pt>
                <c:pt idx="729">
                  <c:v>28851</c:v>
                </c:pt>
                <c:pt idx="730">
                  <c:v>28253</c:v>
                </c:pt>
                <c:pt idx="731">
                  <c:v>27930</c:v>
                </c:pt>
                <c:pt idx="732">
                  <c:v>27946</c:v>
                </c:pt>
                <c:pt idx="733">
                  <c:v>27831</c:v>
                </c:pt>
                <c:pt idx="734">
                  <c:v>27958</c:v>
                </c:pt>
                <c:pt idx="735">
                  <c:v>27631</c:v>
                </c:pt>
                <c:pt idx="736">
                  <c:v>27458</c:v>
                </c:pt>
                <c:pt idx="737">
                  <c:v>27605</c:v>
                </c:pt>
                <c:pt idx="738">
                  <c:v>27591</c:v>
                </c:pt>
                <c:pt idx="739">
                  <c:v>27628</c:v>
                </c:pt>
                <c:pt idx="740">
                  <c:v>27832</c:v>
                </c:pt>
                <c:pt idx="741">
                  <c:v>27992</c:v>
                </c:pt>
                <c:pt idx="742">
                  <c:v>28604</c:v>
                </c:pt>
                <c:pt idx="743">
                  <c:v>28904</c:v>
                </c:pt>
                <c:pt idx="744">
                  <c:v>28311</c:v>
                </c:pt>
                <c:pt idx="745">
                  <c:v>28599</c:v>
                </c:pt>
                <c:pt idx="746">
                  <c:v>29730</c:v>
                </c:pt>
                <c:pt idx="747">
                  <c:v>30637</c:v>
                </c:pt>
                <c:pt idx="748">
                  <c:v>30731</c:v>
                </c:pt>
                <c:pt idx="749">
                  <c:v>30494</c:v>
                </c:pt>
                <c:pt idx="750">
                  <c:v>30418</c:v>
                </c:pt>
                <c:pt idx="751">
                  <c:v>30500</c:v>
                </c:pt>
                <c:pt idx="752">
                  <c:v>30532</c:v>
                </c:pt>
                <c:pt idx="753">
                  <c:v>30389</c:v>
                </c:pt>
                <c:pt idx="754">
                  <c:v>30317</c:v>
                </c:pt>
                <c:pt idx="755">
                  <c:v>30344</c:v>
                </c:pt>
                <c:pt idx="756">
                  <c:v>30393</c:v>
                </c:pt>
                <c:pt idx="757">
                  <c:v>30270</c:v>
                </c:pt>
                <c:pt idx="758">
                  <c:v>30318</c:v>
                </c:pt>
                <c:pt idx="759">
                  <c:v>30593</c:v>
                </c:pt>
                <c:pt idx="760">
                  <c:v>30570</c:v>
                </c:pt>
                <c:pt idx="761">
                  <c:v>30956</c:v>
                </c:pt>
                <c:pt idx="762">
                  <c:v>31185</c:v>
                </c:pt>
                <c:pt idx="763">
                  <c:v>31455</c:v>
                </c:pt>
                <c:pt idx="764">
                  <c:v>31682</c:v>
                </c:pt>
                <c:pt idx="765">
                  <c:v>31681</c:v>
                </c:pt>
                <c:pt idx="766">
                  <c:v>31983</c:v>
                </c:pt>
                <c:pt idx="767">
                  <c:v>31970</c:v>
                </c:pt>
                <c:pt idx="768">
                  <c:v>31388</c:v>
                </c:pt>
                <c:pt idx="769">
                  <c:v>31613</c:v>
                </c:pt>
                <c:pt idx="770">
                  <c:v>31577</c:v>
                </c:pt>
                <c:pt idx="771">
                  <c:v>31349</c:v>
                </c:pt>
                <c:pt idx="772">
                  <c:v>31353</c:v>
                </c:pt>
                <c:pt idx="773">
                  <c:v>31473</c:v>
                </c:pt>
                <c:pt idx="774">
                  <c:v>31703</c:v>
                </c:pt>
                <c:pt idx="775">
                  <c:v>31460</c:v>
                </c:pt>
                <c:pt idx="776">
                  <c:v>31083</c:v>
                </c:pt>
                <c:pt idx="777">
                  <c:v>31085</c:v>
                </c:pt>
                <c:pt idx="778">
                  <c:v>31076</c:v>
                </c:pt>
                <c:pt idx="779">
                  <c:v>30854</c:v>
                </c:pt>
                <c:pt idx="780">
                  <c:v>30995</c:v>
                </c:pt>
                <c:pt idx="781">
                  <c:v>30793</c:v>
                </c:pt>
                <c:pt idx="782">
                  <c:v>30763</c:v>
                </c:pt>
                <c:pt idx="783">
                  <c:v>30926</c:v>
                </c:pt>
                <c:pt idx="784">
                  <c:v>30733</c:v>
                </c:pt>
                <c:pt idx="785">
                  <c:v>30548</c:v>
                </c:pt>
                <c:pt idx="786">
                  <c:v>30131</c:v>
                </c:pt>
                <c:pt idx="787">
                  <c:v>29930</c:v>
                </c:pt>
                <c:pt idx="788">
                  <c:v>30484</c:v>
                </c:pt>
                <c:pt idx="789">
                  <c:v>30209</c:v>
                </c:pt>
                <c:pt idx="790">
                  <c:v>30086</c:v>
                </c:pt>
                <c:pt idx="791">
                  <c:v>29233</c:v>
                </c:pt>
                <c:pt idx="792">
                  <c:v>30367</c:v>
                </c:pt>
                <c:pt idx="793">
                  <c:v>29637</c:v>
                </c:pt>
                <c:pt idx="794">
                  <c:v>29910</c:v>
                </c:pt>
                <c:pt idx="795">
                  <c:v>29778</c:v>
                </c:pt>
                <c:pt idx="796">
                  <c:v>29695</c:v>
                </c:pt>
                <c:pt idx="797">
                  <c:v>29574</c:v>
                </c:pt>
                <c:pt idx="798">
                  <c:v>29421</c:v>
                </c:pt>
                <c:pt idx="799">
                  <c:v>29505</c:v>
                </c:pt>
                <c:pt idx="800">
                  <c:v>29336</c:v>
                </c:pt>
                <c:pt idx="801">
                  <c:v>29609</c:v>
                </c:pt>
                <c:pt idx="802">
                  <c:v>29825</c:v>
                </c:pt>
                <c:pt idx="803">
                  <c:v>29942</c:v>
                </c:pt>
                <c:pt idx="804">
                  <c:v>29492</c:v>
                </c:pt>
                <c:pt idx="805">
                  <c:v>30099</c:v>
                </c:pt>
                <c:pt idx="806">
                  <c:v>29678</c:v>
                </c:pt>
                <c:pt idx="807">
                  <c:v>30173</c:v>
                </c:pt>
                <c:pt idx="808">
                  <c:v>30193</c:v>
                </c:pt>
                <c:pt idx="809">
                  <c:v>30227</c:v>
                </c:pt>
                <c:pt idx="810">
                  <c:v>30155</c:v>
                </c:pt>
                <c:pt idx="811">
                  <c:v>29168</c:v>
                </c:pt>
                <c:pt idx="812">
                  <c:v>29527</c:v>
                </c:pt>
                <c:pt idx="813">
                  <c:v>28739</c:v>
                </c:pt>
                <c:pt idx="814">
                  <c:v>29543</c:v>
                </c:pt>
                <c:pt idx="815">
                  <c:v>28942</c:v>
                </c:pt>
                <c:pt idx="816">
                  <c:v>29141</c:v>
                </c:pt>
                <c:pt idx="817">
                  <c:v>28593</c:v>
                </c:pt>
                <c:pt idx="818">
                  <c:v>28769</c:v>
                </c:pt>
                <c:pt idx="819">
                  <c:v>28147</c:v>
                </c:pt>
                <c:pt idx="820">
                  <c:v>28718</c:v>
                </c:pt>
                <c:pt idx="821">
                  <c:v>28602</c:v>
                </c:pt>
                <c:pt idx="822">
                  <c:v>28422</c:v>
                </c:pt>
                <c:pt idx="823">
                  <c:v>28471</c:v>
                </c:pt>
                <c:pt idx="824">
                  <c:v>28995</c:v>
                </c:pt>
                <c:pt idx="825">
                  <c:v>29021</c:v>
                </c:pt>
                <c:pt idx="826">
                  <c:v>28877</c:v>
                </c:pt>
                <c:pt idx="827">
                  <c:v>29105</c:v>
                </c:pt>
                <c:pt idx="828">
                  <c:v>29166</c:v>
                </c:pt>
                <c:pt idx="829">
                  <c:v>28711</c:v>
                </c:pt>
                <c:pt idx="830">
                  <c:v>28407</c:v>
                </c:pt>
                <c:pt idx="831">
                  <c:v>28709</c:v>
                </c:pt>
                <c:pt idx="832">
                  <c:v>28724</c:v>
                </c:pt>
                <c:pt idx="833">
                  <c:v>28638</c:v>
                </c:pt>
                <c:pt idx="834">
                  <c:v>29154</c:v>
                </c:pt>
                <c:pt idx="835">
                  <c:v>28806</c:v>
                </c:pt>
                <c:pt idx="836">
                  <c:v>28907</c:v>
                </c:pt>
                <c:pt idx="837">
                  <c:v>28429</c:v>
                </c:pt>
                <c:pt idx="838">
                  <c:v>28733</c:v>
                </c:pt>
                <c:pt idx="839">
                  <c:v>28454</c:v>
                </c:pt>
                <c:pt idx="840">
                  <c:v>28800</c:v>
                </c:pt>
                <c:pt idx="841">
                  <c:v>28997</c:v>
                </c:pt>
                <c:pt idx="842">
                  <c:v>28597</c:v>
                </c:pt>
                <c:pt idx="843">
                  <c:v>28715</c:v>
                </c:pt>
                <c:pt idx="844">
                  <c:v>28768</c:v>
                </c:pt>
                <c:pt idx="845">
                  <c:v>28832</c:v>
                </c:pt>
                <c:pt idx="846">
                  <c:v>28313</c:v>
                </c:pt>
                <c:pt idx="847">
                  <c:v>28465</c:v>
                </c:pt>
                <c:pt idx="848">
                  <c:v>28604</c:v>
                </c:pt>
                <c:pt idx="849">
                  <c:v>28436</c:v>
                </c:pt>
                <c:pt idx="850">
                  <c:v>28875</c:v>
                </c:pt>
                <c:pt idx="851">
                  <c:v>28980</c:v>
                </c:pt>
                <c:pt idx="852">
                  <c:v>28870</c:v>
                </c:pt>
                <c:pt idx="853">
                  <c:v>28870</c:v>
                </c:pt>
                <c:pt idx="854">
                  <c:v>28816</c:v>
                </c:pt>
                <c:pt idx="855">
                  <c:v>28863</c:v>
                </c:pt>
                <c:pt idx="856">
                  <c:v>28846</c:v>
                </c:pt>
                <c:pt idx="857">
                  <c:v>28876</c:v>
                </c:pt>
                <c:pt idx="858">
                  <c:v>28947</c:v>
                </c:pt>
                <c:pt idx="859">
                  <c:v>29052</c:v>
                </c:pt>
                <c:pt idx="860">
                  <c:v>29582</c:v>
                </c:pt>
                <c:pt idx="861">
                  <c:v>29114</c:v>
                </c:pt>
                <c:pt idx="862">
                  <c:v>29525</c:v>
                </c:pt>
                <c:pt idx="863">
                  <c:v>30070</c:v>
                </c:pt>
                <c:pt idx="864">
                  <c:v>30272</c:v>
                </c:pt>
                <c:pt idx="865">
                  <c:v>30496</c:v>
                </c:pt>
                <c:pt idx="866">
                  <c:v>30550</c:v>
                </c:pt>
                <c:pt idx="867">
                  <c:v>31225</c:v>
                </c:pt>
                <c:pt idx="868">
                  <c:v>31305</c:v>
                </c:pt>
                <c:pt idx="869">
                  <c:v>31431</c:v>
                </c:pt>
                <c:pt idx="870">
                  <c:v>31571</c:v>
                </c:pt>
                <c:pt idx="871">
                  <c:v>31954</c:v>
                </c:pt>
                <c:pt idx="872">
                  <c:v>32852</c:v>
                </c:pt>
                <c:pt idx="873">
                  <c:v>33309</c:v>
                </c:pt>
                <c:pt idx="874">
                  <c:v>33510</c:v>
                </c:pt>
                <c:pt idx="875">
                  <c:v>34340</c:v>
                </c:pt>
                <c:pt idx="876">
                  <c:v>34050</c:v>
                </c:pt>
                <c:pt idx="877">
                  <c:v>35320</c:v>
                </c:pt>
                <c:pt idx="878">
                  <c:v>35566</c:v>
                </c:pt>
                <c:pt idx="879">
                  <c:v>35894</c:v>
                </c:pt>
                <c:pt idx="880">
                  <c:v>35916</c:v>
                </c:pt>
                <c:pt idx="881">
                  <c:v>35454</c:v>
                </c:pt>
                <c:pt idx="882">
                  <c:v>36630</c:v>
                </c:pt>
                <c:pt idx="883">
                  <c:v>37891</c:v>
                </c:pt>
                <c:pt idx="884">
                  <c:v>37743</c:v>
                </c:pt>
                <c:pt idx="885">
                  <c:v>34947</c:v>
                </c:pt>
                <c:pt idx="886">
                  <c:v>37381</c:v>
                </c:pt>
                <c:pt idx="887">
                  <c:v>37427</c:v>
                </c:pt>
                <c:pt idx="888">
                  <c:v>36029</c:v>
                </c:pt>
                <c:pt idx="889">
                  <c:v>36810</c:v>
                </c:pt>
                <c:pt idx="890">
                  <c:v>36295</c:v>
                </c:pt>
                <c:pt idx="891">
                  <c:v>36423</c:v>
                </c:pt>
                <c:pt idx="892">
                  <c:v>36084</c:v>
                </c:pt>
                <c:pt idx="893">
                  <c:v>36147</c:v>
                </c:pt>
                <c:pt idx="894">
                  <c:v>35823</c:v>
                </c:pt>
                <c:pt idx="895">
                  <c:v>36095</c:v>
                </c:pt>
                <c:pt idx="896">
                  <c:v>36146</c:v>
                </c:pt>
                <c:pt idx="897">
                  <c:v>36388</c:v>
                </c:pt>
                <c:pt idx="898">
                  <c:v>36622</c:v>
                </c:pt>
                <c:pt idx="899">
                  <c:v>36974</c:v>
                </c:pt>
                <c:pt idx="900">
                  <c:v>37083</c:v>
                </c:pt>
                <c:pt idx="901">
                  <c:v>37009</c:v>
                </c:pt>
                <c:pt idx="902">
                  <c:v>36492</c:v>
                </c:pt>
                <c:pt idx="903">
                  <c:v>36664</c:v>
                </c:pt>
                <c:pt idx="904">
                  <c:v>36725</c:v>
                </c:pt>
                <c:pt idx="905">
                  <c:v>36802</c:v>
                </c:pt>
                <c:pt idx="906">
                  <c:v>36947</c:v>
                </c:pt>
                <c:pt idx="907">
                  <c:v>36836</c:v>
                </c:pt>
                <c:pt idx="908">
                  <c:v>37176</c:v>
                </c:pt>
                <c:pt idx="909">
                  <c:v>37155</c:v>
                </c:pt>
                <c:pt idx="910">
                  <c:v>37043</c:v>
                </c:pt>
                <c:pt idx="911">
                  <c:v>36874</c:v>
                </c:pt>
                <c:pt idx="912">
                  <c:v>36650</c:v>
                </c:pt>
                <c:pt idx="913">
                  <c:v>36717</c:v>
                </c:pt>
                <c:pt idx="914">
                  <c:v>36645</c:v>
                </c:pt>
                <c:pt idx="915">
                  <c:v>35989</c:v>
                </c:pt>
                <c:pt idx="916">
                  <c:v>36141</c:v>
                </c:pt>
                <c:pt idx="917">
                  <c:v>35952</c:v>
                </c:pt>
                <c:pt idx="918">
                  <c:v>35973</c:v>
                </c:pt>
                <c:pt idx="919">
                  <c:v>35432</c:v>
                </c:pt>
                <c:pt idx="920">
                  <c:v>35369</c:v>
                </c:pt>
                <c:pt idx="921">
                  <c:v>35089</c:v>
                </c:pt>
                <c:pt idx="922">
                  <c:v>34996</c:v>
                </c:pt>
                <c:pt idx="923">
                  <c:v>34917</c:v>
                </c:pt>
                <c:pt idx="924">
                  <c:v>34845</c:v>
                </c:pt>
                <c:pt idx="925">
                  <c:v>34741</c:v>
                </c:pt>
                <c:pt idx="926">
                  <c:v>35018</c:v>
                </c:pt>
                <c:pt idx="927">
                  <c:v>34651</c:v>
                </c:pt>
                <c:pt idx="928">
                  <c:v>34589</c:v>
                </c:pt>
                <c:pt idx="929">
                  <c:v>34790</c:v>
                </c:pt>
                <c:pt idx="930">
                  <c:v>34739</c:v>
                </c:pt>
                <c:pt idx="931">
                  <c:v>34550</c:v>
                </c:pt>
                <c:pt idx="932">
                  <c:v>34706</c:v>
                </c:pt>
                <c:pt idx="933">
                  <c:v>34720</c:v>
                </c:pt>
                <c:pt idx="934">
                  <c:v>34540</c:v>
                </c:pt>
                <c:pt idx="935">
                  <c:v>34425</c:v>
                </c:pt>
                <c:pt idx="936">
                  <c:v>34445</c:v>
                </c:pt>
                <c:pt idx="937">
                  <c:v>34490</c:v>
                </c:pt>
                <c:pt idx="938">
                  <c:v>34356</c:v>
                </c:pt>
                <c:pt idx="939">
                  <c:v>34556</c:v>
                </c:pt>
                <c:pt idx="940">
                  <c:v>34391</c:v>
                </c:pt>
                <c:pt idx="941">
                  <c:v>34268</c:v>
                </c:pt>
                <c:pt idx="942">
                  <c:v>34330</c:v>
                </c:pt>
                <c:pt idx="943">
                  <c:v>34142</c:v>
                </c:pt>
                <c:pt idx="944">
                  <c:v>33917</c:v>
                </c:pt>
                <c:pt idx="945">
                  <c:v>33620</c:v>
                </c:pt>
                <c:pt idx="946">
                  <c:v>33480</c:v>
                </c:pt>
                <c:pt idx="947">
                  <c:v>33449</c:v>
                </c:pt>
                <c:pt idx="948">
                  <c:v>33525</c:v>
                </c:pt>
                <c:pt idx="949">
                  <c:v>33540</c:v>
                </c:pt>
                <c:pt idx="950">
                  <c:v>33522</c:v>
                </c:pt>
                <c:pt idx="951">
                  <c:v>33450</c:v>
                </c:pt>
                <c:pt idx="952">
                  <c:v>33290</c:v>
                </c:pt>
                <c:pt idx="953">
                  <c:v>33237</c:v>
                </c:pt>
                <c:pt idx="954">
                  <c:v>33241</c:v>
                </c:pt>
                <c:pt idx="955">
                  <c:v>32883</c:v>
                </c:pt>
                <c:pt idx="956">
                  <c:v>32645</c:v>
                </c:pt>
                <c:pt idx="957">
                  <c:v>32717</c:v>
                </c:pt>
                <c:pt idx="958">
                  <c:v>32440</c:v>
                </c:pt>
                <c:pt idx="959">
                  <c:v>32240</c:v>
                </c:pt>
                <c:pt idx="960">
                  <c:v>31916</c:v>
                </c:pt>
                <c:pt idx="961">
                  <c:v>31692</c:v>
                </c:pt>
                <c:pt idx="962">
                  <c:v>31786</c:v>
                </c:pt>
                <c:pt idx="963">
                  <c:v>31704</c:v>
                </c:pt>
                <c:pt idx="964">
                  <c:v>31520</c:v>
                </c:pt>
                <c:pt idx="965">
                  <c:v>31493</c:v>
                </c:pt>
                <c:pt idx="966">
                  <c:v>31110</c:v>
                </c:pt>
                <c:pt idx="967">
                  <c:v>31113</c:v>
                </c:pt>
                <c:pt idx="968">
                  <c:v>31226</c:v>
                </c:pt>
                <c:pt idx="969">
                  <c:v>31526</c:v>
                </c:pt>
                <c:pt idx="970">
                  <c:v>31218</c:v>
                </c:pt>
                <c:pt idx="971">
                  <c:v>31224</c:v>
                </c:pt>
                <c:pt idx="972">
                  <c:v>31383</c:v>
                </c:pt>
                <c:pt idx="973">
                  <c:v>31464</c:v>
                </c:pt>
                <c:pt idx="974">
                  <c:v>31584</c:v>
                </c:pt>
                <c:pt idx="975">
                  <c:v>31248</c:v>
                </c:pt>
                <c:pt idx="976">
                  <c:v>31245</c:v>
                </c:pt>
                <c:pt idx="977">
                  <c:v>31296</c:v>
                </c:pt>
                <c:pt idx="978">
                  <c:v>31353</c:v>
                </c:pt>
                <c:pt idx="979">
                  <c:v>31228</c:v>
                </c:pt>
                <c:pt idx="980">
                  <c:v>31141</c:v>
                </c:pt>
                <c:pt idx="981">
                  <c:v>31005</c:v>
                </c:pt>
                <c:pt idx="982">
                  <c:v>31122</c:v>
                </c:pt>
                <c:pt idx="983">
                  <c:v>31272</c:v>
                </c:pt>
                <c:pt idx="984">
                  <c:v>31163</c:v>
                </c:pt>
                <c:pt idx="985">
                  <c:v>31374</c:v>
                </c:pt>
                <c:pt idx="986">
                  <c:v>31331</c:v>
                </c:pt>
                <c:pt idx="987">
                  <c:v>31491</c:v>
                </c:pt>
                <c:pt idx="988">
                  <c:v>31112</c:v>
                </c:pt>
                <c:pt idx="989">
                  <c:v>30864</c:v>
                </c:pt>
                <c:pt idx="990">
                  <c:v>30991</c:v>
                </c:pt>
                <c:pt idx="991">
                  <c:v>31071</c:v>
                </c:pt>
                <c:pt idx="992">
                  <c:v>31261</c:v>
                </c:pt>
                <c:pt idx="993">
                  <c:v>31280</c:v>
                </c:pt>
                <c:pt idx="994">
                  <c:v>31435</c:v>
                </c:pt>
                <c:pt idx="995">
                  <c:v>31469</c:v>
                </c:pt>
                <c:pt idx="996">
                  <c:v>31529</c:v>
                </c:pt>
                <c:pt idx="997">
                  <c:v>32071</c:v>
                </c:pt>
                <c:pt idx="998">
                  <c:v>32628</c:v>
                </c:pt>
                <c:pt idx="999">
                  <c:v>32964</c:v>
                </c:pt>
                <c:pt idx="1000">
                  <c:v>32539</c:v>
                </c:pt>
                <c:pt idx="1001">
                  <c:v>32482</c:v>
                </c:pt>
                <c:pt idx="1002">
                  <c:v>32710</c:v>
                </c:pt>
                <c:pt idx="1003">
                  <c:v>32911</c:v>
                </c:pt>
                <c:pt idx="1004">
                  <c:v>33207</c:v>
                </c:pt>
                <c:pt idx="1005">
                  <c:v>33247</c:v>
                </c:pt>
                <c:pt idx="1006">
                  <c:v>33128</c:v>
                </c:pt>
                <c:pt idx="1007">
                  <c:v>32967</c:v>
                </c:pt>
                <c:pt idx="1008">
                  <c:v>33024</c:v>
                </c:pt>
                <c:pt idx="1009">
                  <c:v>32957</c:v>
                </c:pt>
                <c:pt idx="1010">
                  <c:v>32878</c:v>
                </c:pt>
                <c:pt idx="1011">
                  <c:v>32788</c:v>
                </c:pt>
                <c:pt idx="1012">
                  <c:v>32752</c:v>
                </c:pt>
                <c:pt idx="1013">
                  <c:v>32727</c:v>
                </c:pt>
                <c:pt idx="1014">
                  <c:v>32859</c:v>
                </c:pt>
                <c:pt idx="1015">
                  <c:v>33150</c:v>
                </c:pt>
                <c:pt idx="1016">
                  <c:v>33369</c:v>
                </c:pt>
                <c:pt idx="1017">
                  <c:v>33448</c:v>
                </c:pt>
                <c:pt idx="1018">
                  <c:v>33857</c:v>
                </c:pt>
                <c:pt idx="1019">
                  <c:v>34151</c:v>
                </c:pt>
                <c:pt idx="1020">
                  <c:v>34188</c:v>
                </c:pt>
                <c:pt idx="1021">
                  <c:v>34219</c:v>
                </c:pt>
                <c:pt idx="1022">
                  <c:v>34035</c:v>
                </c:pt>
                <c:pt idx="1023">
                  <c:v>33634</c:v>
                </c:pt>
                <c:pt idx="1024">
                  <c:v>33955</c:v>
                </c:pt>
                <c:pt idx="1025">
                  <c:v>34206</c:v>
                </c:pt>
                <c:pt idx="1026">
                  <c:v>34587</c:v>
                </c:pt>
                <c:pt idx="1027">
                  <c:v>35311</c:v>
                </c:pt>
                <c:pt idx="1028">
                  <c:v>35868</c:v>
                </c:pt>
                <c:pt idx="1029">
                  <c:v>35467</c:v>
                </c:pt>
                <c:pt idx="1030">
                  <c:v>35479</c:v>
                </c:pt>
                <c:pt idx="1031">
                  <c:v>35583</c:v>
                </c:pt>
                <c:pt idx="1032">
                  <c:v>35534</c:v>
                </c:pt>
                <c:pt idx="1033">
                  <c:v>35446</c:v>
                </c:pt>
                <c:pt idx="1034">
                  <c:v>35476</c:v>
                </c:pt>
                <c:pt idx="1035">
                  <c:v>35365</c:v>
                </c:pt>
                <c:pt idx="1036">
                  <c:v>34818</c:v>
                </c:pt>
                <c:pt idx="1037">
                  <c:v>34668</c:v>
                </c:pt>
                <c:pt idx="1038">
                  <c:v>34689</c:v>
                </c:pt>
                <c:pt idx="1039">
                  <c:v>34702</c:v>
                </c:pt>
                <c:pt idx="1040">
                  <c:v>34667</c:v>
                </c:pt>
                <c:pt idx="1041">
                  <c:v>34706</c:v>
                </c:pt>
                <c:pt idx="1042">
                  <c:v>34833</c:v>
                </c:pt>
                <c:pt idx="1043">
                  <c:v>34935</c:v>
                </c:pt>
                <c:pt idx="1044">
                  <c:v>34921</c:v>
                </c:pt>
                <c:pt idx="1045">
                  <c:v>35000</c:v>
                </c:pt>
                <c:pt idx="1046">
                  <c:v>35270</c:v>
                </c:pt>
                <c:pt idx="1047">
                  <c:v>35352</c:v>
                </c:pt>
                <c:pt idx="1048">
                  <c:v>35338</c:v>
                </c:pt>
                <c:pt idx="1049">
                  <c:v>35457</c:v>
                </c:pt>
                <c:pt idx="1050">
                  <c:v>35229</c:v>
                </c:pt>
                <c:pt idx="1051">
                  <c:v>35158</c:v>
                </c:pt>
                <c:pt idx="1052">
                  <c:v>35269</c:v>
                </c:pt>
                <c:pt idx="1053">
                  <c:v>35241</c:v>
                </c:pt>
                <c:pt idx="1054">
                  <c:v>35200</c:v>
                </c:pt>
                <c:pt idx="1055">
                  <c:v>35145</c:v>
                </c:pt>
                <c:pt idx="1056">
                  <c:v>35010</c:v>
                </c:pt>
                <c:pt idx="1057">
                  <c:v>34811</c:v>
                </c:pt>
                <c:pt idx="1058">
                  <c:v>34686</c:v>
                </c:pt>
                <c:pt idx="1059">
                  <c:v>34824</c:v>
                </c:pt>
                <c:pt idx="1060">
                  <c:v>34750</c:v>
                </c:pt>
                <c:pt idx="1061">
                  <c:v>34534</c:v>
                </c:pt>
                <c:pt idx="1062">
                  <c:v>34553</c:v>
                </c:pt>
                <c:pt idx="1063">
                  <c:v>34534</c:v>
                </c:pt>
                <c:pt idx="1064">
                  <c:v>34570</c:v>
                </c:pt>
                <c:pt idx="1065">
                  <c:v>34550</c:v>
                </c:pt>
                <c:pt idx="1066">
                  <c:v>34600</c:v>
                </c:pt>
                <c:pt idx="1067">
                  <c:v>34554</c:v>
                </c:pt>
                <c:pt idx="1068">
                  <c:v>34259</c:v>
                </c:pt>
                <c:pt idx="1069">
                  <c:v>34601</c:v>
                </c:pt>
                <c:pt idx="1070">
                  <c:v>34424</c:v>
                </c:pt>
                <c:pt idx="1071">
                  <c:v>34427</c:v>
                </c:pt>
                <c:pt idx="1072">
                  <c:v>34841</c:v>
                </c:pt>
                <c:pt idx="1073">
                  <c:v>35048</c:v>
                </c:pt>
                <c:pt idx="1074">
                  <c:v>35165</c:v>
                </c:pt>
                <c:pt idx="1075">
                  <c:v>35406</c:v>
                </c:pt>
                <c:pt idx="1076">
                  <c:v>35446</c:v>
                </c:pt>
                <c:pt idx="1077">
                  <c:v>35567</c:v>
                </c:pt>
                <c:pt idx="1078">
                  <c:v>35393</c:v>
                </c:pt>
                <c:pt idx="1079">
                  <c:v>35425</c:v>
                </c:pt>
                <c:pt idx="1080">
                  <c:v>35674</c:v>
                </c:pt>
                <c:pt idx="1081">
                  <c:v>35736</c:v>
                </c:pt>
                <c:pt idx="1082">
                  <c:v>35678</c:v>
                </c:pt>
                <c:pt idx="1083">
                  <c:v>35652</c:v>
                </c:pt>
                <c:pt idx="1084">
                  <c:v>35672</c:v>
                </c:pt>
                <c:pt idx="1085">
                  <c:v>35775</c:v>
                </c:pt>
                <c:pt idx="1086">
                  <c:v>35915</c:v>
                </c:pt>
                <c:pt idx="1087">
                  <c:v>36059</c:v>
                </c:pt>
                <c:pt idx="1088">
                  <c:v>36105</c:v>
                </c:pt>
                <c:pt idx="1089">
                  <c:v>36133</c:v>
                </c:pt>
                <c:pt idx="1090">
                  <c:v>36219</c:v>
                </c:pt>
                <c:pt idx="1091">
                  <c:v>36262</c:v>
                </c:pt>
                <c:pt idx="1092">
                  <c:v>36069</c:v>
                </c:pt>
                <c:pt idx="1093">
                  <c:v>36308</c:v>
                </c:pt>
                <c:pt idx="1094">
                  <c:v>36326</c:v>
                </c:pt>
                <c:pt idx="1095">
                  <c:v>36461</c:v>
                </c:pt>
                <c:pt idx="1096">
                  <c:v>36952</c:v>
                </c:pt>
                <c:pt idx="1097">
                  <c:v>37461</c:v>
                </c:pt>
                <c:pt idx="1098">
                  <c:v>37846</c:v>
                </c:pt>
                <c:pt idx="1099">
                  <c:v>38259</c:v>
                </c:pt>
                <c:pt idx="1100">
                  <c:v>37914</c:v>
                </c:pt>
                <c:pt idx="1101">
                  <c:v>37861</c:v>
                </c:pt>
                <c:pt idx="1102">
                  <c:v>38002</c:v>
                </c:pt>
                <c:pt idx="1103">
                  <c:v>38190</c:v>
                </c:pt>
                <c:pt idx="1104">
                  <c:v>38315</c:v>
                </c:pt>
                <c:pt idx="1105">
                  <c:v>38454</c:v>
                </c:pt>
                <c:pt idx="1106">
                  <c:v>38314</c:v>
                </c:pt>
                <c:pt idx="1107">
                  <c:v>38426</c:v>
                </c:pt>
                <c:pt idx="1108">
                  <c:v>38651</c:v>
                </c:pt>
                <c:pt idx="1109">
                  <c:v>38760</c:v>
                </c:pt>
                <c:pt idx="1110">
                  <c:v>39003</c:v>
                </c:pt>
                <c:pt idx="1111">
                  <c:v>39256</c:v>
                </c:pt>
                <c:pt idx="1112">
                  <c:v>39500</c:v>
                </c:pt>
                <c:pt idx="1113">
                  <c:v>39759</c:v>
                </c:pt>
                <c:pt idx="1114">
                  <c:v>39371</c:v>
                </c:pt>
                <c:pt idx="1115">
                  <c:v>39016</c:v>
                </c:pt>
                <c:pt idx="1116">
                  <c:v>38912</c:v>
                </c:pt>
                <c:pt idx="1117">
                  <c:v>38729</c:v>
                </c:pt>
                <c:pt idx="1118">
                  <c:v>38650</c:v>
                </c:pt>
                <c:pt idx="1119">
                  <c:v>38735</c:v>
                </c:pt>
                <c:pt idx="1120">
                  <c:v>38705</c:v>
                </c:pt>
                <c:pt idx="1121">
                  <c:v>38787</c:v>
                </c:pt>
                <c:pt idx="1122">
                  <c:v>39071</c:v>
                </c:pt>
                <c:pt idx="1123">
                  <c:v>39157</c:v>
                </c:pt>
                <c:pt idx="1124">
                  <c:v>39344</c:v>
                </c:pt>
                <c:pt idx="1125">
                  <c:v>39400</c:v>
                </c:pt>
                <c:pt idx="1126">
                  <c:v>39686</c:v>
                </c:pt>
                <c:pt idx="1127">
                  <c:v>39834</c:v>
                </c:pt>
                <c:pt idx="1128">
                  <c:v>40114</c:v>
                </c:pt>
                <c:pt idx="1129">
                  <c:v>40011</c:v>
                </c:pt>
                <c:pt idx="1130">
                  <c:v>39864</c:v>
                </c:pt>
                <c:pt idx="1131">
                  <c:v>39732</c:v>
                </c:pt>
                <c:pt idx="1132">
                  <c:v>39888</c:v>
                </c:pt>
                <c:pt idx="1133">
                  <c:v>39837</c:v>
                </c:pt>
                <c:pt idx="1134">
                  <c:v>39862</c:v>
                </c:pt>
                <c:pt idx="1135">
                  <c:v>39970</c:v>
                </c:pt>
                <c:pt idx="1136">
                  <c:v>39977</c:v>
                </c:pt>
                <c:pt idx="1137">
                  <c:v>39917</c:v>
                </c:pt>
                <c:pt idx="1138">
                  <c:v>39926</c:v>
                </c:pt>
                <c:pt idx="1139">
                  <c:v>40027</c:v>
                </c:pt>
                <c:pt idx="1140">
                  <c:v>40158</c:v>
                </c:pt>
                <c:pt idx="1141">
                  <c:v>40325</c:v>
                </c:pt>
                <c:pt idx="1142">
                  <c:v>40568</c:v>
                </c:pt>
                <c:pt idx="1143">
                  <c:v>40675</c:v>
                </c:pt>
                <c:pt idx="1144">
                  <c:v>40828</c:v>
                </c:pt>
                <c:pt idx="1145">
                  <c:v>40815</c:v>
                </c:pt>
                <c:pt idx="1146">
                  <c:v>40975</c:v>
                </c:pt>
                <c:pt idx="1147">
                  <c:v>41088</c:v>
                </c:pt>
                <c:pt idx="1148">
                  <c:v>40990</c:v>
                </c:pt>
                <c:pt idx="1149">
                  <c:v>41005</c:v>
                </c:pt>
                <c:pt idx="1150">
                  <c:v>41177</c:v>
                </c:pt>
                <c:pt idx="1151">
                  <c:v>41382</c:v>
                </c:pt>
                <c:pt idx="1152">
                  <c:v>41804</c:v>
                </c:pt>
                <c:pt idx="1153">
                  <c:v>41846</c:v>
                </c:pt>
                <c:pt idx="1154">
                  <c:v>41870</c:v>
                </c:pt>
                <c:pt idx="1155">
                  <c:v>41815</c:v>
                </c:pt>
                <c:pt idx="1156">
                  <c:v>41771</c:v>
                </c:pt>
                <c:pt idx="1157">
                  <c:v>41545</c:v>
                </c:pt>
                <c:pt idx="1158">
                  <c:v>41224</c:v>
                </c:pt>
                <c:pt idx="1159">
                  <c:v>41001</c:v>
                </c:pt>
                <c:pt idx="1160">
                  <c:v>41147</c:v>
                </c:pt>
                <c:pt idx="1161">
                  <c:v>41407</c:v>
                </c:pt>
                <c:pt idx="1162">
                  <c:v>41579</c:v>
                </c:pt>
                <c:pt idx="1163">
                  <c:v>41293</c:v>
                </c:pt>
                <c:pt idx="1164">
                  <c:v>41332</c:v>
                </c:pt>
                <c:pt idx="1165">
                  <c:v>41291</c:v>
                </c:pt>
                <c:pt idx="1166">
                  <c:v>41366</c:v>
                </c:pt>
                <c:pt idx="1167">
                  <c:v>41278</c:v>
                </c:pt>
                <c:pt idx="1168">
                  <c:v>41369</c:v>
                </c:pt>
                <c:pt idx="1169">
                  <c:v>41499</c:v>
                </c:pt>
                <c:pt idx="1170">
                  <c:v>41589</c:v>
                </c:pt>
                <c:pt idx="1171">
                  <c:v>41695</c:v>
                </c:pt>
                <c:pt idx="1172">
                  <c:v>41630</c:v>
                </c:pt>
                <c:pt idx="1173">
                  <c:v>41644</c:v>
                </c:pt>
                <c:pt idx="1174">
                  <c:v>41652</c:v>
                </c:pt>
                <c:pt idx="1175">
                  <c:v>41646</c:v>
                </c:pt>
                <c:pt idx="1176">
                  <c:v>41534</c:v>
                </c:pt>
                <c:pt idx="1177">
                  <c:v>41313</c:v>
                </c:pt>
                <c:pt idx="1178">
                  <c:v>41639</c:v>
                </c:pt>
                <c:pt idx="1179">
                  <c:v>41573</c:v>
                </c:pt>
                <c:pt idx="1180">
                  <c:v>41600</c:v>
                </c:pt>
                <c:pt idx="1181">
                  <c:v>41672</c:v>
                </c:pt>
                <c:pt idx="1182">
                  <c:v>41608</c:v>
                </c:pt>
                <c:pt idx="1183">
                  <c:v>41694</c:v>
                </c:pt>
                <c:pt idx="1184">
                  <c:v>41792</c:v>
                </c:pt>
                <c:pt idx="1185">
                  <c:v>41690</c:v>
                </c:pt>
                <c:pt idx="1186">
                  <c:v>41491</c:v>
                </c:pt>
                <c:pt idx="1187">
                  <c:v>41153</c:v>
                </c:pt>
                <c:pt idx="1188">
                  <c:v>40722</c:v>
                </c:pt>
                <c:pt idx="1189">
                  <c:v>40569</c:v>
                </c:pt>
                <c:pt idx="1190">
                  <c:v>40484</c:v>
                </c:pt>
                <c:pt idx="1191">
                  <c:v>40449</c:v>
                </c:pt>
                <c:pt idx="1192">
                  <c:v>40283</c:v>
                </c:pt>
                <c:pt idx="1193">
                  <c:v>40066</c:v>
                </c:pt>
                <c:pt idx="1194">
                  <c:v>39953</c:v>
                </c:pt>
                <c:pt idx="1195">
                  <c:v>40015</c:v>
                </c:pt>
                <c:pt idx="1196">
                  <c:v>40048</c:v>
                </c:pt>
                <c:pt idx="1197">
                  <c:v>39840</c:v>
                </c:pt>
                <c:pt idx="1198">
                  <c:v>39680</c:v>
                </c:pt>
                <c:pt idx="1199">
                  <c:v>39564</c:v>
                </c:pt>
                <c:pt idx="1200">
                  <c:v>39842</c:v>
                </c:pt>
                <c:pt idx="1201">
                  <c:v>39571</c:v>
                </c:pt>
                <c:pt idx="1202">
                  <c:v>38991</c:v>
                </c:pt>
                <c:pt idx="1203">
                  <c:v>38764</c:v>
                </c:pt>
                <c:pt idx="1204">
                  <c:v>38504</c:v>
                </c:pt>
                <c:pt idx="1205">
                  <c:v>38196</c:v>
                </c:pt>
                <c:pt idx="1206">
                  <c:v>37862</c:v>
                </c:pt>
                <c:pt idx="1207">
                  <c:v>37698</c:v>
                </c:pt>
                <c:pt idx="1208">
                  <c:v>37447</c:v>
                </c:pt>
                <c:pt idx="1209">
                  <c:v>36704</c:v>
                </c:pt>
                <c:pt idx="1210">
                  <c:v>35700</c:v>
                </c:pt>
                <c:pt idx="1211">
                  <c:v>35091</c:v>
                </c:pt>
                <c:pt idx="1212">
                  <c:v>34611</c:v>
                </c:pt>
                <c:pt idx="1213">
                  <c:v>34563</c:v>
                </c:pt>
                <c:pt idx="1214">
                  <c:v>34240</c:v>
                </c:pt>
                <c:pt idx="1215">
                  <c:v>34565</c:v>
                </c:pt>
                <c:pt idx="1216">
                  <c:v>34508</c:v>
                </c:pt>
                <c:pt idx="1217">
                  <c:v>33685</c:v>
                </c:pt>
                <c:pt idx="1218">
                  <c:v>33237</c:v>
                </c:pt>
                <c:pt idx="1219">
                  <c:v>32966</c:v>
                </c:pt>
                <c:pt idx="1220">
                  <c:v>32914</c:v>
                </c:pt>
                <c:pt idx="1221">
                  <c:v>32530</c:v>
                </c:pt>
                <c:pt idx="1222">
                  <c:v>32874</c:v>
                </c:pt>
                <c:pt idx="1223">
                  <c:v>32638</c:v>
                </c:pt>
                <c:pt idx="1224">
                  <c:v>32001</c:v>
                </c:pt>
                <c:pt idx="1225">
                  <c:v>31542</c:v>
                </c:pt>
                <c:pt idx="1226">
                  <c:v>31458</c:v>
                </c:pt>
                <c:pt idx="1227">
                  <c:v>31795</c:v>
                </c:pt>
                <c:pt idx="1228">
                  <c:v>32332</c:v>
                </c:pt>
                <c:pt idx="1229">
                  <c:v>32627</c:v>
                </c:pt>
                <c:pt idx="1230">
                  <c:v>32810</c:v>
                </c:pt>
                <c:pt idx="1231">
                  <c:v>32734</c:v>
                </c:pt>
                <c:pt idx="1232">
                  <c:v>32515</c:v>
                </c:pt>
                <c:pt idx="1233">
                  <c:v>33126</c:v>
                </c:pt>
                <c:pt idx="1234">
                  <c:v>32950</c:v>
                </c:pt>
                <c:pt idx="1235">
                  <c:v>32428</c:v>
                </c:pt>
                <c:pt idx="1236">
                  <c:v>31963</c:v>
                </c:pt>
                <c:pt idx="1237">
                  <c:v>31556</c:v>
                </c:pt>
                <c:pt idx="1238">
                  <c:v>31363</c:v>
                </c:pt>
                <c:pt idx="1239">
                  <c:v>31117</c:v>
                </c:pt>
                <c:pt idx="1240">
                  <c:v>30209</c:v>
                </c:pt>
                <c:pt idx="1241">
                  <c:v>29261</c:v>
                </c:pt>
                <c:pt idx="1242">
                  <c:v>29379</c:v>
                </c:pt>
                <c:pt idx="1243">
                  <c:v>30063</c:v>
                </c:pt>
                <c:pt idx="1244">
                  <c:v>30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401472"/>
        <c:axId val="639215872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H$218:$H$1462</c:f>
              <c:numCache>
                <c:formatCode>General</c:formatCode>
                <c:ptCount val="1245"/>
                <c:pt idx="0">
                  <c:v>1553.06</c:v>
                </c:pt>
                <c:pt idx="1">
                  <c:v>1535.78</c:v>
                </c:pt>
                <c:pt idx="2">
                  <c:v>1538.43</c:v>
                </c:pt>
                <c:pt idx="3">
                  <c:v>1561.91</c:v>
                </c:pt>
                <c:pt idx="4">
                  <c:v>1559.25</c:v>
                </c:pt>
                <c:pt idx="5">
                  <c:v>1581.09</c:v>
                </c:pt>
                <c:pt idx="6">
                  <c:v>1580.67</c:v>
                </c:pt>
                <c:pt idx="7">
                  <c:v>1556.97</c:v>
                </c:pt>
                <c:pt idx="8">
                  <c:v>1530.29</c:v>
                </c:pt>
                <c:pt idx="9">
                  <c:v>1489.46</c:v>
                </c:pt>
                <c:pt idx="10">
                  <c:v>1485.92</c:v>
                </c:pt>
                <c:pt idx="11">
                  <c:v>1444.33</c:v>
                </c:pt>
                <c:pt idx="12">
                  <c:v>1446.36</c:v>
                </c:pt>
                <c:pt idx="13">
                  <c:v>1460.98</c:v>
                </c:pt>
                <c:pt idx="14">
                  <c:v>1473.81</c:v>
                </c:pt>
                <c:pt idx="15">
                  <c:v>1470.79</c:v>
                </c:pt>
                <c:pt idx="16">
                  <c:v>1498.75</c:v>
                </c:pt>
                <c:pt idx="17">
                  <c:v>1507.15</c:v>
                </c:pt>
                <c:pt idx="18">
                  <c:v>1463.01</c:v>
                </c:pt>
                <c:pt idx="19">
                  <c:v>1411.14</c:v>
                </c:pt>
                <c:pt idx="20">
                  <c:v>1375.34</c:v>
                </c:pt>
                <c:pt idx="21">
                  <c:v>1390.32</c:v>
                </c:pt>
                <c:pt idx="22">
                  <c:v>1387.11</c:v>
                </c:pt>
                <c:pt idx="23">
                  <c:v>1391.94</c:v>
                </c:pt>
                <c:pt idx="24">
                  <c:v>1363.83</c:v>
                </c:pt>
                <c:pt idx="25">
                  <c:v>1375.99</c:v>
                </c:pt>
                <c:pt idx="26">
                  <c:v>1418.16</c:v>
                </c:pt>
                <c:pt idx="27">
                  <c:v>1421.97</c:v>
                </c:pt>
                <c:pt idx="28">
                  <c:v>1410.85</c:v>
                </c:pt>
                <c:pt idx="29">
                  <c:v>1373.11</c:v>
                </c:pt>
                <c:pt idx="30">
                  <c:v>1390.25</c:v>
                </c:pt>
                <c:pt idx="31">
                  <c:v>1410.85</c:v>
                </c:pt>
                <c:pt idx="32">
                  <c:v>1429.77</c:v>
                </c:pt>
                <c:pt idx="33">
                  <c:v>1445.62</c:v>
                </c:pt>
                <c:pt idx="34">
                  <c:v>1460.2</c:v>
                </c:pt>
                <c:pt idx="35">
                  <c:v>1470.41</c:v>
                </c:pt>
                <c:pt idx="36">
                  <c:v>1508.21</c:v>
                </c:pt>
                <c:pt idx="37">
                  <c:v>1502.7</c:v>
                </c:pt>
                <c:pt idx="38">
                  <c:v>1501.4</c:v>
                </c:pt>
                <c:pt idx="39">
                  <c:v>1504.04</c:v>
                </c:pt>
                <c:pt idx="40">
                  <c:v>1534.68</c:v>
                </c:pt>
                <c:pt idx="41">
                  <c:v>1514.4</c:v>
                </c:pt>
                <c:pt idx="42">
                  <c:v>1536.79</c:v>
                </c:pt>
                <c:pt idx="43">
                  <c:v>1563.46</c:v>
                </c:pt>
                <c:pt idx="44">
                  <c:v>1558.8</c:v>
                </c:pt>
                <c:pt idx="45">
                  <c:v>1544.71</c:v>
                </c:pt>
                <c:pt idx="46">
                  <c:v>1525.59</c:v>
                </c:pt>
                <c:pt idx="47">
                  <c:v>1524.96</c:v>
                </c:pt>
                <c:pt idx="48">
                  <c:v>1514.58</c:v>
                </c:pt>
                <c:pt idx="49">
                  <c:v>1515.04</c:v>
                </c:pt>
                <c:pt idx="50">
                  <c:v>1519.87</c:v>
                </c:pt>
                <c:pt idx="51">
                  <c:v>1551.57</c:v>
                </c:pt>
                <c:pt idx="52">
                  <c:v>1562.29</c:v>
                </c:pt>
                <c:pt idx="53">
                  <c:v>1572.48</c:v>
                </c:pt>
                <c:pt idx="54">
                  <c:v>1608.39</c:v>
                </c:pt>
                <c:pt idx="55">
                  <c:v>1614.45</c:v>
                </c:pt>
                <c:pt idx="56">
                  <c:v>1626.79</c:v>
                </c:pt>
                <c:pt idx="57">
                  <c:v>1633.32</c:v>
                </c:pt>
                <c:pt idx="58">
                  <c:v>1613.88</c:v>
                </c:pt>
                <c:pt idx="59">
                  <c:v>1600.84</c:v>
                </c:pt>
                <c:pt idx="60">
                  <c:v>1631.81</c:v>
                </c:pt>
                <c:pt idx="61">
                  <c:v>1648.43</c:v>
                </c:pt>
                <c:pt idx="62">
                  <c:v>1643.98</c:v>
                </c:pt>
                <c:pt idx="63">
                  <c:v>1673.41</c:v>
                </c:pt>
                <c:pt idx="64">
                  <c:v>1676.27</c:v>
                </c:pt>
                <c:pt idx="65">
                  <c:v>1642.57</c:v>
                </c:pt>
                <c:pt idx="66">
                  <c:v>1601.67</c:v>
                </c:pt>
                <c:pt idx="67">
                  <c:v>1619.43</c:v>
                </c:pt>
                <c:pt idx="68">
                  <c:v>1610.23</c:v>
                </c:pt>
                <c:pt idx="69">
                  <c:v>1583.54</c:v>
                </c:pt>
                <c:pt idx="70">
                  <c:v>1602.99</c:v>
                </c:pt>
                <c:pt idx="71">
                  <c:v>1626.1</c:v>
                </c:pt>
                <c:pt idx="72">
                  <c:v>1603.59</c:v>
                </c:pt>
                <c:pt idx="73">
                  <c:v>1563.1</c:v>
                </c:pt>
                <c:pt idx="74">
                  <c:v>1588.75</c:v>
                </c:pt>
                <c:pt idx="75">
                  <c:v>1572.84</c:v>
                </c:pt>
                <c:pt idx="76">
                  <c:v>1517.83</c:v>
                </c:pt>
                <c:pt idx="77">
                  <c:v>1482.67</c:v>
                </c:pt>
                <c:pt idx="78">
                  <c:v>1450.47</c:v>
                </c:pt>
                <c:pt idx="79">
                  <c:v>1369.91</c:v>
                </c:pt>
                <c:pt idx="80">
                  <c:v>1420.54</c:v>
                </c:pt>
                <c:pt idx="81">
                  <c:v>1485.36</c:v>
                </c:pt>
                <c:pt idx="82">
                  <c:v>1476.03</c:v>
                </c:pt>
                <c:pt idx="83">
                  <c:v>1441.68</c:v>
                </c:pt>
                <c:pt idx="84">
                  <c:v>1422.72</c:v>
                </c:pt>
                <c:pt idx="85">
                  <c:v>1438.94</c:v>
                </c:pt>
                <c:pt idx="86">
                  <c:v>1379.88</c:v>
                </c:pt>
                <c:pt idx="87">
                  <c:v>1303.24</c:v>
                </c:pt>
                <c:pt idx="88">
                  <c:v>1297.9100000000001</c:v>
                </c:pt>
                <c:pt idx="89">
                  <c:v>1311.7</c:v>
                </c:pt>
                <c:pt idx="90">
                  <c:v>1226.57</c:v>
                </c:pt>
                <c:pt idx="91">
                  <c:v>1305.25</c:v>
                </c:pt>
                <c:pt idx="92">
                  <c:v>1358.6</c:v>
                </c:pt>
                <c:pt idx="93">
                  <c:v>1366.9</c:v>
                </c:pt>
                <c:pt idx="94">
                  <c:v>1384.59</c:v>
                </c:pt>
                <c:pt idx="95">
                  <c:v>1373.87</c:v>
                </c:pt>
                <c:pt idx="96">
                  <c:v>1383.87</c:v>
                </c:pt>
                <c:pt idx="97">
                  <c:v>1393.12</c:v>
                </c:pt>
                <c:pt idx="98">
                  <c:v>1360.74</c:v>
                </c:pt>
                <c:pt idx="99">
                  <c:v>1340.82</c:v>
                </c:pt>
                <c:pt idx="100">
                  <c:v>1315.61</c:v>
                </c:pt>
                <c:pt idx="101">
                  <c:v>1334.55</c:v>
                </c:pt>
                <c:pt idx="102">
                  <c:v>1358.94</c:v>
                </c:pt>
                <c:pt idx="103">
                  <c:v>1356.79</c:v>
                </c:pt>
                <c:pt idx="104">
                  <c:v>1396.57</c:v>
                </c:pt>
                <c:pt idx="105">
                  <c:v>1401.63</c:v>
                </c:pt>
                <c:pt idx="106">
                  <c:v>1400.66</c:v>
                </c:pt>
                <c:pt idx="107">
                  <c:v>1409.43</c:v>
                </c:pt>
                <c:pt idx="108">
                  <c:v>1457.95</c:v>
                </c:pt>
                <c:pt idx="109">
                  <c:v>1434.93</c:v>
                </c:pt>
                <c:pt idx="110">
                  <c:v>1418.42</c:v>
                </c:pt>
                <c:pt idx="111">
                  <c:v>1402.97</c:v>
                </c:pt>
                <c:pt idx="112">
                  <c:v>1387.66</c:v>
                </c:pt>
                <c:pt idx="113">
                  <c:v>1403.42</c:v>
                </c:pt>
                <c:pt idx="114">
                  <c:v>1356.05</c:v>
                </c:pt>
                <c:pt idx="115">
                  <c:v>1339.35</c:v>
                </c:pt>
                <c:pt idx="116">
                  <c:v>1288.72</c:v>
                </c:pt>
                <c:pt idx="117">
                  <c:v>1316.65</c:v>
                </c:pt>
                <c:pt idx="118">
                  <c:v>1318</c:v>
                </c:pt>
                <c:pt idx="119">
                  <c:v>1353.66</c:v>
                </c:pt>
                <c:pt idx="120">
                  <c:v>1352.71</c:v>
                </c:pt>
                <c:pt idx="121">
                  <c:v>1356.09</c:v>
                </c:pt>
                <c:pt idx="122">
                  <c:v>1359.45</c:v>
                </c:pt>
                <c:pt idx="123">
                  <c:v>1386.42</c:v>
                </c:pt>
                <c:pt idx="124">
                  <c:v>1409.61</c:v>
                </c:pt>
                <c:pt idx="125">
                  <c:v>1412.14</c:v>
                </c:pt>
                <c:pt idx="126">
                  <c:v>1403.33</c:v>
                </c:pt>
                <c:pt idx="127">
                  <c:v>1389.92</c:v>
                </c:pt>
                <c:pt idx="128">
                  <c:v>1394.92</c:v>
                </c:pt>
                <c:pt idx="129">
                  <c:v>1388.43</c:v>
                </c:pt>
                <c:pt idx="130">
                  <c:v>1417.49</c:v>
                </c:pt>
                <c:pt idx="131">
                  <c:v>1442.91</c:v>
                </c:pt>
                <c:pt idx="132">
                  <c:v>1449.19</c:v>
                </c:pt>
                <c:pt idx="133">
                  <c:v>1467.68</c:v>
                </c:pt>
                <c:pt idx="134">
                  <c:v>1481.32</c:v>
                </c:pt>
                <c:pt idx="135">
                  <c:v>1474.96</c:v>
                </c:pt>
                <c:pt idx="136">
                  <c:v>1503.68</c:v>
                </c:pt>
                <c:pt idx="137">
                  <c:v>1479.73</c:v>
                </c:pt>
                <c:pt idx="138">
                  <c:v>1523.16</c:v>
                </c:pt>
                <c:pt idx="139">
                  <c:v>1517.65</c:v>
                </c:pt>
                <c:pt idx="140">
                  <c:v>1523.8</c:v>
                </c:pt>
                <c:pt idx="141">
                  <c:v>1517.87</c:v>
                </c:pt>
                <c:pt idx="142">
                  <c:v>1509.85</c:v>
                </c:pt>
                <c:pt idx="143">
                  <c:v>1520.56</c:v>
                </c:pt>
                <c:pt idx="144">
                  <c:v>1492.9</c:v>
                </c:pt>
                <c:pt idx="145">
                  <c:v>1460.67</c:v>
                </c:pt>
                <c:pt idx="146">
                  <c:v>1447.68</c:v>
                </c:pt>
                <c:pt idx="147">
                  <c:v>1445.37</c:v>
                </c:pt>
                <c:pt idx="148">
                  <c:v>1445.94</c:v>
                </c:pt>
                <c:pt idx="149">
                  <c:v>1464.49</c:v>
                </c:pt>
                <c:pt idx="150">
                  <c:v>1458.36</c:v>
                </c:pt>
                <c:pt idx="151">
                  <c:v>1445.72</c:v>
                </c:pt>
                <c:pt idx="152">
                  <c:v>1425.03</c:v>
                </c:pt>
                <c:pt idx="153">
                  <c:v>1425.91</c:v>
                </c:pt>
                <c:pt idx="154">
                  <c:v>1396.86</c:v>
                </c:pt>
                <c:pt idx="155">
                  <c:v>1385.81</c:v>
                </c:pt>
                <c:pt idx="156">
                  <c:v>1409.51</c:v>
                </c:pt>
                <c:pt idx="157">
                  <c:v>1421.47</c:v>
                </c:pt>
                <c:pt idx="158">
                  <c:v>1427.11</c:v>
                </c:pt>
                <c:pt idx="159">
                  <c:v>1421.21</c:v>
                </c:pt>
                <c:pt idx="160">
                  <c:v>1449.99</c:v>
                </c:pt>
                <c:pt idx="161">
                  <c:v>1455.64</c:v>
                </c:pt>
                <c:pt idx="162">
                  <c:v>1467.62</c:v>
                </c:pt>
                <c:pt idx="163">
                  <c:v>1469.75</c:v>
                </c:pt>
                <c:pt idx="164">
                  <c:v>1453.47</c:v>
                </c:pt>
                <c:pt idx="165">
                  <c:v>1468.11</c:v>
                </c:pt>
                <c:pt idx="166">
                  <c:v>1492</c:v>
                </c:pt>
                <c:pt idx="167">
                  <c:v>1487.09</c:v>
                </c:pt>
                <c:pt idx="168">
                  <c:v>1503.22</c:v>
                </c:pt>
                <c:pt idx="169">
                  <c:v>1493.21</c:v>
                </c:pt>
                <c:pt idx="170">
                  <c:v>1484.5</c:v>
                </c:pt>
                <c:pt idx="171">
                  <c:v>1463.88</c:v>
                </c:pt>
                <c:pt idx="172">
                  <c:v>1464.18</c:v>
                </c:pt>
                <c:pt idx="173">
                  <c:v>1467.11</c:v>
                </c:pt>
                <c:pt idx="174">
                  <c:v>1478.21</c:v>
                </c:pt>
                <c:pt idx="175">
                  <c:v>1477.01</c:v>
                </c:pt>
                <c:pt idx="176">
                  <c:v>1477.13</c:v>
                </c:pt>
                <c:pt idx="177">
                  <c:v>1488.67</c:v>
                </c:pt>
                <c:pt idx="178">
                  <c:v>1487.86</c:v>
                </c:pt>
                <c:pt idx="179">
                  <c:v>1483.68</c:v>
                </c:pt>
                <c:pt idx="180">
                  <c:v>1494.93</c:v>
                </c:pt>
                <c:pt idx="181">
                  <c:v>1507.66</c:v>
                </c:pt>
                <c:pt idx="182">
                  <c:v>1531.91</c:v>
                </c:pt>
                <c:pt idx="183">
                  <c:v>1542.58</c:v>
                </c:pt>
                <c:pt idx="184">
                  <c:v>1568.86</c:v>
                </c:pt>
                <c:pt idx="185">
                  <c:v>1578.35</c:v>
                </c:pt>
                <c:pt idx="186">
                  <c:v>1584.29</c:v>
                </c:pt>
                <c:pt idx="187">
                  <c:v>1566.85</c:v>
                </c:pt>
                <c:pt idx="188">
                  <c:v>1588.29</c:v>
                </c:pt>
                <c:pt idx="189">
                  <c:v>1574.2</c:v>
                </c:pt>
                <c:pt idx="190">
                  <c:v>1588.83</c:v>
                </c:pt>
                <c:pt idx="191">
                  <c:v>1586.94</c:v>
                </c:pt>
                <c:pt idx="192">
                  <c:v>1581.9</c:v>
                </c:pt>
                <c:pt idx="193">
                  <c:v>1583.04</c:v>
                </c:pt>
                <c:pt idx="194">
                  <c:v>1570.59</c:v>
                </c:pt>
                <c:pt idx="195">
                  <c:v>1556.74</c:v>
                </c:pt>
                <c:pt idx="196">
                  <c:v>1604.86</c:v>
                </c:pt>
                <c:pt idx="197">
                  <c:v>1608.71</c:v>
                </c:pt>
                <c:pt idx="198">
                  <c:v>1620.49</c:v>
                </c:pt>
                <c:pt idx="199">
                  <c:v>1609.79</c:v>
                </c:pt>
                <c:pt idx="200">
                  <c:v>1583.17</c:v>
                </c:pt>
                <c:pt idx="201">
                  <c:v>1583.44</c:v>
                </c:pt>
                <c:pt idx="202">
                  <c:v>1587.14</c:v>
                </c:pt>
                <c:pt idx="203">
                  <c:v>1600.36</c:v>
                </c:pt>
                <c:pt idx="204">
                  <c:v>1604.14</c:v>
                </c:pt>
                <c:pt idx="205">
                  <c:v>1602.53</c:v>
                </c:pt>
                <c:pt idx="206">
                  <c:v>1628.42</c:v>
                </c:pt>
                <c:pt idx="207">
                  <c:v>1659.45</c:v>
                </c:pt>
                <c:pt idx="208">
                  <c:v>1637.02</c:v>
                </c:pt>
                <c:pt idx="209">
                  <c:v>1629.37</c:v>
                </c:pt>
                <c:pt idx="210">
                  <c:v>1610.97</c:v>
                </c:pt>
                <c:pt idx="211">
                  <c:v>1606.08</c:v>
                </c:pt>
                <c:pt idx="212">
                  <c:v>1609.43</c:v>
                </c:pt>
                <c:pt idx="213">
                  <c:v>1568.13</c:v>
                </c:pt>
                <c:pt idx="214">
                  <c:v>1570.66</c:v>
                </c:pt>
                <c:pt idx="215">
                  <c:v>1598.63</c:v>
                </c:pt>
                <c:pt idx="216">
                  <c:v>1600.98</c:v>
                </c:pt>
                <c:pt idx="217">
                  <c:v>1600.3</c:v>
                </c:pt>
                <c:pt idx="218">
                  <c:v>1573.46</c:v>
                </c:pt>
                <c:pt idx="219">
                  <c:v>1600.5</c:v>
                </c:pt>
                <c:pt idx="220">
                  <c:v>1618.55</c:v>
                </c:pt>
                <c:pt idx="221">
                  <c:v>1602.48</c:v>
                </c:pt>
                <c:pt idx="222">
                  <c:v>1589.31</c:v>
                </c:pt>
                <c:pt idx="223">
                  <c:v>1597.35</c:v>
                </c:pt>
                <c:pt idx="224">
                  <c:v>1633.71</c:v>
                </c:pt>
                <c:pt idx="225">
                  <c:v>1665.72</c:v>
                </c:pt>
                <c:pt idx="226">
                  <c:v>1687.36</c:v>
                </c:pt>
                <c:pt idx="227">
                  <c:v>1711.44</c:v>
                </c:pt>
                <c:pt idx="228">
                  <c:v>1721.91</c:v>
                </c:pt>
                <c:pt idx="229">
                  <c:v>1694.3</c:v>
                </c:pt>
                <c:pt idx="230">
                  <c:v>1711.56</c:v>
                </c:pt>
                <c:pt idx="231">
                  <c:v>1712.93</c:v>
                </c:pt>
                <c:pt idx="232">
                  <c:v>1735.5</c:v>
                </c:pt>
                <c:pt idx="233">
                  <c:v>1745.8</c:v>
                </c:pt>
                <c:pt idx="234">
                  <c:v>1757.71</c:v>
                </c:pt>
                <c:pt idx="235">
                  <c:v>1744.28</c:v>
                </c:pt>
                <c:pt idx="236">
                  <c:v>1743.87</c:v>
                </c:pt>
                <c:pt idx="237">
                  <c:v>1739.67</c:v>
                </c:pt>
                <c:pt idx="238">
                  <c:v>1755.79</c:v>
                </c:pt>
                <c:pt idx="239">
                  <c:v>1764.04</c:v>
                </c:pt>
                <c:pt idx="240">
                  <c:v>1765.51</c:v>
                </c:pt>
                <c:pt idx="241">
                  <c:v>1769.57</c:v>
                </c:pt>
                <c:pt idx="242">
                  <c:v>1764.39</c:v>
                </c:pt>
                <c:pt idx="243">
                  <c:v>1769.41</c:v>
                </c:pt>
                <c:pt idx="244">
                  <c:v>1767.82</c:v>
                </c:pt>
                <c:pt idx="245">
                  <c:v>1770.28</c:v>
                </c:pt>
                <c:pt idx="246">
                  <c:v>1802.23</c:v>
                </c:pt>
                <c:pt idx="247">
                  <c:v>1868.94</c:v>
                </c:pt>
                <c:pt idx="248">
                  <c:v>1878.14</c:v>
                </c:pt>
                <c:pt idx="249">
                  <c:v>1870.09</c:v>
                </c:pt>
                <c:pt idx="250">
                  <c:v>1901.61</c:v>
                </c:pt>
                <c:pt idx="251">
                  <c:v>1900.94</c:v>
                </c:pt>
                <c:pt idx="252">
                  <c:v>1902.75</c:v>
                </c:pt>
                <c:pt idx="253">
                  <c:v>1868.46</c:v>
                </c:pt>
                <c:pt idx="254">
                  <c:v>1884.76</c:v>
                </c:pt>
                <c:pt idx="255">
                  <c:v>1861.66</c:v>
                </c:pt>
                <c:pt idx="256">
                  <c:v>1863.33</c:v>
                </c:pt>
                <c:pt idx="257">
                  <c:v>1894.92</c:v>
                </c:pt>
                <c:pt idx="258">
                  <c:v>1911.48</c:v>
                </c:pt>
                <c:pt idx="259">
                  <c:v>1885.53</c:v>
                </c:pt>
                <c:pt idx="260">
                  <c:v>1870.31</c:v>
                </c:pt>
                <c:pt idx="261">
                  <c:v>1910.01</c:v>
                </c:pt>
                <c:pt idx="262">
                  <c:v>1931.38</c:v>
                </c:pt>
                <c:pt idx="263">
                  <c:v>1917.07</c:v>
                </c:pt>
                <c:pt idx="264">
                  <c:v>1928.58</c:v>
                </c:pt>
                <c:pt idx="265">
                  <c:v>1935.15</c:v>
                </c:pt>
                <c:pt idx="266">
                  <c:v>1910.5</c:v>
                </c:pt>
                <c:pt idx="267">
                  <c:v>1900.28</c:v>
                </c:pt>
                <c:pt idx="268">
                  <c:v>1846.92</c:v>
                </c:pt>
                <c:pt idx="269">
                  <c:v>1881.9</c:v>
                </c:pt>
                <c:pt idx="270">
                  <c:v>1879.56</c:v>
                </c:pt>
                <c:pt idx="271">
                  <c:v>1865.99</c:v>
                </c:pt>
                <c:pt idx="272">
                  <c:v>1877.44</c:v>
                </c:pt>
                <c:pt idx="273">
                  <c:v>1871.59</c:v>
                </c:pt>
                <c:pt idx="274">
                  <c:v>1868.4</c:v>
                </c:pt>
                <c:pt idx="275">
                  <c:v>1889.33</c:v>
                </c:pt>
                <c:pt idx="276">
                  <c:v>1874.76</c:v>
                </c:pt>
                <c:pt idx="277">
                  <c:v>1901.14</c:v>
                </c:pt>
                <c:pt idx="278">
                  <c:v>1932.82</c:v>
                </c:pt>
                <c:pt idx="279">
                  <c:v>1969.91</c:v>
                </c:pt>
                <c:pt idx="280">
                  <c:v>1962.66</c:v>
                </c:pt>
                <c:pt idx="281">
                  <c:v>1991.29</c:v>
                </c:pt>
                <c:pt idx="282">
                  <c:v>2017.82</c:v>
                </c:pt>
                <c:pt idx="283">
                  <c:v>2012.68</c:v>
                </c:pt>
                <c:pt idx="284">
                  <c:v>2025.17</c:v>
                </c:pt>
                <c:pt idx="285">
                  <c:v>2012.22</c:v>
                </c:pt>
                <c:pt idx="286">
                  <c:v>1949.35</c:v>
                </c:pt>
                <c:pt idx="287">
                  <c:v>1929.59</c:v>
                </c:pt>
                <c:pt idx="288">
                  <c:v>1944.91</c:v>
                </c:pt>
                <c:pt idx="289">
                  <c:v>1906.83</c:v>
                </c:pt>
                <c:pt idx="290">
                  <c:v>1915.95</c:v>
                </c:pt>
                <c:pt idx="291">
                  <c:v>1945.74</c:v>
                </c:pt>
                <c:pt idx="292">
                  <c:v>1962.92</c:v>
                </c:pt>
                <c:pt idx="293">
                  <c:v>1981.98</c:v>
                </c:pt>
                <c:pt idx="294">
                  <c:v>1976.38</c:v>
                </c:pt>
                <c:pt idx="295">
                  <c:v>1997</c:v>
                </c:pt>
                <c:pt idx="296">
                  <c:v>2027.89</c:v>
                </c:pt>
                <c:pt idx="297">
                  <c:v>2041.49</c:v>
                </c:pt>
                <c:pt idx="298">
                  <c:v>2045.06</c:v>
                </c:pt>
                <c:pt idx="299">
                  <c:v>2018.74</c:v>
                </c:pt>
                <c:pt idx="300">
                  <c:v>2035.92</c:v>
                </c:pt>
                <c:pt idx="301">
                  <c:v>2044.2</c:v>
                </c:pt>
                <c:pt idx="302">
                  <c:v>2076.7800000000002</c:v>
                </c:pt>
                <c:pt idx="303">
                  <c:v>2092.3200000000002</c:v>
                </c:pt>
                <c:pt idx="304">
                  <c:v>2088.64</c:v>
                </c:pt>
                <c:pt idx="305">
                  <c:v>2110.9</c:v>
                </c:pt>
                <c:pt idx="306">
                  <c:v>2089.52</c:v>
                </c:pt>
                <c:pt idx="307">
                  <c:v>2123.56</c:v>
                </c:pt>
                <c:pt idx="308">
                  <c:v>2113.5500000000002</c:v>
                </c:pt>
                <c:pt idx="309">
                  <c:v>2062.52</c:v>
                </c:pt>
                <c:pt idx="310">
                  <c:v>2062.4699999999998</c:v>
                </c:pt>
                <c:pt idx="311">
                  <c:v>2028.67</c:v>
                </c:pt>
                <c:pt idx="312">
                  <c:v>2030.32</c:v>
                </c:pt>
                <c:pt idx="313">
                  <c:v>1950.15</c:v>
                </c:pt>
                <c:pt idx="314">
                  <c:v>1988.12</c:v>
                </c:pt>
                <c:pt idx="315">
                  <c:v>2030.97</c:v>
                </c:pt>
                <c:pt idx="316">
                  <c:v>2040.6</c:v>
                </c:pt>
                <c:pt idx="317">
                  <c:v>2049.0300000000002</c:v>
                </c:pt>
                <c:pt idx="318">
                  <c:v>2030.93</c:v>
                </c:pt>
                <c:pt idx="319">
                  <c:v>2033.32</c:v>
                </c:pt>
                <c:pt idx="320">
                  <c:v>2017.64</c:v>
                </c:pt>
                <c:pt idx="321">
                  <c:v>2028.94</c:v>
                </c:pt>
                <c:pt idx="322">
                  <c:v>2026.94</c:v>
                </c:pt>
                <c:pt idx="323">
                  <c:v>1976.74</c:v>
                </c:pt>
                <c:pt idx="324">
                  <c:v>1949.94</c:v>
                </c:pt>
                <c:pt idx="325">
                  <c:v>1916.33</c:v>
                </c:pt>
                <c:pt idx="326">
                  <c:v>1936.29</c:v>
                </c:pt>
                <c:pt idx="327">
                  <c:v>1927.82</c:v>
                </c:pt>
                <c:pt idx="328">
                  <c:v>1908.46</c:v>
                </c:pt>
                <c:pt idx="329">
                  <c:v>1864.95</c:v>
                </c:pt>
                <c:pt idx="330">
                  <c:v>1866.3</c:v>
                </c:pt>
                <c:pt idx="331">
                  <c:v>1846.32</c:v>
                </c:pt>
                <c:pt idx="332">
                  <c:v>1828.89</c:v>
                </c:pt>
                <c:pt idx="333">
                  <c:v>1849.6</c:v>
                </c:pt>
                <c:pt idx="334">
                  <c:v>1859.14</c:v>
                </c:pt>
                <c:pt idx="335">
                  <c:v>1825.34</c:v>
                </c:pt>
                <c:pt idx="336">
                  <c:v>1765.04</c:v>
                </c:pt>
                <c:pt idx="337">
                  <c:v>1800.04</c:v>
                </c:pt>
                <c:pt idx="338">
                  <c:v>1808.13</c:v>
                </c:pt>
                <c:pt idx="339">
                  <c:v>1818.36</c:v>
                </c:pt>
                <c:pt idx="340">
                  <c:v>1858.39</c:v>
                </c:pt>
                <c:pt idx="341">
                  <c:v>1865.74</c:v>
                </c:pt>
                <c:pt idx="342">
                  <c:v>1888.6</c:v>
                </c:pt>
                <c:pt idx="343">
                  <c:v>1876.81</c:v>
                </c:pt>
                <c:pt idx="344">
                  <c:v>1883.09</c:v>
                </c:pt>
                <c:pt idx="345">
                  <c:v>1858.08</c:v>
                </c:pt>
                <c:pt idx="346">
                  <c:v>1865.64</c:v>
                </c:pt>
                <c:pt idx="347">
                  <c:v>1940.98</c:v>
                </c:pt>
                <c:pt idx="348">
                  <c:v>1926.02</c:v>
                </c:pt>
                <c:pt idx="349">
                  <c:v>1925.56</c:v>
                </c:pt>
                <c:pt idx="350">
                  <c:v>1919.05</c:v>
                </c:pt>
                <c:pt idx="351">
                  <c:v>1896.72</c:v>
                </c:pt>
                <c:pt idx="352">
                  <c:v>1878.55</c:v>
                </c:pt>
                <c:pt idx="353">
                  <c:v>1858.34</c:v>
                </c:pt>
                <c:pt idx="354">
                  <c:v>1872.45</c:v>
                </c:pt>
                <c:pt idx="355">
                  <c:v>1878.38</c:v>
                </c:pt>
                <c:pt idx="356">
                  <c:v>1829.97</c:v>
                </c:pt>
                <c:pt idx="357">
                  <c:v>1857.04</c:v>
                </c:pt>
                <c:pt idx="358">
                  <c:v>1842.2</c:v>
                </c:pt>
                <c:pt idx="359">
                  <c:v>1874.34</c:v>
                </c:pt>
                <c:pt idx="360">
                  <c:v>1894.58</c:v>
                </c:pt>
                <c:pt idx="361">
                  <c:v>1906.71</c:v>
                </c:pt>
                <c:pt idx="362">
                  <c:v>1937.57</c:v>
                </c:pt>
                <c:pt idx="363">
                  <c:v>1948.48</c:v>
                </c:pt>
                <c:pt idx="364">
                  <c:v>1953.07</c:v>
                </c:pt>
                <c:pt idx="365">
                  <c:v>1939.01</c:v>
                </c:pt>
                <c:pt idx="366">
                  <c:v>1976.9</c:v>
                </c:pt>
                <c:pt idx="367">
                  <c:v>1958.4</c:v>
                </c:pt>
                <c:pt idx="368">
                  <c:v>1919.08</c:v>
                </c:pt>
                <c:pt idx="369">
                  <c:v>1916.81</c:v>
                </c:pt>
                <c:pt idx="370">
                  <c:v>1936.42</c:v>
                </c:pt>
                <c:pt idx="371">
                  <c:v>1939.68</c:v>
                </c:pt>
                <c:pt idx="372">
                  <c:v>1938.54</c:v>
                </c:pt>
                <c:pt idx="373">
                  <c:v>1904.29</c:v>
                </c:pt>
                <c:pt idx="374">
                  <c:v>1926.23</c:v>
                </c:pt>
                <c:pt idx="375">
                  <c:v>1936.54</c:v>
                </c:pt>
                <c:pt idx="376">
                  <c:v>1972.5</c:v>
                </c:pt>
                <c:pt idx="377">
                  <c:v>1976.82</c:v>
                </c:pt>
                <c:pt idx="378">
                  <c:v>1979.54</c:v>
                </c:pt>
                <c:pt idx="379">
                  <c:v>1987.79</c:v>
                </c:pt>
                <c:pt idx="380">
                  <c:v>1976.18</c:v>
                </c:pt>
                <c:pt idx="381">
                  <c:v>1985.11</c:v>
                </c:pt>
                <c:pt idx="382">
                  <c:v>1965.02</c:v>
                </c:pt>
                <c:pt idx="383">
                  <c:v>1985.78</c:v>
                </c:pt>
                <c:pt idx="384">
                  <c:v>1968.14</c:v>
                </c:pt>
                <c:pt idx="385">
                  <c:v>1901.73</c:v>
                </c:pt>
                <c:pt idx="386">
                  <c:v>1855.69</c:v>
                </c:pt>
                <c:pt idx="387">
                  <c:v>1798.75</c:v>
                </c:pt>
                <c:pt idx="388">
                  <c:v>1657.77</c:v>
                </c:pt>
                <c:pt idx="389">
                  <c:v>1610.22</c:v>
                </c:pt>
                <c:pt idx="390">
                  <c:v>1537.57</c:v>
                </c:pt>
                <c:pt idx="391">
                  <c:v>1544.83</c:v>
                </c:pt>
                <c:pt idx="392">
                  <c:v>1594.68</c:v>
                </c:pt>
                <c:pt idx="393">
                  <c:v>1655.03</c:v>
                </c:pt>
                <c:pt idx="394">
                  <c:v>1632.31</c:v>
                </c:pt>
                <c:pt idx="395">
                  <c:v>1575.33</c:v>
                </c:pt>
                <c:pt idx="396">
                  <c:v>1578.45</c:v>
                </c:pt>
                <c:pt idx="397">
                  <c:v>1578.91</c:v>
                </c:pt>
                <c:pt idx="398">
                  <c:v>1601.03</c:v>
                </c:pt>
                <c:pt idx="399">
                  <c:v>1583.97</c:v>
                </c:pt>
                <c:pt idx="400">
                  <c:v>1596.17</c:v>
                </c:pt>
                <c:pt idx="401">
                  <c:v>1667.66</c:v>
                </c:pt>
                <c:pt idx="402">
                  <c:v>1662.35</c:v>
                </c:pt>
                <c:pt idx="403">
                  <c:v>1702.28</c:v>
                </c:pt>
                <c:pt idx="404">
                  <c:v>1703.86</c:v>
                </c:pt>
                <c:pt idx="405">
                  <c:v>1657.25</c:v>
                </c:pt>
                <c:pt idx="406">
                  <c:v>1617.01</c:v>
                </c:pt>
                <c:pt idx="407">
                  <c:v>1618.63</c:v>
                </c:pt>
                <c:pt idx="408">
                  <c:v>1669.75</c:v>
                </c:pt>
                <c:pt idx="409">
                  <c:v>1675.14</c:v>
                </c:pt>
                <c:pt idx="410">
                  <c:v>1625.29</c:v>
                </c:pt>
                <c:pt idx="411">
                  <c:v>1566.64</c:v>
                </c:pt>
                <c:pt idx="412">
                  <c:v>1572</c:v>
                </c:pt>
                <c:pt idx="413">
                  <c:v>1570.38</c:v>
                </c:pt>
                <c:pt idx="414">
                  <c:v>1603.39</c:v>
                </c:pt>
                <c:pt idx="415">
                  <c:v>1574.94</c:v>
                </c:pt>
                <c:pt idx="416">
                  <c:v>1526.01</c:v>
                </c:pt>
                <c:pt idx="417">
                  <c:v>1535.62</c:v>
                </c:pt>
                <c:pt idx="418">
                  <c:v>1518.64</c:v>
                </c:pt>
                <c:pt idx="419">
                  <c:v>1387.86</c:v>
                </c:pt>
                <c:pt idx="420">
                  <c:v>1315.95</c:v>
                </c:pt>
                <c:pt idx="421">
                  <c:v>1315.25</c:v>
                </c:pt>
                <c:pt idx="422">
                  <c:v>1369.93</c:v>
                </c:pt>
                <c:pt idx="423">
                  <c:v>1367.37</c:v>
                </c:pt>
                <c:pt idx="424">
                  <c:v>1389.14</c:v>
                </c:pt>
                <c:pt idx="425">
                  <c:v>1341.09</c:v>
                </c:pt>
                <c:pt idx="426">
                  <c:v>1291.7</c:v>
                </c:pt>
                <c:pt idx="427">
                  <c:v>1224.92</c:v>
                </c:pt>
                <c:pt idx="428">
                  <c:v>1217.21</c:v>
                </c:pt>
                <c:pt idx="429">
                  <c:v>1271.71</c:v>
                </c:pt>
                <c:pt idx="430">
                  <c:v>1311.91</c:v>
                </c:pt>
                <c:pt idx="431">
                  <c:v>1365.73</c:v>
                </c:pt>
                <c:pt idx="432">
                  <c:v>1355.21</c:v>
                </c:pt>
                <c:pt idx="433">
                  <c:v>1407.77</c:v>
                </c:pt>
                <c:pt idx="434">
                  <c:v>1396.27</c:v>
                </c:pt>
                <c:pt idx="435">
                  <c:v>1449.28</c:v>
                </c:pt>
                <c:pt idx="436">
                  <c:v>1427.31</c:v>
                </c:pt>
                <c:pt idx="437">
                  <c:v>1427.26</c:v>
                </c:pt>
                <c:pt idx="438">
                  <c:v>1438.63</c:v>
                </c:pt>
                <c:pt idx="439">
                  <c:v>1423.03</c:v>
                </c:pt>
                <c:pt idx="440">
                  <c:v>1456.73</c:v>
                </c:pt>
                <c:pt idx="441">
                  <c:v>1508.82</c:v>
                </c:pt>
                <c:pt idx="442">
                  <c:v>1500.05</c:v>
                </c:pt>
                <c:pt idx="443">
                  <c:v>1530.11</c:v>
                </c:pt>
                <c:pt idx="444">
                  <c:v>1592.93</c:v>
                </c:pt>
                <c:pt idx="445">
                  <c:v>1610.32</c:v>
                </c:pt>
                <c:pt idx="446">
                  <c:v>1484.98</c:v>
                </c:pt>
                <c:pt idx="447">
                  <c:v>1526.19</c:v>
                </c:pt>
                <c:pt idx="448">
                  <c:v>1542.39</c:v>
                </c:pt>
                <c:pt idx="449">
                  <c:v>1563.24</c:v>
                </c:pt>
                <c:pt idx="450">
                  <c:v>1579.82</c:v>
                </c:pt>
                <c:pt idx="451">
                  <c:v>1512.85</c:v>
                </c:pt>
                <c:pt idx="452">
                  <c:v>1529.71</c:v>
                </c:pt>
                <c:pt idx="453">
                  <c:v>1530.7</c:v>
                </c:pt>
                <c:pt idx="454">
                  <c:v>1527.16</c:v>
                </c:pt>
                <c:pt idx="455">
                  <c:v>1526.98</c:v>
                </c:pt>
                <c:pt idx="456">
                  <c:v>1520.75</c:v>
                </c:pt>
                <c:pt idx="457">
                  <c:v>1512.67</c:v>
                </c:pt>
                <c:pt idx="458">
                  <c:v>1495.87</c:v>
                </c:pt>
                <c:pt idx="459">
                  <c:v>1424.97</c:v>
                </c:pt>
                <c:pt idx="460">
                  <c:v>1431.13</c:v>
                </c:pt>
                <c:pt idx="461">
                  <c:v>1422</c:v>
                </c:pt>
                <c:pt idx="462">
                  <c:v>1402.83</c:v>
                </c:pt>
                <c:pt idx="463">
                  <c:v>1413.18</c:v>
                </c:pt>
                <c:pt idx="464">
                  <c:v>1475.25</c:v>
                </c:pt>
                <c:pt idx="465">
                  <c:v>1466.36</c:v>
                </c:pt>
                <c:pt idx="466">
                  <c:v>1540.81</c:v>
                </c:pt>
                <c:pt idx="467">
                  <c:v>1546.7</c:v>
                </c:pt>
                <c:pt idx="468">
                  <c:v>1545.57</c:v>
                </c:pt>
                <c:pt idx="469">
                  <c:v>1559.28</c:v>
                </c:pt>
                <c:pt idx="470">
                  <c:v>1485.67</c:v>
                </c:pt>
                <c:pt idx="471">
                  <c:v>1467.69</c:v>
                </c:pt>
                <c:pt idx="472">
                  <c:v>1473.56</c:v>
                </c:pt>
                <c:pt idx="473">
                  <c:v>1410.28</c:v>
                </c:pt>
                <c:pt idx="474">
                  <c:v>1363.67</c:v>
                </c:pt>
                <c:pt idx="475">
                  <c:v>1387.13</c:v>
                </c:pt>
                <c:pt idx="476">
                  <c:v>1369.65</c:v>
                </c:pt>
                <c:pt idx="477">
                  <c:v>1395.28</c:v>
                </c:pt>
                <c:pt idx="478">
                  <c:v>1373.73</c:v>
                </c:pt>
                <c:pt idx="479">
                  <c:v>1370.11</c:v>
                </c:pt>
                <c:pt idx="480">
                  <c:v>1395.79</c:v>
                </c:pt>
                <c:pt idx="481">
                  <c:v>1382.5</c:v>
                </c:pt>
                <c:pt idx="482">
                  <c:v>1396.03</c:v>
                </c:pt>
                <c:pt idx="483">
                  <c:v>1394.12</c:v>
                </c:pt>
                <c:pt idx="484">
                  <c:v>1413.52</c:v>
                </c:pt>
                <c:pt idx="485">
                  <c:v>1398.51</c:v>
                </c:pt>
                <c:pt idx="486">
                  <c:v>1382.19</c:v>
                </c:pt>
                <c:pt idx="487">
                  <c:v>1365.13</c:v>
                </c:pt>
                <c:pt idx="488">
                  <c:v>1381.87</c:v>
                </c:pt>
                <c:pt idx="489">
                  <c:v>1434.23</c:v>
                </c:pt>
                <c:pt idx="490">
                  <c:v>1434.19</c:v>
                </c:pt>
                <c:pt idx="491">
                  <c:v>1415.48</c:v>
                </c:pt>
                <c:pt idx="492">
                  <c:v>1423.7</c:v>
                </c:pt>
                <c:pt idx="493">
                  <c:v>1430.13</c:v>
                </c:pt>
                <c:pt idx="494">
                  <c:v>1469.76</c:v>
                </c:pt>
                <c:pt idx="495">
                  <c:v>1452.69</c:v>
                </c:pt>
                <c:pt idx="496">
                  <c:v>1458.24</c:v>
                </c:pt>
                <c:pt idx="497">
                  <c:v>1446.46</c:v>
                </c:pt>
                <c:pt idx="498">
                  <c:v>1455.32</c:v>
                </c:pt>
                <c:pt idx="499">
                  <c:v>1476.31</c:v>
                </c:pt>
                <c:pt idx="500">
                  <c:v>1488.37</c:v>
                </c:pt>
                <c:pt idx="501">
                  <c:v>1503.89</c:v>
                </c:pt>
                <c:pt idx="502">
                  <c:v>1496.41</c:v>
                </c:pt>
                <c:pt idx="503">
                  <c:v>1522.57</c:v>
                </c:pt>
                <c:pt idx="504">
                  <c:v>1514.93</c:v>
                </c:pt>
                <c:pt idx="505">
                  <c:v>1534.14</c:v>
                </c:pt>
                <c:pt idx="506">
                  <c:v>1573.04</c:v>
                </c:pt>
                <c:pt idx="507">
                  <c:v>1565.82</c:v>
                </c:pt>
                <c:pt idx="508">
                  <c:v>1546.59</c:v>
                </c:pt>
                <c:pt idx="509">
                  <c:v>1577.29</c:v>
                </c:pt>
                <c:pt idx="510">
                  <c:v>1599.56</c:v>
                </c:pt>
                <c:pt idx="511">
                  <c:v>1602.99</c:v>
                </c:pt>
                <c:pt idx="512">
                  <c:v>1625.6</c:v>
                </c:pt>
                <c:pt idx="513">
                  <c:v>1626.46</c:v>
                </c:pt>
                <c:pt idx="514">
                  <c:v>1632.35</c:v>
                </c:pt>
                <c:pt idx="515">
                  <c:v>1643.53</c:v>
                </c:pt>
                <c:pt idx="516">
                  <c:v>1638.09</c:v>
                </c:pt>
                <c:pt idx="517">
                  <c:v>1603.25</c:v>
                </c:pt>
                <c:pt idx="518">
                  <c:v>1645.94</c:v>
                </c:pt>
                <c:pt idx="519">
                  <c:v>1644.1</c:v>
                </c:pt>
                <c:pt idx="520">
                  <c:v>1661.36</c:v>
                </c:pt>
                <c:pt idx="521">
                  <c:v>1641.51</c:v>
                </c:pt>
                <c:pt idx="522">
                  <c:v>1656.6</c:v>
                </c:pt>
                <c:pt idx="523">
                  <c:v>1674.27</c:v>
                </c:pt>
                <c:pt idx="524">
                  <c:v>1655.35</c:v>
                </c:pt>
                <c:pt idx="525">
                  <c:v>1642.01</c:v>
                </c:pt>
                <c:pt idx="526">
                  <c:v>1722.05</c:v>
                </c:pt>
                <c:pt idx="527">
                  <c:v>1728.13</c:v>
                </c:pt>
                <c:pt idx="528">
                  <c:v>1708.16</c:v>
                </c:pt>
                <c:pt idx="529">
                  <c:v>1734.99</c:v>
                </c:pt>
                <c:pt idx="530">
                  <c:v>1723.57</c:v>
                </c:pt>
                <c:pt idx="531">
                  <c:v>1726.73</c:v>
                </c:pt>
                <c:pt idx="532">
                  <c:v>1752.17</c:v>
                </c:pt>
                <c:pt idx="533">
                  <c:v>1676.48</c:v>
                </c:pt>
                <c:pt idx="534">
                  <c:v>1677.21</c:v>
                </c:pt>
                <c:pt idx="535">
                  <c:v>1721.27</c:v>
                </c:pt>
                <c:pt idx="536">
                  <c:v>1714.12</c:v>
                </c:pt>
                <c:pt idx="537">
                  <c:v>1729.91</c:v>
                </c:pt>
                <c:pt idx="538">
                  <c:v>1752.02</c:v>
                </c:pt>
                <c:pt idx="539">
                  <c:v>1754.81</c:v>
                </c:pt>
                <c:pt idx="540">
                  <c:v>1748.32</c:v>
                </c:pt>
                <c:pt idx="541">
                  <c:v>1722.5</c:v>
                </c:pt>
                <c:pt idx="542">
                  <c:v>1693.07</c:v>
                </c:pt>
                <c:pt idx="543">
                  <c:v>1686.91</c:v>
                </c:pt>
                <c:pt idx="544">
                  <c:v>1653.8</c:v>
                </c:pt>
                <c:pt idx="545">
                  <c:v>1668.41</c:v>
                </c:pt>
                <c:pt idx="546">
                  <c:v>1712.85</c:v>
                </c:pt>
                <c:pt idx="547">
                  <c:v>1699.68</c:v>
                </c:pt>
                <c:pt idx="548">
                  <c:v>1647.44</c:v>
                </c:pt>
                <c:pt idx="549">
                  <c:v>1613.41</c:v>
                </c:pt>
                <c:pt idx="550">
                  <c:v>1637.73</c:v>
                </c:pt>
                <c:pt idx="551">
                  <c:v>1643.2</c:v>
                </c:pt>
                <c:pt idx="552">
                  <c:v>1681.8</c:v>
                </c:pt>
                <c:pt idx="553">
                  <c:v>1632.21</c:v>
                </c:pt>
                <c:pt idx="554">
                  <c:v>1642.62</c:v>
                </c:pt>
                <c:pt idx="555">
                  <c:v>1613.25</c:v>
                </c:pt>
                <c:pt idx="556">
                  <c:v>1622.07</c:v>
                </c:pt>
                <c:pt idx="557">
                  <c:v>1606.98</c:v>
                </c:pt>
                <c:pt idx="558">
                  <c:v>1615.69</c:v>
                </c:pt>
                <c:pt idx="559">
                  <c:v>1620.19</c:v>
                </c:pt>
                <c:pt idx="560">
                  <c:v>1612.74</c:v>
                </c:pt>
                <c:pt idx="561">
                  <c:v>1587.58</c:v>
                </c:pt>
                <c:pt idx="562">
                  <c:v>1585.4</c:v>
                </c:pt>
                <c:pt idx="563">
                  <c:v>1583.06</c:v>
                </c:pt>
                <c:pt idx="564">
                  <c:v>1609.56</c:v>
                </c:pt>
                <c:pt idx="565">
                  <c:v>1619.53</c:v>
                </c:pt>
                <c:pt idx="566">
                  <c:v>1572.88</c:v>
                </c:pt>
                <c:pt idx="567">
                  <c:v>1576.22</c:v>
                </c:pt>
                <c:pt idx="568">
                  <c:v>1583.42</c:v>
                </c:pt>
                <c:pt idx="569">
                  <c:v>1574.61</c:v>
                </c:pt>
                <c:pt idx="570">
                  <c:v>1594.2</c:v>
                </c:pt>
                <c:pt idx="571">
                  <c:v>1593.97</c:v>
                </c:pt>
                <c:pt idx="572">
                  <c:v>1569.1</c:v>
                </c:pt>
                <c:pt idx="573">
                  <c:v>1560.11</c:v>
                </c:pt>
                <c:pt idx="574">
                  <c:v>1498.05</c:v>
                </c:pt>
                <c:pt idx="575">
                  <c:v>1489.55</c:v>
                </c:pt>
                <c:pt idx="576">
                  <c:v>1488.64</c:v>
                </c:pt>
                <c:pt idx="577">
                  <c:v>1481.06</c:v>
                </c:pt>
                <c:pt idx="578">
                  <c:v>1489.45</c:v>
                </c:pt>
                <c:pt idx="579">
                  <c:v>1464.53</c:v>
                </c:pt>
                <c:pt idx="580">
                  <c:v>1453.91</c:v>
                </c:pt>
                <c:pt idx="581">
                  <c:v>1401.73</c:v>
                </c:pt>
                <c:pt idx="582">
                  <c:v>1400.77</c:v>
                </c:pt>
                <c:pt idx="583">
                  <c:v>1373.82</c:v>
                </c:pt>
                <c:pt idx="584">
                  <c:v>1313.43</c:v>
                </c:pt>
                <c:pt idx="585">
                  <c:v>1289.46</c:v>
                </c:pt>
                <c:pt idx="586">
                  <c:v>1318.29</c:v>
                </c:pt>
                <c:pt idx="587">
                  <c:v>1321.87</c:v>
                </c:pt>
                <c:pt idx="588">
                  <c:v>1264.29</c:v>
                </c:pt>
                <c:pt idx="589">
                  <c:v>1287.43</c:v>
                </c:pt>
                <c:pt idx="590">
                  <c:v>1272.69</c:v>
                </c:pt>
                <c:pt idx="591">
                  <c:v>1277.1500000000001</c:v>
                </c:pt>
                <c:pt idx="592">
                  <c:v>1307.03</c:v>
                </c:pt>
                <c:pt idx="593">
                  <c:v>1273.26</c:v>
                </c:pt>
                <c:pt idx="594">
                  <c:v>1242.43</c:v>
                </c:pt>
                <c:pt idx="595">
                  <c:v>1227.6500000000001</c:v>
                </c:pt>
                <c:pt idx="596">
                  <c:v>1239.99</c:v>
                </c:pt>
                <c:pt idx="597">
                  <c:v>1246.4000000000001</c:v>
                </c:pt>
                <c:pt idx="598">
                  <c:v>1277.54</c:v>
                </c:pt>
                <c:pt idx="599">
                  <c:v>1303.96</c:v>
                </c:pt>
                <c:pt idx="600">
                  <c:v>1282.48</c:v>
                </c:pt>
                <c:pt idx="601">
                  <c:v>1296.98</c:v>
                </c:pt>
                <c:pt idx="602">
                  <c:v>1309.58</c:v>
                </c:pt>
                <c:pt idx="603">
                  <c:v>1304.07</c:v>
                </c:pt>
                <c:pt idx="604">
                  <c:v>1337.5</c:v>
                </c:pt>
                <c:pt idx="605">
                  <c:v>1348.38</c:v>
                </c:pt>
                <c:pt idx="606">
                  <c:v>1350.15</c:v>
                </c:pt>
                <c:pt idx="607">
                  <c:v>1332.64</c:v>
                </c:pt>
                <c:pt idx="608">
                  <c:v>1306.8499999999999</c:v>
                </c:pt>
                <c:pt idx="609">
                  <c:v>1281.8800000000001</c:v>
                </c:pt>
                <c:pt idx="610">
                  <c:v>1261.8900000000001</c:v>
                </c:pt>
                <c:pt idx="611">
                  <c:v>1288.67</c:v>
                </c:pt>
                <c:pt idx="612">
                  <c:v>1306.82</c:v>
                </c:pt>
                <c:pt idx="613">
                  <c:v>1280.92</c:v>
                </c:pt>
                <c:pt idx="614">
                  <c:v>1350.51</c:v>
                </c:pt>
                <c:pt idx="615">
                  <c:v>1357.34</c:v>
                </c:pt>
                <c:pt idx="616">
                  <c:v>1408.43</c:v>
                </c:pt>
                <c:pt idx="617">
                  <c:v>1408.21</c:v>
                </c:pt>
                <c:pt idx="618">
                  <c:v>1388.07</c:v>
                </c:pt>
                <c:pt idx="619">
                  <c:v>1357.71</c:v>
                </c:pt>
                <c:pt idx="620">
                  <c:v>1352.5</c:v>
                </c:pt>
                <c:pt idx="621">
                  <c:v>1362.95</c:v>
                </c:pt>
                <c:pt idx="622">
                  <c:v>1355.86</c:v>
                </c:pt>
                <c:pt idx="623">
                  <c:v>1340.17</c:v>
                </c:pt>
                <c:pt idx="624">
                  <c:v>1368.69</c:v>
                </c:pt>
                <c:pt idx="625">
                  <c:v>1374.02</c:v>
                </c:pt>
                <c:pt idx="626">
                  <c:v>1382</c:v>
                </c:pt>
                <c:pt idx="627">
                  <c:v>1390.63</c:v>
                </c:pt>
                <c:pt idx="628">
                  <c:v>1413.97</c:v>
                </c:pt>
                <c:pt idx="629">
                  <c:v>1391.55</c:v>
                </c:pt>
                <c:pt idx="630">
                  <c:v>1323.96</c:v>
                </c:pt>
                <c:pt idx="631">
                  <c:v>1314.27</c:v>
                </c:pt>
                <c:pt idx="632">
                  <c:v>1318.31</c:v>
                </c:pt>
                <c:pt idx="633">
                  <c:v>1349.9</c:v>
                </c:pt>
                <c:pt idx="634">
                  <c:v>1382.82</c:v>
                </c:pt>
                <c:pt idx="635">
                  <c:v>1398.07</c:v>
                </c:pt>
                <c:pt idx="636">
                  <c:v>1377.35</c:v>
                </c:pt>
                <c:pt idx="637">
                  <c:v>1374.98</c:v>
                </c:pt>
                <c:pt idx="638">
                  <c:v>1355.32</c:v>
                </c:pt>
                <c:pt idx="639">
                  <c:v>1398.33</c:v>
                </c:pt>
                <c:pt idx="640">
                  <c:v>1433.54</c:v>
                </c:pt>
                <c:pt idx="641">
                  <c:v>1445.34</c:v>
                </c:pt>
                <c:pt idx="642">
                  <c:v>1444.79</c:v>
                </c:pt>
                <c:pt idx="643">
                  <c:v>1447.09</c:v>
                </c:pt>
                <c:pt idx="644">
                  <c:v>1427.33</c:v>
                </c:pt>
                <c:pt idx="645">
                  <c:v>1436.15</c:v>
                </c:pt>
                <c:pt idx="646">
                  <c:v>1445.29</c:v>
                </c:pt>
                <c:pt idx="647">
                  <c:v>1427.67</c:v>
                </c:pt>
                <c:pt idx="648">
                  <c:v>1431.07</c:v>
                </c:pt>
                <c:pt idx="649">
                  <c:v>1416.78</c:v>
                </c:pt>
                <c:pt idx="650">
                  <c:v>1403.55</c:v>
                </c:pt>
                <c:pt idx="651">
                  <c:v>1442.72</c:v>
                </c:pt>
                <c:pt idx="652">
                  <c:v>1430.48</c:v>
                </c:pt>
                <c:pt idx="653">
                  <c:v>1442.94</c:v>
                </c:pt>
                <c:pt idx="654">
                  <c:v>1436.84</c:v>
                </c:pt>
                <c:pt idx="655">
                  <c:v>1431.53</c:v>
                </c:pt>
                <c:pt idx="656">
                  <c:v>1428.88</c:v>
                </c:pt>
                <c:pt idx="657">
                  <c:v>1410.16</c:v>
                </c:pt>
                <c:pt idx="658">
                  <c:v>1384.26</c:v>
                </c:pt>
                <c:pt idx="659">
                  <c:v>1389.72</c:v>
                </c:pt>
                <c:pt idx="660">
                  <c:v>1406.04</c:v>
                </c:pt>
                <c:pt idx="661">
                  <c:v>1405.71</c:v>
                </c:pt>
                <c:pt idx="662">
                  <c:v>1391.02</c:v>
                </c:pt>
                <c:pt idx="663">
                  <c:v>1437.37</c:v>
                </c:pt>
                <c:pt idx="664">
                  <c:v>1471.8</c:v>
                </c:pt>
                <c:pt idx="665">
                  <c:v>1476.44</c:v>
                </c:pt>
                <c:pt idx="666">
                  <c:v>1480.05</c:v>
                </c:pt>
                <c:pt idx="667">
                  <c:v>1482.51</c:v>
                </c:pt>
                <c:pt idx="668">
                  <c:v>1484.88</c:v>
                </c:pt>
                <c:pt idx="669">
                  <c:v>1589.4</c:v>
                </c:pt>
                <c:pt idx="670">
                  <c:v>1582.22</c:v>
                </c:pt>
                <c:pt idx="671">
                  <c:v>1547.74</c:v>
                </c:pt>
                <c:pt idx="672">
                  <c:v>1517.58</c:v>
                </c:pt>
                <c:pt idx="673">
                  <c:v>1515.88</c:v>
                </c:pt>
                <c:pt idx="674">
                  <c:v>1522.63</c:v>
                </c:pt>
                <c:pt idx="675">
                  <c:v>1509.58</c:v>
                </c:pt>
                <c:pt idx="676">
                  <c:v>1510.96</c:v>
                </c:pt>
                <c:pt idx="677">
                  <c:v>1456.99</c:v>
                </c:pt>
                <c:pt idx="678">
                  <c:v>1474.76</c:v>
                </c:pt>
                <c:pt idx="679">
                  <c:v>1475.7</c:v>
                </c:pt>
                <c:pt idx="680">
                  <c:v>1513.81</c:v>
                </c:pt>
                <c:pt idx="681">
                  <c:v>1507.77</c:v>
                </c:pt>
                <c:pt idx="682">
                  <c:v>1492.3</c:v>
                </c:pt>
                <c:pt idx="683">
                  <c:v>1483.03</c:v>
                </c:pt>
                <c:pt idx="684">
                  <c:v>1508.72</c:v>
                </c:pt>
                <c:pt idx="685">
                  <c:v>1492.51</c:v>
                </c:pt>
                <c:pt idx="686">
                  <c:v>1494.16</c:v>
                </c:pt>
                <c:pt idx="687">
                  <c:v>1483.84</c:v>
                </c:pt>
                <c:pt idx="688">
                  <c:v>1490.41</c:v>
                </c:pt>
                <c:pt idx="689">
                  <c:v>1472.36</c:v>
                </c:pt>
                <c:pt idx="690">
                  <c:v>1466.82</c:v>
                </c:pt>
                <c:pt idx="691">
                  <c:v>1488.18</c:v>
                </c:pt>
                <c:pt idx="692">
                  <c:v>1513.96</c:v>
                </c:pt>
                <c:pt idx="693">
                  <c:v>1512.01</c:v>
                </c:pt>
                <c:pt idx="694">
                  <c:v>1494.44</c:v>
                </c:pt>
                <c:pt idx="695">
                  <c:v>1497.63</c:v>
                </c:pt>
                <c:pt idx="696">
                  <c:v>1456.73</c:v>
                </c:pt>
                <c:pt idx="697">
                  <c:v>1462.43</c:v>
                </c:pt>
                <c:pt idx="698">
                  <c:v>1456.91</c:v>
                </c:pt>
                <c:pt idx="699">
                  <c:v>1441.38</c:v>
                </c:pt>
                <c:pt idx="700">
                  <c:v>1435.05</c:v>
                </c:pt>
                <c:pt idx="701">
                  <c:v>1430.1</c:v>
                </c:pt>
                <c:pt idx="702">
                  <c:v>1433.96</c:v>
                </c:pt>
                <c:pt idx="703">
                  <c:v>1443.5</c:v>
                </c:pt>
                <c:pt idx="704">
                  <c:v>1444.19</c:v>
                </c:pt>
                <c:pt idx="705">
                  <c:v>1448.98</c:v>
                </c:pt>
                <c:pt idx="706">
                  <c:v>1426.94</c:v>
                </c:pt>
                <c:pt idx="707">
                  <c:v>1410.27</c:v>
                </c:pt>
                <c:pt idx="708">
                  <c:v>1397.86</c:v>
                </c:pt>
                <c:pt idx="709">
                  <c:v>1404.26</c:v>
                </c:pt>
                <c:pt idx="710">
                  <c:v>1363.63</c:v>
                </c:pt>
                <c:pt idx="711">
                  <c:v>1367.15</c:v>
                </c:pt>
                <c:pt idx="712">
                  <c:v>1381.58</c:v>
                </c:pt>
                <c:pt idx="713">
                  <c:v>1376.1</c:v>
                </c:pt>
                <c:pt idx="714">
                  <c:v>1399.7</c:v>
                </c:pt>
                <c:pt idx="715">
                  <c:v>1403.59</c:v>
                </c:pt>
                <c:pt idx="716">
                  <c:v>1420.97</c:v>
                </c:pt>
                <c:pt idx="717">
                  <c:v>1419.88</c:v>
                </c:pt>
                <c:pt idx="718">
                  <c:v>1432.24</c:v>
                </c:pt>
                <c:pt idx="719">
                  <c:v>1426.96</c:v>
                </c:pt>
                <c:pt idx="720">
                  <c:v>1417.6</c:v>
                </c:pt>
                <c:pt idx="721">
                  <c:v>1397.38</c:v>
                </c:pt>
                <c:pt idx="722">
                  <c:v>1420.35</c:v>
                </c:pt>
                <c:pt idx="723">
                  <c:v>1436.55</c:v>
                </c:pt>
                <c:pt idx="724">
                  <c:v>1451.69</c:v>
                </c:pt>
                <c:pt idx="725">
                  <c:v>1443.87</c:v>
                </c:pt>
                <c:pt idx="726">
                  <c:v>1469.54</c:v>
                </c:pt>
                <c:pt idx="727">
                  <c:v>1467</c:v>
                </c:pt>
                <c:pt idx="728">
                  <c:v>1471.09</c:v>
                </c:pt>
                <c:pt idx="729">
                  <c:v>1480.78</c:v>
                </c:pt>
                <c:pt idx="730">
                  <c:v>1484.5</c:v>
                </c:pt>
                <c:pt idx="731">
                  <c:v>1506.91</c:v>
                </c:pt>
                <c:pt idx="732">
                  <c:v>1499.68</c:v>
                </c:pt>
                <c:pt idx="733">
                  <c:v>1500.89</c:v>
                </c:pt>
                <c:pt idx="734">
                  <c:v>1491.21</c:v>
                </c:pt>
                <c:pt idx="735">
                  <c:v>1511.43</c:v>
                </c:pt>
                <c:pt idx="736">
                  <c:v>1517.39</c:v>
                </c:pt>
                <c:pt idx="737">
                  <c:v>1528.89</c:v>
                </c:pt>
                <c:pt idx="738">
                  <c:v>1512.18</c:v>
                </c:pt>
                <c:pt idx="739">
                  <c:v>1515.87</c:v>
                </c:pt>
                <c:pt idx="740">
                  <c:v>1513.74</c:v>
                </c:pt>
                <c:pt idx="741">
                  <c:v>1526.34</c:v>
                </c:pt>
                <c:pt idx="742">
                  <c:v>1535.05</c:v>
                </c:pt>
                <c:pt idx="743">
                  <c:v>1526.98</c:v>
                </c:pt>
                <c:pt idx="744">
                  <c:v>1568.59</c:v>
                </c:pt>
                <c:pt idx="745">
                  <c:v>1572</c:v>
                </c:pt>
                <c:pt idx="746">
                  <c:v>1571.73</c:v>
                </c:pt>
                <c:pt idx="747">
                  <c:v>1590.21</c:v>
                </c:pt>
                <c:pt idx="748">
                  <c:v>1576.54</c:v>
                </c:pt>
                <c:pt idx="749">
                  <c:v>1571.15</c:v>
                </c:pt>
                <c:pt idx="750">
                  <c:v>1585.44</c:v>
                </c:pt>
                <c:pt idx="751">
                  <c:v>1603.5</c:v>
                </c:pt>
                <c:pt idx="752">
                  <c:v>1600.13</c:v>
                </c:pt>
                <c:pt idx="753">
                  <c:v>1589.02</c:v>
                </c:pt>
                <c:pt idx="754">
                  <c:v>1605.36</c:v>
                </c:pt>
                <c:pt idx="755">
                  <c:v>1604.65</c:v>
                </c:pt>
                <c:pt idx="756">
                  <c:v>1618.84</c:v>
                </c:pt>
                <c:pt idx="757">
                  <c:v>1635.5</c:v>
                </c:pt>
                <c:pt idx="758">
                  <c:v>1623.87</c:v>
                </c:pt>
                <c:pt idx="759">
                  <c:v>1618.77</c:v>
                </c:pt>
                <c:pt idx="760">
                  <c:v>1622.13</c:v>
                </c:pt>
                <c:pt idx="761">
                  <c:v>1628.31</c:v>
                </c:pt>
                <c:pt idx="762">
                  <c:v>1612.52</c:v>
                </c:pt>
                <c:pt idx="763">
                  <c:v>1614.09</c:v>
                </c:pt>
                <c:pt idx="764">
                  <c:v>1602.99</c:v>
                </c:pt>
                <c:pt idx="765">
                  <c:v>1595.36</c:v>
                </c:pt>
                <c:pt idx="766">
                  <c:v>1590.13</c:v>
                </c:pt>
                <c:pt idx="767">
                  <c:v>1581.95</c:v>
                </c:pt>
                <c:pt idx="768">
                  <c:v>1582.35</c:v>
                </c:pt>
                <c:pt idx="769">
                  <c:v>1612.65</c:v>
                </c:pt>
                <c:pt idx="770">
                  <c:v>1588.31</c:v>
                </c:pt>
                <c:pt idx="771">
                  <c:v>1577.26</c:v>
                </c:pt>
                <c:pt idx="772">
                  <c:v>1578.65</c:v>
                </c:pt>
                <c:pt idx="773">
                  <c:v>1592.74</c:v>
                </c:pt>
                <c:pt idx="774">
                  <c:v>1582.63</c:v>
                </c:pt>
                <c:pt idx="775">
                  <c:v>1548.76</c:v>
                </c:pt>
                <c:pt idx="776">
                  <c:v>1551.04</c:v>
                </c:pt>
                <c:pt idx="777">
                  <c:v>1565.07</c:v>
                </c:pt>
                <c:pt idx="778">
                  <c:v>1530.82</c:v>
                </c:pt>
                <c:pt idx="779">
                  <c:v>1530.52</c:v>
                </c:pt>
                <c:pt idx="780">
                  <c:v>1534.41</c:v>
                </c:pt>
                <c:pt idx="781">
                  <c:v>1509.8</c:v>
                </c:pt>
                <c:pt idx="782">
                  <c:v>1498.79</c:v>
                </c:pt>
                <c:pt idx="783">
                  <c:v>1523.34</c:v>
                </c:pt>
                <c:pt idx="784">
                  <c:v>1529.32</c:v>
                </c:pt>
                <c:pt idx="785">
                  <c:v>1532.09</c:v>
                </c:pt>
                <c:pt idx="786">
                  <c:v>1539.87</c:v>
                </c:pt>
                <c:pt idx="787">
                  <c:v>1542.55</c:v>
                </c:pt>
                <c:pt idx="788">
                  <c:v>1531.14</c:v>
                </c:pt>
                <c:pt idx="789">
                  <c:v>1535.73</c:v>
                </c:pt>
                <c:pt idx="790">
                  <c:v>1537.66</c:v>
                </c:pt>
                <c:pt idx="791">
                  <c:v>1494.3</c:v>
                </c:pt>
                <c:pt idx="792">
                  <c:v>1478.82</c:v>
                </c:pt>
                <c:pt idx="793">
                  <c:v>1489.34</c:v>
                </c:pt>
                <c:pt idx="794">
                  <c:v>1485.73</c:v>
                </c:pt>
                <c:pt idx="795">
                  <c:v>1470.91</c:v>
                </c:pt>
                <c:pt idx="796">
                  <c:v>1458.8</c:v>
                </c:pt>
                <c:pt idx="797">
                  <c:v>1445.46</c:v>
                </c:pt>
                <c:pt idx="798">
                  <c:v>1446.04</c:v>
                </c:pt>
                <c:pt idx="799">
                  <c:v>1454.72</c:v>
                </c:pt>
                <c:pt idx="800">
                  <c:v>1460.04</c:v>
                </c:pt>
                <c:pt idx="801">
                  <c:v>1445.57</c:v>
                </c:pt>
                <c:pt idx="802">
                  <c:v>1440.1</c:v>
                </c:pt>
                <c:pt idx="803">
                  <c:v>1425.99</c:v>
                </c:pt>
                <c:pt idx="804">
                  <c:v>1419.45</c:v>
                </c:pt>
                <c:pt idx="805">
                  <c:v>1411.09</c:v>
                </c:pt>
                <c:pt idx="806">
                  <c:v>1419.63</c:v>
                </c:pt>
                <c:pt idx="807">
                  <c:v>1439.46</c:v>
                </c:pt>
                <c:pt idx="808">
                  <c:v>1453.81</c:v>
                </c:pt>
                <c:pt idx="809">
                  <c:v>1433.08</c:v>
                </c:pt>
                <c:pt idx="810">
                  <c:v>1405.47</c:v>
                </c:pt>
                <c:pt idx="811">
                  <c:v>1366.53</c:v>
                </c:pt>
                <c:pt idx="812">
                  <c:v>1356.65</c:v>
                </c:pt>
                <c:pt idx="813">
                  <c:v>1327.92</c:v>
                </c:pt>
                <c:pt idx="814">
                  <c:v>1327.55</c:v>
                </c:pt>
                <c:pt idx="815">
                  <c:v>1336.46</c:v>
                </c:pt>
                <c:pt idx="816">
                  <c:v>1329.14</c:v>
                </c:pt>
                <c:pt idx="817">
                  <c:v>1333.89</c:v>
                </c:pt>
                <c:pt idx="818">
                  <c:v>1375.4</c:v>
                </c:pt>
                <c:pt idx="819">
                  <c:v>1387.98</c:v>
                </c:pt>
                <c:pt idx="820">
                  <c:v>1382.22</c:v>
                </c:pt>
                <c:pt idx="821">
                  <c:v>1387.54</c:v>
                </c:pt>
                <c:pt idx="822">
                  <c:v>1407.21</c:v>
                </c:pt>
                <c:pt idx="823">
                  <c:v>1432.15</c:v>
                </c:pt>
                <c:pt idx="824">
                  <c:v>1451.84</c:v>
                </c:pt>
                <c:pt idx="825">
                  <c:v>1452.17</c:v>
                </c:pt>
                <c:pt idx="826">
                  <c:v>1422.29</c:v>
                </c:pt>
                <c:pt idx="827">
                  <c:v>1412.69</c:v>
                </c:pt>
                <c:pt idx="828">
                  <c:v>1391.01</c:v>
                </c:pt>
                <c:pt idx="829">
                  <c:v>1380.58</c:v>
                </c:pt>
                <c:pt idx="830">
                  <c:v>1405.34</c:v>
                </c:pt>
                <c:pt idx="831">
                  <c:v>1417.05</c:v>
                </c:pt>
                <c:pt idx="832">
                  <c:v>1433.02</c:v>
                </c:pt>
                <c:pt idx="833">
                  <c:v>1461.93</c:v>
                </c:pt>
                <c:pt idx="834">
                  <c:v>1400.84</c:v>
                </c:pt>
                <c:pt idx="835">
                  <c:v>1388.52</c:v>
                </c:pt>
                <c:pt idx="836">
                  <c:v>1385.08</c:v>
                </c:pt>
                <c:pt idx="837">
                  <c:v>1399.11</c:v>
                </c:pt>
                <c:pt idx="838">
                  <c:v>1360.06</c:v>
                </c:pt>
                <c:pt idx="839">
                  <c:v>1350.42</c:v>
                </c:pt>
                <c:pt idx="840">
                  <c:v>1331.43</c:v>
                </c:pt>
                <c:pt idx="841">
                  <c:v>1319.01</c:v>
                </c:pt>
                <c:pt idx="842">
                  <c:v>1322.39</c:v>
                </c:pt>
                <c:pt idx="843">
                  <c:v>1301.08</c:v>
                </c:pt>
                <c:pt idx="844">
                  <c:v>1286.8599999999999</c:v>
                </c:pt>
                <c:pt idx="845">
                  <c:v>1314.41</c:v>
                </c:pt>
                <c:pt idx="846">
                  <c:v>1300.54</c:v>
                </c:pt>
                <c:pt idx="847">
                  <c:v>1263.6600000000001</c:v>
                </c:pt>
                <c:pt idx="848">
                  <c:v>1261.6300000000001</c:v>
                </c:pt>
                <c:pt idx="849">
                  <c:v>1293.8800000000001</c:v>
                </c:pt>
                <c:pt idx="850">
                  <c:v>1314.01</c:v>
                </c:pt>
                <c:pt idx="851">
                  <c:v>1314.06</c:v>
                </c:pt>
                <c:pt idx="852">
                  <c:v>1291.72</c:v>
                </c:pt>
                <c:pt idx="853">
                  <c:v>1243.32</c:v>
                </c:pt>
                <c:pt idx="854">
                  <c:v>1245.72</c:v>
                </c:pt>
                <c:pt idx="855">
                  <c:v>1233.04</c:v>
                </c:pt>
                <c:pt idx="856">
                  <c:v>1243.2</c:v>
                </c:pt>
                <c:pt idx="857">
                  <c:v>1261.1300000000001</c:v>
                </c:pt>
                <c:pt idx="858">
                  <c:v>1262.77</c:v>
                </c:pt>
                <c:pt idx="859">
                  <c:v>1275.44</c:v>
                </c:pt>
                <c:pt idx="860">
                  <c:v>1276.8499999999999</c:v>
                </c:pt>
                <c:pt idx="861">
                  <c:v>1274.07</c:v>
                </c:pt>
                <c:pt idx="862">
                  <c:v>1264.29</c:v>
                </c:pt>
                <c:pt idx="863">
                  <c:v>1280.6099999999999</c:v>
                </c:pt>
                <c:pt idx="864">
                  <c:v>1268.5899999999999</c:v>
                </c:pt>
                <c:pt idx="865">
                  <c:v>1277.29</c:v>
                </c:pt>
                <c:pt idx="866">
                  <c:v>1282.8399999999999</c:v>
                </c:pt>
                <c:pt idx="867">
                  <c:v>1275.29</c:v>
                </c:pt>
                <c:pt idx="868">
                  <c:v>1322.76</c:v>
                </c:pt>
                <c:pt idx="869">
                  <c:v>1348.81</c:v>
                </c:pt>
                <c:pt idx="870">
                  <c:v>1354.54</c:v>
                </c:pt>
                <c:pt idx="871">
                  <c:v>1368.83</c:v>
                </c:pt>
                <c:pt idx="872">
                  <c:v>1393.05</c:v>
                </c:pt>
                <c:pt idx="873">
                  <c:v>1377.35</c:v>
                </c:pt>
                <c:pt idx="874">
                  <c:v>1382.33</c:v>
                </c:pt>
                <c:pt idx="875">
                  <c:v>1380.01</c:v>
                </c:pt>
                <c:pt idx="876">
                  <c:v>1379.88</c:v>
                </c:pt>
                <c:pt idx="877">
                  <c:v>1369.36</c:v>
                </c:pt>
                <c:pt idx="878">
                  <c:v>1353.38</c:v>
                </c:pt>
                <c:pt idx="879">
                  <c:v>1348.37</c:v>
                </c:pt>
                <c:pt idx="880">
                  <c:v>1341.34</c:v>
                </c:pt>
                <c:pt idx="881">
                  <c:v>1326.41</c:v>
                </c:pt>
                <c:pt idx="882">
                  <c:v>1313.38</c:v>
                </c:pt>
                <c:pt idx="883">
                  <c:v>1331.71</c:v>
                </c:pt>
                <c:pt idx="884">
                  <c:v>1336.39</c:v>
                </c:pt>
                <c:pt idx="885">
                  <c:v>1333.42</c:v>
                </c:pt>
                <c:pt idx="886">
                  <c:v>1304.98</c:v>
                </c:pt>
                <c:pt idx="887">
                  <c:v>1301.28</c:v>
                </c:pt>
                <c:pt idx="888">
                  <c:v>1303.28</c:v>
                </c:pt>
                <c:pt idx="889">
                  <c:v>1325.72</c:v>
                </c:pt>
                <c:pt idx="890">
                  <c:v>1326.53</c:v>
                </c:pt>
                <c:pt idx="891">
                  <c:v>1338.85</c:v>
                </c:pt>
                <c:pt idx="892">
                  <c:v>1356.34</c:v>
                </c:pt>
                <c:pt idx="893">
                  <c:v>1327.49</c:v>
                </c:pt>
                <c:pt idx="894">
                  <c:v>1323.42</c:v>
                </c:pt>
                <c:pt idx="895">
                  <c:v>1322.25</c:v>
                </c:pt>
                <c:pt idx="896">
                  <c:v>1317.77</c:v>
                </c:pt>
                <c:pt idx="897">
                  <c:v>1312.47</c:v>
                </c:pt>
                <c:pt idx="898">
                  <c:v>1329.05</c:v>
                </c:pt>
                <c:pt idx="899">
                  <c:v>1330.99</c:v>
                </c:pt>
                <c:pt idx="900">
                  <c:v>1324.48</c:v>
                </c:pt>
                <c:pt idx="901">
                  <c:v>1304.33</c:v>
                </c:pt>
                <c:pt idx="902">
                  <c:v>1299.6500000000001</c:v>
                </c:pt>
                <c:pt idx="903">
                  <c:v>1300.67</c:v>
                </c:pt>
                <c:pt idx="904">
                  <c:v>1290.96</c:v>
                </c:pt>
                <c:pt idx="905">
                  <c:v>1291.98</c:v>
                </c:pt>
                <c:pt idx="906">
                  <c:v>1293.1099999999999</c:v>
                </c:pt>
                <c:pt idx="907">
                  <c:v>1298.53</c:v>
                </c:pt>
                <c:pt idx="908">
                  <c:v>1339.8</c:v>
                </c:pt>
                <c:pt idx="909">
                  <c:v>1345.6</c:v>
                </c:pt>
                <c:pt idx="910">
                  <c:v>1380.37</c:v>
                </c:pt>
                <c:pt idx="911" formatCode="#,##0.0">
                  <c:v>1390.55</c:v>
                </c:pt>
                <c:pt idx="912" formatCode="#,##0.0">
                  <c:v>1394.03</c:v>
                </c:pt>
                <c:pt idx="913" formatCode="#,##0.0">
                  <c:v>1401.46</c:v>
                </c:pt>
                <c:pt idx="914" formatCode="#,##0.0">
                  <c:v>1396.57</c:v>
                </c:pt>
                <c:pt idx="915" formatCode="#,##0.0">
                  <c:v>1436.14</c:v>
                </c:pt>
                <c:pt idx="916" formatCode="#,##0.0">
                  <c:v>1439.79</c:v>
                </c:pt>
                <c:pt idx="917" formatCode="#,##0.0">
                  <c:v>1429.62</c:v>
                </c:pt>
                <c:pt idx="918" formatCode="#,##0.0">
                  <c:v>1478.75</c:v>
                </c:pt>
                <c:pt idx="919" formatCode="#,##0.0">
                  <c:v>1462.92</c:v>
                </c:pt>
                <c:pt idx="920" formatCode="#,##0.0">
                  <c:v>1451.43</c:v>
                </c:pt>
                <c:pt idx="921" formatCode="#,##0.0">
                  <c:v>1446.41</c:v>
                </c:pt>
                <c:pt idx="922" formatCode="#,##0.0">
                  <c:v>1452.98</c:v>
                </c:pt>
                <c:pt idx="923" formatCode="#,##0.0">
                  <c:v>1451.64</c:v>
                </c:pt>
                <c:pt idx="924" formatCode="#,##0.0">
                  <c:v>1432.87</c:v>
                </c:pt>
                <c:pt idx="925" formatCode="#,##0.0">
                  <c:v>1422.49</c:v>
                </c:pt>
                <c:pt idx="926" formatCode="#,##0.0">
                  <c:v>1438.04</c:v>
                </c:pt>
                <c:pt idx="927" formatCode="#,##0.0">
                  <c:v>1421.94</c:v>
                </c:pt>
                <c:pt idx="928" formatCode="#,##0.0">
                  <c:v>1427.81</c:v>
                </c:pt>
                <c:pt idx="929" formatCode="#,##0.0">
                  <c:v>1443.15</c:v>
                </c:pt>
                <c:pt idx="930" formatCode="#,##0.0">
                  <c:v>1444.32</c:v>
                </c:pt>
                <c:pt idx="931" formatCode="#,##0.0">
                  <c:v>1471.65</c:v>
                </c:pt>
                <c:pt idx="932" formatCode="#,##0.0">
                  <c:v>1461</c:v>
                </c:pt>
                <c:pt idx="933" formatCode="#,##0.0">
                  <c:v>1484.82</c:v>
                </c:pt>
                <c:pt idx="934" formatCode="#,##0.0">
                  <c:v>1477</c:v>
                </c:pt>
                <c:pt idx="935" formatCode="#,##0.0">
                  <c:v>1473.97</c:v>
                </c:pt>
                <c:pt idx="936" formatCode="#,##0.0">
                  <c:v>1495.31</c:v>
                </c:pt>
                <c:pt idx="937" formatCode="#,##0.0">
                  <c:v>1500.25</c:v>
                </c:pt>
                <c:pt idx="938" formatCode="#,##0.0">
                  <c:v>1491.85</c:v>
                </c:pt>
                <c:pt idx="939" formatCode="#,##0.0">
                  <c:v>1516.62</c:v>
                </c:pt>
                <c:pt idx="940" formatCode="#,##0.0">
                  <c:v>1516.96</c:v>
                </c:pt>
                <c:pt idx="941" formatCode="#,##0.0">
                  <c:v>1519.61</c:v>
                </c:pt>
                <c:pt idx="942" formatCode="#,##0.0">
                  <c:v>1496.15</c:v>
                </c:pt>
                <c:pt idx="943" formatCode="#,##0.0">
                  <c:v>1497.49</c:v>
                </c:pt>
                <c:pt idx="944" formatCode="#,##0.0">
                  <c:v>1495.36</c:v>
                </c:pt>
                <c:pt idx="945" formatCode="#,##0.0">
                  <c:v>1489.48</c:v>
                </c:pt>
                <c:pt idx="946" formatCode="#,##0.0">
                  <c:v>1492.89</c:v>
                </c:pt>
                <c:pt idx="947" formatCode="#,##0.0">
                  <c:v>1490.07</c:v>
                </c:pt>
                <c:pt idx="948" formatCode="#,##0.0">
                  <c:v>1484.74</c:v>
                </c:pt>
                <c:pt idx="949">
                  <c:v>1475.18</c:v>
                </c:pt>
                <c:pt idx="950">
                  <c:v>1460.23</c:v>
                </c:pt>
                <c:pt idx="951">
                  <c:v>1458.93</c:v>
                </c:pt>
                <c:pt idx="952">
                  <c:v>1468.22</c:v>
                </c:pt>
                <c:pt idx="953">
                  <c:v>1435.12</c:v>
                </c:pt>
                <c:pt idx="954">
                  <c:v>1427.93</c:v>
                </c:pt>
                <c:pt idx="955">
                  <c:v>1437.37</c:v>
                </c:pt>
                <c:pt idx="956">
                  <c:v>1406.92</c:v>
                </c:pt>
                <c:pt idx="957">
                  <c:v>1434.44</c:v>
                </c:pt>
                <c:pt idx="958">
                  <c:v>1444.24</c:v>
                </c:pt>
                <c:pt idx="959">
                  <c:v>1462.98</c:v>
                </c:pt>
                <c:pt idx="960">
                  <c:v>1455.04</c:v>
                </c:pt>
                <c:pt idx="961">
                  <c:v>1447.2</c:v>
                </c:pt>
                <c:pt idx="962">
                  <c:v>1425.86</c:v>
                </c:pt>
                <c:pt idx="963">
                  <c:v>1444.91</c:v>
                </c:pt>
                <c:pt idx="964">
                  <c:v>1433.55</c:v>
                </c:pt>
                <c:pt idx="965">
                  <c:v>1416.43</c:v>
                </c:pt>
                <c:pt idx="966">
                  <c:v>1404.31</c:v>
                </c:pt>
                <c:pt idx="967">
                  <c:v>1406.51</c:v>
                </c:pt>
                <c:pt idx="968">
                  <c:v>1402.93</c:v>
                </c:pt>
                <c:pt idx="969">
                  <c:v>1398.74</c:v>
                </c:pt>
                <c:pt idx="970">
                  <c:v>1372.44</c:v>
                </c:pt>
                <c:pt idx="971">
                  <c:v>1364.44</c:v>
                </c:pt>
                <c:pt idx="972">
                  <c:v>1362.55</c:v>
                </c:pt>
                <c:pt idx="973">
                  <c:v>1390.61</c:v>
                </c:pt>
                <c:pt idx="974">
                  <c:v>1412.08</c:v>
                </c:pt>
                <c:pt idx="975">
                  <c:v>1409.85</c:v>
                </c:pt>
                <c:pt idx="976">
                  <c:v>1409.28</c:v>
                </c:pt>
                <c:pt idx="977">
                  <c:v>1393.57</c:v>
                </c:pt>
                <c:pt idx="978">
                  <c:v>1391.85</c:v>
                </c:pt>
                <c:pt idx="979">
                  <c:v>1407.25</c:v>
                </c:pt>
                <c:pt idx="980">
                  <c:v>1414.68</c:v>
                </c:pt>
                <c:pt idx="981">
                  <c:v>1423.87</c:v>
                </c:pt>
                <c:pt idx="982">
                  <c:v>1431.11</c:v>
                </c:pt>
                <c:pt idx="983">
                  <c:v>1429.91</c:v>
                </c:pt>
                <c:pt idx="984">
                  <c:v>1453.1</c:v>
                </c:pt>
                <c:pt idx="985">
                  <c:v>1454.02</c:v>
                </c:pt>
                <c:pt idx="986">
                  <c:v>1447.5</c:v>
                </c:pt>
                <c:pt idx="987">
                  <c:v>1448.29</c:v>
                </c:pt>
                <c:pt idx="988">
                  <c:v>1445.39</c:v>
                </c:pt>
                <c:pt idx="989">
                  <c:v>1388.86</c:v>
                </c:pt>
                <c:pt idx="990">
                  <c:v>1395.91</c:v>
                </c:pt>
                <c:pt idx="991">
                  <c:v>1401.82</c:v>
                </c:pt>
                <c:pt idx="992">
                  <c:v>1388.69</c:v>
                </c:pt>
                <c:pt idx="993">
                  <c:v>1401.78</c:v>
                </c:pt>
                <c:pt idx="994">
                  <c:v>1397.23</c:v>
                </c:pt>
                <c:pt idx="995">
                  <c:v>1395.79</c:v>
                </c:pt>
                <c:pt idx="996">
                  <c:v>1394.49</c:v>
                </c:pt>
                <c:pt idx="997">
                  <c:v>1395.87</c:v>
                </c:pt>
                <c:pt idx="998">
                  <c:v>1391.75</c:v>
                </c:pt>
                <c:pt idx="999">
                  <c:v>1381.59</c:v>
                </c:pt>
                <c:pt idx="1000">
                  <c:v>1364.11</c:v>
                </c:pt>
                <c:pt idx="1001">
                  <c:v>1346.51</c:v>
                </c:pt>
                <c:pt idx="1002">
                  <c:v>1332.51</c:v>
                </c:pt>
                <c:pt idx="1003">
                  <c:v>1308</c:v>
                </c:pt>
                <c:pt idx="1004">
                  <c:v>1320.9</c:v>
                </c:pt>
                <c:pt idx="1005">
                  <c:v>1301.02</c:v>
                </c:pt>
                <c:pt idx="1006">
                  <c:v>1293.2</c:v>
                </c:pt>
                <c:pt idx="1007">
                  <c:v>1291.82</c:v>
                </c:pt>
                <c:pt idx="1008">
                  <c:v>1317.5</c:v>
                </c:pt>
                <c:pt idx="1009">
                  <c:v>1330.28</c:v>
                </c:pt>
                <c:pt idx="1010">
                  <c:v>1341.49</c:v>
                </c:pt>
                <c:pt idx="1011">
                  <c:v>1336.02</c:v>
                </c:pt>
                <c:pt idx="1012">
                  <c:v>1341.85</c:v>
                </c:pt>
                <c:pt idx="1013">
                  <c:v>1353.17</c:v>
                </c:pt>
                <c:pt idx="1014">
                  <c:v>1321.61</c:v>
                </c:pt>
                <c:pt idx="1015">
                  <c:v>1343.2</c:v>
                </c:pt>
                <c:pt idx="1016">
                  <c:v>1347.41</c:v>
                </c:pt>
                <c:pt idx="1017">
                  <c:v>1343.62</c:v>
                </c:pt>
                <c:pt idx="1018">
                  <c:v>1306</c:v>
                </c:pt>
                <c:pt idx="1019">
                  <c:v>1303.1500000000001</c:v>
                </c:pt>
                <c:pt idx="1020">
                  <c:v>1315.54</c:v>
                </c:pt>
                <c:pt idx="1021">
                  <c:v>1318.98</c:v>
                </c:pt>
                <c:pt idx="1022">
                  <c:v>1306.3699999999999</c:v>
                </c:pt>
                <c:pt idx="1023">
                  <c:v>1286.07</c:v>
                </c:pt>
                <c:pt idx="1024">
                  <c:v>1260.95</c:v>
                </c:pt>
                <c:pt idx="1025">
                  <c:v>1267.27</c:v>
                </c:pt>
                <c:pt idx="1026">
                  <c:v>1115.06</c:v>
                </c:pt>
                <c:pt idx="1027">
                  <c:v>1184.22</c:v>
                </c:pt>
                <c:pt idx="1028">
                  <c:v>1182.05</c:v>
                </c:pt>
                <c:pt idx="1029">
                  <c:v>1164.6300000000001</c:v>
                </c:pt>
                <c:pt idx="1030">
                  <c:v>1158.8699999999999</c:v>
                </c:pt>
                <c:pt idx="1031">
                  <c:v>1132.05</c:v>
                </c:pt>
                <c:pt idx="1032">
                  <c:v>1100.1400000000001</c:v>
                </c:pt>
                <c:pt idx="1033">
                  <c:v>1077.8900000000001</c:v>
                </c:pt>
                <c:pt idx="1034">
                  <c:v>1062.47</c:v>
                </c:pt>
                <c:pt idx="1035">
                  <c:v>1114.6600000000001</c:v>
                </c:pt>
                <c:pt idx="1036">
                  <c:v>1161.26</c:v>
                </c:pt>
                <c:pt idx="1037">
                  <c:v>1155.81</c:v>
                </c:pt>
                <c:pt idx="1038">
                  <c:v>1150.82</c:v>
                </c:pt>
                <c:pt idx="1039">
                  <c:v>1136.21</c:v>
                </c:pt>
                <c:pt idx="1040">
                  <c:v>1131.5999999999999</c:v>
                </c:pt>
                <c:pt idx="1041">
                  <c:v>1170.2</c:v>
                </c:pt>
                <c:pt idx="1042">
                  <c:v>1198.8900000000001</c:v>
                </c:pt>
                <c:pt idx="1043">
                  <c:v>1179.47</c:v>
                </c:pt>
                <c:pt idx="1044">
                  <c:v>1186.28</c:v>
                </c:pt>
                <c:pt idx="1045">
                  <c:v>1226.0999999999999</c:v>
                </c:pt>
                <c:pt idx="1046">
                  <c:v>1235.74</c:v>
                </c:pt>
                <c:pt idx="1047">
                  <c:v>1222.47</c:v>
                </c:pt>
                <c:pt idx="1048">
                  <c:v>1210.71</c:v>
                </c:pt>
                <c:pt idx="1049">
                  <c:v>1233.93</c:v>
                </c:pt>
                <c:pt idx="1050">
                  <c:v>1193.78</c:v>
                </c:pt>
                <c:pt idx="1051">
                  <c:v>1195.71</c:v>
                </c:pt>
                <c:pt idx="1052">
                  <c:v>1190.1300000000001</c:v>
                </c:pt>
                <c:pt idx="1053">
                  <c:v>1213.46</c:v>
                </c:pt>
                <c:pt idx="1054">
                  <c:v>1204.07</c:v>
                </c:pt>
                <c:pt idx="1055">
                  <c:v>1179.97</c:v>
                </c:pt>
                <c:pt idx="1056">
                  <c:v>1142.96</c:v>
                </c:pt>
                <c:pt idx="1057">
                  <c:v>1154.31</c:v>
                </c:pt>
                <c:pt idx="1058">
                  <c:v>1172.6199999999999</c:v>
                </c:pt>
                <c:pt idx="1059">
                  <c:v>1200.22</c:v>
                </c:pt>
                <c:pt idx="1060">
                  <c:v>1187.94</c:v>
                </c:pt>
                <c:pt idx="1061">
                  <c:v>1178.81</c:v>
                </c:pt>
                <c:pt idx="1062">
                  <c:v>1171.99</c:v>
                </c:pt>
                <c:pt idx="1063">
                  <c:v>1145.6600000000001</c:v>
                </c:pt>
                <c:pt idx="1064">
                  <c:v>1119.3699999999999</c:v>
                </c:pt>
                <c:pt idx="1065">
                  <c:v>1139.29</c:v>
                </c:pt>
                <c:pt idx="1066">
                  <c:v>1153.3599999999999</c:v>
                </c:pt>
                <c:pt idx="1067">
                  <c:v>1155.7</c:v>
                </c:pt>
                <c:pt idx="1068">
                  <c:v>1143.44</c:v>
                </c:pt>
                <c:pt idx="1069">
                  <c:v>1172.9100000000001</c:v>
                </c:pt>
                <c:pt idx="1070">
                  <c:v>1227.75</c:v>
                </c:pt>
                <c:pt idx="1071">
                  <c:v>1232.78</c:v>
                </c:pt>
                <c:pt idx="1072">
                  <c:v>1234.31</c:v>
                </c:pt>
                <c:pt idx="1073">
                  <c:v>1254.29</c:v>
                </c:pt>
                <c:pt idx="1074">
                  <c:v>1261.01</c:v>
                </c:pt>
                <c:pt idx="1075">
                  <c:v>1253</c:v>
                </c:pt>
                <c:pt idx="1076">
                  <c:v>1262.01</c:v>
                </c:pt>
                <c:pt idx="1077">
                  <c:v>1289.98</c:v>
                </c:pt>
                <c:pt idx="1078">
                  <c:v>1298.6400000000001</c:v>
                </c:pt>
                <c:pt idx="1079">
                  <c:v>1317.09</c:v>
                </c:pt>
                <c:pt idx="1080">
                  <c:v>1312.97</c:v>
                </c:pt>
                <c:pt idx="1081">
                  <c:v>1326.58</c:v>
                </c:pt>
                <c:pt idx="1082">
                  <c:v>1335.73</c:v>
                </c:pt>
                <c:pt idx="1083">
                  <c:v>1297.5</c:v>
                </c:pt>
                <c:pt idx="1084">
                  <c:v>1300.46</c:v>
                </c:pt>
                <c:pt idx="1085">
                  <c:v>1314.71</c:v>
                </c:pt>
                <c:pt idx="1086">
                  <c:v>1295.75</c:v>
                </c:pt>
                <c:pt idx="1087">
                  <c:v>1322.52</c:v>
                </c:pt>
                <c:pt idx="1088">
                  <c:v>1324.03</c:v>
                </c:pt>
                <c:pt idx="1089">
                  <c:v>1324.87</c:v>
                </c:pt>
                <c:pt idx="1090">
                  <c:v>1333.86</c:v>
                </c:pt>
                <c:pt idx="1091">
                  <c:v>1359.1</c:v>
                </c:pt>
                <c:pt idx="1092">
                  <c:v>1361.65</c:v>
                </c:pt>
                <c:pt idx="1093">
                  <c:v>1368.84</c:v>
                </c:pt>
                <c:pt idx="1094">
                  <c:v>1374.94</c:v>
                </c:pt>
                <c:pt idx="1095">
                  <c:v>1357.8</c:v>
                </c:pt>
                <c:pt idx="1096">
                  <c:v>1343.5</c:v>
                </c:pt>
                <c:pt idx="1097">
                  <c:v>1362.99</c:v>
                </c:pt>
                <c:pt idx="1098">
                  <c:v>1371.55</c:v>
                </c:pt>
                <c:pt idx="1099">
                  <c:v>1358.73</c:v>
                </c:pt>
                <c:pt idx="1100">
                  <c:v>1369.1</c:v>
                </c:pt>
                <c:pt idx="1101">
                  <c:v>1421.07</c:v>
                </c:pt>
                <c:pt idx="1102">
                  <c:v>1383.02</c:v>
                </c:pt>
                <c:pt idx="1103">
                  <c:v>1377.41</c:v>
                </c:pt>
                <c:pt idx="1104">
                  <c:v>1379.75</c:v>
                </c:pt>
                <c:pt idx="1105">
                  <c:v>1366.08</c:v>
                </c:pt>
                <c:pt idx="1106">
                  <c:v>1362.1</c:v>
                </c:pt>
                <c:pt idx="1107">
                  <c:v>1390.47</c:v>
                </c:pt>
                <c:pt idx="1108">
                  <c:v>1390.72</c:v>
                </c:pt>
                <c:pt idx="1109">
                  <c:v>1360.48</c:v>
                </c:pt>
                <c:pt idx="1110">
                  <c:v>1385.24</c:v>
                </c:pt>
                <c:pt idx="1111">
                  <c:v>1393.59</c:v>
                </c:pt>
                <c:pt idx="1112">
                  <c:v>1403.72</c:v>
                </c:pt>
                <c:pt idx="1113">
                  <c:v>1383.7</c:v>
                </c:pt>
                <c:pt idx="1114">
                  <c:v>1383.18</c:v>
                </c:pt>
                <c:pt idx="1115">
                  <c:v>1361.89</c:v>
                </c:pt>
                <c:pt idx="1116">
                  <c:v>1352.15</c:v>
                </c:pt>
                <c:pt idx="1117">
                  <c:v>1350.52</c:v>
                </c:pt>
                <c:pt idx="1118">
                  <c:v>1299.03</c:v>
                </c:pt>
                <c:pt idx="1119">
                  <c:v>1276.28</c:v>
                </c:pt>
                <c:pt idx="1120">
                  <c:v>1239.1300000000001</c:v>
                </c:pt>
                <c:pt idx="1121">
                  <c:v>1266.8800000000001</c:v>
                </c:pt>
                <c:pt idx="1122">
                  <c:v>1272.02</c:v>
                </c:pt>
                <c:pt idx="1123">
                  <c:v>1266.72</c:v>
                </c:pt>
                <c:pt idx="1124">
                  <c:v>1246.25</c:v>
                </c:pt>
                <c:pt idx="1125">
                  <c:v>1208.83</c:v>
                </c:pt>
                <c:pt idx="1126">
                  <c:v>1207.29</c:v>
                </c:pt>
                <c:pt idx="1127">
                  <c:v>1222.4000000000001</c:v>
                </c:pt>
                <c:pt idx="1128">
                  <c:v>1219.3599999999999</c:v>
                </c:pt>
                <c:pt idx="1129">
                  <c:v>1212.74</c:v>
                </c:pt>
                <c:pt idx="1130">
                  <c:v>1212.21</c:v>
                </c:pt>
                <c:pt idx="1131">
                  <c:v>1191.3699999999999</c:v>
                </c:pt>
                <c:pt idx="1132">
                  <c:v>1160.8599999999999</c:v>
                </c:pt>
                <c:pt idx="1133">
                  <c:v>1157.97</c:v>
                </c:pt>
                <c:pt idx="1134">
                  <c:v>1170.5999999999999</c:v>
                </c:pt>
                <c:pt idx="1135">
                  <c:v>1203.67</c:v>
                </c:pt>
                <c:pt idx="1136">
                  <c:v>1198.72</c:v>
                </c:pt>
                <c:pt idx="1137">
                  <c:v>1220.8</c:v>
                </c:pt>
                <c:pt idx="1138">
                  <c:v>1231.94</c:v>
                </c:pt>
                <c:pt idx="1139">
                  <c:v>1232.3399999999999</c:v>
                </c:pt>
                <c:pt idx="1140">
                  <c:v>1243.56</c:v>
                </c:pt>
                <c:pt idx="1141">
                  <c:v>1251.69</c:v>
                </c:pt>
                <c:pt idx="1142">
                  <c:v>1257.4100000000001</c:v>
                </c:pt>
                <c:pt idx="1143">
                  <c:v>1275.5999999999999</c:v>
                </c:pt>
                <c:pt idx="1144">
                  <c:v>1260.07</c:v>
                </c:pt>
                <c:pt idx="1145">
                  <c:v>1267.42</c:v>
                </c:pt>
                <c:pt idx="1146">
                  <c:v>1259.47</c:v>
                </c:pt>
                <c:pt idx="1147">
                  <c:v>1260.72</c:v>
                </c:pt>
                <c:pt idx="1148">
                  <c:v>1219.49</c:v>
                </c:pt>
                <c:pt idx="1149">
                  <c:v>1190.23</c:v>
                </c:pt>
                <c:pt idx="1150">
                  <c:v>1177.6600000000001</c:v>
                </c:pt>
                <c:pt idx="1151">
                  <c:v>1177.93</c:v>
                </c:pt>
                <c:pt idx="1152">
                  <c:v>1239.23</c:v>
                </c:pt>
                <c:pt idx="1153">
                  <c:v>1241.51</c:v>
                </c:pt>
                <c:pt idx="1154">
                  <c:v>1257.26</c:v>
                </c:pt>
                <c:pt idx="1155">
                  <c:v>1245.53</c:v>
                </c:pt>
                <c:pt idx="1156">
                  <c:v>1246.6400000000001</c:v>
                </c:pt>
                <c:pt idx="1157">
                  <c:v>1239.0899999999999</c:v>
                </c:pt>
                <c:pt idx="1158">
                  <c:v>1217.8800000000001</c:v>
                </c:pt>
                <c:pt idx="1159">
                  <c:v>1213.27</c:v>
                </c:pt>
                <c:pt idx="1160">
                  <c:v>1194.73</c:v>
                </c:pt>
                <c:pt idx="1161">
                  <c:v>1202</c:v>
                </c:pt>
                <c:pt idx="1162">
                  <c:v>1190.0999999999999</c:v>
                </c:pt>
                <c:pt idx="1163">
                  <c:v>1187.24</c:v>
                </c:pt>
                <c:pt idx="1164">
                  <c:v>1170.25</c:v>
                </c:pt>
                <c:pt idx="1165">
                  <c:v>1151.1600000000001</c:v>
                </c:pt>
                <c:pt idx="1166">
                  <c:v>1167.25</c:v>
                </c:pt>
                <c:pt idx="1167">
                  <c:v>1189.23</c:v>
                </c:pt>
                <c:pt idx="1168">
                  <c:v>1175.5899999999999</c:v>
                </c:pt>
                <c:pt idx="1169">
                  <c:v>1156.1500000000001</c:v>
                </c:pt>
                <c:pt idx="1170">
                  <c:v>1126.21</c:v>
                </c:pt>
                <c:pt idx="1171">
                  <c:v>1123.72</c:v>
                </c:pt>
                <c:pt idx="1172">
                  <c:v>1113.42</c:v>
                </c:pt>
                <c:pt idx="1173">
                  <c:v>1095.1099999999999</c:v>
                </c:pt>
                <c:pt idx="1174">
                  <c:v>1092.1199999999999</c:v>
                </c:pt>
                <c:pt idx="1175">
                  <c:v>1120.2</c:v>
                </c:pt>
                <c:pt idx="1176">
                  <c:v>1106.8</c:v>
                </c:pt>
                <c:pt idx="1177">
                  <c:v>1082.5899999999999</c:v>
                </c:pt>
                <c:pt idx="1178">
                  <c:v>1088.8</c:v>
                </c:pt>
                <c:pt idx="1179">
                  <c:v>1064.29</c:v>
                </c:pt>
                <c:pt idx="1180">
                  <c:v>1076.58</c:v>
                </c:pt>
                <c:pt idx="1181">
                  <c:v>1075.45</c:v>
                </c:pt>
                <c:pt idx="1182">
                  <c:v>1067.05</c:v>
                </c:pt>
                <c:pt idx="1183">
                  <c:v>1045.23</c:v>
                </c:pt>
                <c:pt idx="1184">
                  <c:v>1072.94</c:v>
                </c:pt>
                <c:pt idx="1185">
                  <c:v>1056.71</c:v>
                </c:pt>
                <c:pt idx="1186">
                  <c:v>1063.8599999999999</c:v>
                </c:pt>
                <c:pt idx="1187">
                  <c:v>1047.47</c:v>
                </c:pt>
                <c:pt idx="1188">
                  <c:v>1035.9100000000001</c:v>
                </c:pt>
                <c:pt idx="1189">
                  <c:v>1036.68</c:v>
                </c:pt>
                <c:pt idx="1190">
                  <c:v>1039.5</c:v>
                </c:pt>
                <c:pt idx="1191">
                  <c:v>1049.58</c:v>
                </c:pt>
                <c:pt idx="1192">
                  <c:v>1059.6199999999999</c:v>
                </c:pt>
                <c:pt idx="1193">
                  <c:v>1098.68</c:v>
                </c:pt>
                <c:pt idx="1194">
                  <c:v>1091.44</c:v>
                </c:pt>
                <c:pt idx="1195">
                  <c:v>1054.45</c:v>
                </c:pt>
                <c:pt idx="1196">
                  <c:v>1017.28</c:v>
                </c:pt>
                <c:pt idx="1197">
                  <c:v>1007.68</c:v>
                </c:pt>
                <c:pt idx="1198">
                  <c:v>1045.51</c:v>
                </c:pt>
                <c:pt idx="1199">
                  <c:v>1028.95</c:v>
                </c:pt>
                <c:pt idx="1200">
                  <c:v>1045.0899999999999</c:v>
                </c:pt>
                <c:pt idx="1201">
                  <c:v>1012.16</c:v>
                </c:pt>
                <c:pt idx="1202">
                  <c:v>1002.96</c:v>
                </c:pt>
                <c:pt idx="1203">
                  <c:v>1004.13</c:v>
                </c:pt>
                <c:pt idx="1204">
                  <c:v>1020.77</c:v>
                </c:pt>
                <c:pt idx="1205">
                  <c:v>1021.17</c:v>
                </c:pt>
                <c:pt idx="1206">
                  <c:v>1040.3599999999999</c:v>
                </c:pt>
                <c:pt idx="1207">
                  <c:v>1058.8</c:v>
                </c:pt>
                <c:pt idx="1208">
                  <c:v>1076.1600000000001</c:v>
                </c:pt>
                <c:pt idx="1209">
                  <c:v>1054.3800000000001</c:v>
                </c:pt>
                <c:pt idx="1210">
                  <c:v>1027.6099999999999</c:v>
                </c:pt>
                <c:pt idx="1211">
                  <c:v>1006.43</c:v>
                </c:pt>
                <c:pt idx="1212">
                  <c:v>974.27</c:v>
                </c:pt>
                <c:pt idx="1213">
                  <c:v>958.33</c:v>
                </c:pt>
                <c:pt idx="1214">
                  <c:v>925.43</c:v>
                </c:pt>
                <c:pt idx="1215">
                  <c:v>948.58</c:v>
                </c:pt>
                <c:pt idx="1216">
                  <c:v>918.65</c:v>
                </c:pt>
                <c:pt idx="1217">
                  <c:v>908.75</c:v>
                </c:pt>
                <c:pt idx="1218">
                  <c:v>870.37</c:v>
                </c:pt>
                <c:pt idx="1219">
                  <c:v>857.51</c:v>
                </c:pt>
                <c:pt idx="1220">
                  <c:v>855.05</c:v>
                </c:pt>
                <c:pt idx="1221">
                  <c:v>824.01</c:v>
                </c:pt>
                <c:pt idx="1222">
                  <c:v>799.18</c:v>
                </c:pt>
                <c:pt idx="1223">
                  <c:v>718.32</c:v>
                </c:pt>
                <c:pt idx="1224">
                  <c:v>629.15</c:v>
                </c:pt>
                <c:pt idx="1225">
                  <c:v>718.26</c:v>
                </c:pt>
                <c:pt idx="1226">
                  <c:v>764.93</c:v>
                </c:pt>
                <c:pt idx="1227">
                  <c:v>768.06</c:v>
                </c:pt>
                <c:pt idx="1228">
                  <c:v>811.03</c:v>
                </c:pt>
                <c:pt idx="1229">
                  <c:v>794.99</c:v>
                </c:pt>
                <c:pt idx="1230">
                  <c:v>814.97</c:v>
                </c:pt>
                <c:pt idx="1231">
                  <c:v>844.09</c:v>
                </c:pt>
                <c:pt idx="1232">
                  <c:v>828.57</c:v>
                </c:pt>
                <c:pt idx="1233">
                  <c:v>756.63</c:v>
                </c:pt>
                <c:pt idx="1234">
                  <c:v>737.88</c:v>
                </c:pt>
                <c:pt idx="1235">
                  <c:v>743.06</c:v>
                </c:pt>
                <c:pt idx="1236">
                  <c:v>762.39</c:v>
                </c:pt>
                <c:pt idx="1237">
                  <c:v>769.8</c:v>
                </c:pt>
                <c:pt idx="1238">
                  <c:v>766.57</c:v>
                </c:pt>
                <c:pt idx="1239">
                  <c:v>756.27</c:v>
                </c:pt>
                <c:pt idx="1240">
                  <c:v>782.13</c:v>
                </c:pt>
                <c:pt idx="1241">
                  <c:v>817.14</c:v>
                </c:pt>
                <c:pt idx="1242">
                  <c:v>820.99</c:v>
                </c:pt>
                <c:pt idx="1243">
                  <c:v>781.31</c:v>
                </c:pt>
                <c:pt idx="1244">
                  <c:v>783.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504896"/>
        <c:axId val="639216448"/>
      </c:lineChart>
      <c:catAx>
        <c:axId val="639401472"/>
        <c:scaling>
          <c:orientation val="minMax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215872"/>
        <c:crosses val="autoZero"/>
        <c:auto val="0"/>
        <c:lblAlgn val="ctr"/>
        <c:lblOffset val="100"/>
        <c:tickLblSkip val="100"/>
        <c:tickMarkSkip val="100"/>
        <c:noMultiLvlLbl val="0"/>
      </c:catAx>
      <c:valAx>
        <c:axId val="639215872"/>
        <c:scaling>
          <c:orientation val="minMax"/>
          <c:min val="15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9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8231153941575E-4"/>
              <c:y val="0.2417551029261838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401472"/>
        <c:crosses val="autoZero"/>
        <c:crossBetween val="between"/>
      </c:valAx>
      <c:catAx>
        <c:axId val="63950489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39216448"/>
        <c:crosses val="autoZero"/>
        <c:auto val="0"/>
        <c:lblAlgn val="ctr"/>
        <c:lblOffset val="100"/>
        <c:noMultiLvlLbl val="0"/>
      </c:catAx>
      <c:valAx>
        <c:axId val="639216448"/>
        <c:scaling>
          <c:orientation val="minMax"/>
          <c:min val="50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504896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2647523537169795E-2"/>
          <c:y val="0.90386672740287632"/>
          <c:w val="0.80381543724944826"/>
          <c:h val="6.8509229734712962E-2"/>
        </c:manualLayout>
      </c:layout>
      <c:overlay val="0"/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400" b="1" i="1" u="none" strike="noStrike" baseline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ru-RU" sz="1600" b="1" i="1" u="none" strike="noStrike" baseline="0">
                <a:solidFill>
                  <a:srgbClr val="000000"/>
                </a:solidFill>
                <a:latin typeface="Calibri"/>
                <a:cs typeface="Arial"/>
              </a:rPr>
              <a:t>RTSI                - 43,5 %</a:t>
            </a:r>
          </a:p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600" b="1" i="1" u="none" strike="noStrike" baseline="0">
                <a:solidFill>
                  <a:srgbClr val="FF0000"/>
                </a:solidFill>
                <a:latin typeface="Calibri"/>
              </a:rPr>
              <a:t>Регуляр-92   - 1,23 %</a:t>
            </a:r>
          </a:p>
        </c:rich>
      </c:tx>
      <c:layout>
        <c:manualLayout>
          <c:xMode val="edge"/>
          <c:yMode val="edge"/>
          <c:x val="0.51812721171047649"/>
          <c:y val="0.5326586408103946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0666388888896554E-2"/>
          <c:y val="4.1359101541253725E-2"/>
          <c:w val="0.84836521835766798"/>
          <c:h val="0.83816191269345552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 w="571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J$1166:$J$1462</c:f>
              <c:numCache>
                <c:formatCode>General</c:formatCode>
                <c:ptCount val="297"/>
                <c:pt idx="0">
                  <c:v>33525</c:v>
                </c:pt>
                <c:pt idx="1">
                  <c:v>33540</c:v>
                </c:pt>
                <c:pt idx="2">
                  <c:v>33522</c:v>
                </c:pt>
                <c:pt idx="3">
                  <c:v>33450</c:v>
                </c:pt>
                <c:pt idx="4">
                  <c:v>33290</c:v>
                </c:pt>
                <c:pt idx="5">
                  <c:v>33237</c:v>
                </c:pt>
                <c:pt idx="6">
                  <c:v>33241</c:v>
                </c:pt>
                <c:pt idx="7">
                  <c:v>32883</c:v>
                </c:pt>
                <c:pt idx="8">
                  <c:v>32645</c:v>
                </c:pt>
                <c:pt idx="9">
                  <c:v>32717</c:v>
                </c:pt>
                <c:pt idx="10">
                  <c:v>32440</c:v>
                </c:pt>
                <c:pt idx="11">
                  <c:v>32240</c:v>
                </c:pt>
                <c:pt idx="12">
                  <c:v>31916</c:v>
                </c:pt>
                <c:pt idx="13">
                  <c:v>31692</c:v>
                </c:pt>
                <c:pt idx="14">
                  <c:v>31786</c:v>
                </c:pt>
                <c:pt idx="15">
                  <c:v>31704</c:v>
                </c:pt>
                <c:pt idx="16">
                  <c:v>31520</c:v>
                </c:pt>
                <c:pt idx="17">
                  <c:v>31493</c:v>
                </c:pt>
                <c:pt idx="18">
                  <c:v>31110</c:v>
                </c:pt>
                <c:pt idx="19">
                  <c:v>31113</c:v>
                </c:pt>
                <c:pt idx="20">
                  <c:v>31226</c:v>
                </c:pt>
                <c:pt idx="21">
                  <c:v>31526</c:v>
                </c:pt>
                <c:pt idx="22">
                  <c:v>31218</c:v>
                </c:pt>
                <c:pt idx="23">
                  <c:v>31224</c:v>
                </c:pt>
                <c:pt idx="24">
                  <c:v>31383</c:v>
                </c:pt>
                <c:pt idx="25">
                  <c:v>31464</c:v>
                </c:pt>
                <c:pt idx="26">
                  <c:v>31584</c:v>
                </c:pt>
                <c:pt idx="27">
                  <c:v>31248</c:v>
                </c:pt>
                <c:pt idx="28">
                  <c:v>31245</c:v>
                </c:pt>
                <c:pt idx="29">
                  <c:v>31296</c:v>
                </c:pt>
                <c:pt idx="30">
                  <c:v>31353</c:v>
                </c:pt>
                <c:pt idx="31">
                  <c:v>31228</c:v>
                </c:pt>
                <c:pt idx="32">
                  <c:v>31141</c:v>
                </c:pt>
                <c:pt idx="33">
                  <c:v>31005</c:v>
                </c:pt>
                <c:pt idx="34">
                  <c:v>31122</c:v>
                </c:pt>
                <c:pt idx="35">
                  <c:v>31272</c:v>
                </c:pt>
                <c:pt idx="36">
                  <c:v>31163</c:v>
                </c:pt>
                <c:pt idx="37">
                  <c:v>31374</c:v>
                </c:pt>
                <c:pt idx="38">
                  <c:v>31331</c:v>
                </c:pt>
                <c:pt idx="39">
                  <c:v>31491</c:v>
                </c:pt>
                <c:pt idx="40">
                  <c:v>31112</c:v>
                </c:pt>
                <c:pt idx="41">
                  <c:v>30864</c:v>
                </c:pt>
                <c:pt idx="42">
                  <c:v>30991</c:v>
                </c:pt>
                <c:pt idx="43">
                  <c:v>31071</c:v>
                </c:pt>
                <c:pt idx="44">
                  <c:v>31261</c:v>
                </c:pt>
                <c:pt idx="45">
                  <c:v>31280</c:v>
                </c:pt>
                <c:pt idx="46">
                  <c:v>31435</c:v>
                </c:pt>
                <c:pt idx="47">
                  <c:v>31469</c:v>
                </c:pt>
                <c:pt idx="48">
                  <c:v>31529</c:v>
                </c:pt>
                <c:pt idx="49">
                  <c:v>32071</c:v>
                </c:pt>
                <c:pt idx="50">
                  <c:v>32628</c:v>
                </c:pt>
                <c:pt idx="51">
                  <c:v>32964</c:v>
                </c:pt>
                <c:pt idx="52">
                  <c:v>32539</c:v>
                </c:pt>
                <c:pt idx="53">
                  <c:v>32482</c:v>
                </c:pt>
                <c:pt idx="54">
                  <c:v>32710</c:v>
                </c:pt>
                <c:pt idx="55">
                  <c:v>32911</c:v>
                </c:pt>
                <c:pt idx="56">
                  <c:v>33207</c:v>
                </c:pt>
                <c:pt idx="57">
                  <c:v>33247</c:v>
                </c:pt>
                <c:pt idx="58">
                  <c:v>33128</c:v>
                </c:pt>
                <c:pt idx="59">
                  <c:v>32967</c:v>
                </c:pt>
                <c:pt idx="60">
                  <c:v>33024</c:v>
                </c:pt>
                <c:pt idx="61">
                  <c:v>32957</c:v>
                </c:pt>
                <c:pt idx="62">
                  <c:v>32878</c:v>
                </c:pt>
                <c:pt idx="63">
                  <c:v>32788</c:v>
                </c:pt>
                <c:pt idx="64">
                  <c:v>32752</c:v>
                </c:pt>
                <c:pt idx="65">
                  <c:v>32727</c:v>
                </c:pt>
                <c:pt idx="66">
                  <c:v>32859</c:v>
                </c:pt>
                <c:pt idx="67">
                  <c:v>33150</c:v>
                </c:pt>
                <c:pt idx="68">
                  <c:v>33369</c:v>
                </c:pt>
                <c:pt idx="69">
                  <c:v>33448</c:v>
                </c:pt>
                <c:pt idx="70">
                  <c:v>33857</c:v>
                </c:pt>
                <c:pt idx="71">
                  <c:v>34151</c:v>
                </c:pt>
                <c:pt idx="72">
                  <c:v>34188</c:v>
                </c:pt>
                <c:pt idx="73">
                  <c:v>34219</c:v>
                </c:pt>
                <c:pt idx="74">
                  <c:v>34035</c:v>
                </c:pt>
                <c:pt idx="75">
                  <c:v>33634</c:v>
                </c:pt>
                <c:pt idx="76">
                  <c:v>33955</c:v>
                </c:pt>
                <c:pt idx="77">
                  <c:v>34206</c:v>
                </c:pt>
                <c:pt idx="78">
                  <c:v>34587</c:v>
                </c:pt>
                <c:pt idx="79">
                  <c:v>35311</c:v>
                </c:pt>
                <c:pt idx="80">
                  <c:v>35868</c:v>
                </c:pt>
                <c:pt idx="81">
                  <c:v>35467</c:v>
                </c:pt>
                <c:pt idx="82">
                  <c:v>35479</c:v>
                </c:pt>
                <c:pt idx="83">
                  <c:v>35583</c:v>
                </c:pt>
                <c:pt idx="84">
                  <c:v>35534</c:v>
                </c:pt>
                <c:pt idx="85">
                  <c:v>35446</c:v>
                </c:pt>
                <c:pt idx="86">
                  <c:v>35476</c:v>
                </c:pt>
                <c:pt idx="87">
                  <c:v>35365</c:v>
                </c:pt>
                <c:pt idx="88">
                  <c:v>34818</c:v>
                </c:pt>
                <c:pt idx="89">
                  <c:v>34668</c:v>
                </c:pt>
                <c:pt idx="90">
                  <c:v>34689</c:v>
                </c:pt>
                <c:pt idx="91">
                  <c:v>34702</c:v>
                </c:pt>
                <c:pt idx="92">
                  <c:v>34667</c:v>
                </c:pt>
                <c:pt idx="93">
                  <c:v>34706</c:v>
                </c:pt>
                <c:pt idx="94">
                  <c:v>34833</c:v>
                </c:pt>
                <c:pt idx="95">
                  <c:v>34935</c:v>
                </c:pt>
                <c:pt idx="96">
                  <c:v>34921</c:v>
                </c:pt>
                <c:pt idx="97">
                  <c:v>35000</c:v>
                </c:pt>
                <c:pt idx="98">
                  <c:v>35270</c:v>
                </c:pt>
                <c:pt idx="99">
                  <c:v>35352</c:v>
                </c:pt>
                <c:pt idx="100">
                  <c:v>35338</c:v>
                </c:pt>
                <c:pt idx="101">
                  <c:v>35457</c:v>
                </c:pt>
                <c:pt idx="102">
                  <c:v>35229</c:v>
                </c:pt>
                <c:pt idx="103">
                  <c:v>35158</c:v>
                </c:pt>
                <c:pt idx="104">
                  <c:v>35269</c:v>
                </c:pt>
                <c:pt idx="105">
                  <c:v>35241</c:v>
                </c:pt>
                <c:pt idx="106">
                  <c:v>35200</c:v>
                </c:pt>
                <c:pt idx="107">
                  <c:v>35145</c:v>
                </c:pt>
                <c:pt idx="108">
                  <c:v>35010</c:v>
                </c:pt>
                <c:pt idx="109">
                  <c:v>34811</c:v>
                </c:pt>
                <c:pt idx="110">
                  <c:v>34686</c:v>
                </c:pt>
                <c:pt idx="111">
                  <c:v>34824</c:v>
                </c:pt>
                <c:pt idx="112">
                  <c:v>34750</c:v>
                </c:pt>
                <c:pt idx="113">
                  <c:v>34534</c:v>
                </c:pt>
                <c:pt idx="114">
                  <c:v>34553</c:v>
                </c:pt>
                <c:pt idx="115">
                  <c:v>34534</c:v>
                </c:pt>
                <c:pt idx="116">
                  <c:v>34570</c:v>
                </c:pt>
                <c:pt idx="117">
                  <c:v>34550</c:v>
                </c:pt>
                <c:pt idx="118">
                  <c:v>34600</c:v>
                </c:pt>
                <c:pt idx="119">
                  <c:v>34554</c:v>
                </c:pt>
                <c:pt idx="120">
                  <c:v>34259</c:v>
                </c:pt>
                <c:pt idx="121">
                  <c:v>34601</c:v>
                </c:pt>
                <c:pt idx="122">
                  <c:v>34424</c:v>
                </c:pt>
                <c:pt idx="123">
                  <c:v>34427</c:v>
                </c:pt>
                <c:pt idx="124">
                  <c:v>34841</c:v>
                </c:pt>
                <c:pt idx="125">
                  <c:v>35048</c:v>
                </c:pt>
                <c:pt idx="126">
                  <c:v>35165</c:v>
                </c:pt>
                <c:pt idx="127">
                  <c:v>35406</c:v>
                </c:pt>
                <c:pt idx="128">
                  <c:v>35446</c:v>
                </c:pt>
                <c:pt idx="129">
                  <c:v>35567</c:v>
                </c:pt>
                <c:pt idx="130">
                  <c:v>35393</c:v>
                </c:pt>
                <c:pt idx="131">
                  <c:v>35425</c:v>
                </c:pt>
                <c:pt idx="132">
                  <c:v>35674</c:v>
                </c:pt>
                <c:pt idx="133">
                  <c:v>35736</c:v>
                </c:pt>
                <c:pt idx="134">
                  <c:v>35678</c:v>
                </c:pt>
                <c:pt idx="135">
                  <c:v>35652</c:v>
                </c:pt>
                <c:pt idx="136">
                  <c:v>35672</c:v>
                </c:pt>
                <c:pt idx="137">
                  <c:v>35775</c:v>
                </c:pt>
                <c:pt idx="138">
                  <c:v>35915</c:v>
                </c:pt>
                <c:pt idx="139">
                  <c:v>36059</c:v>
                </c:pt>
                <c:pt idx="140">
                  <c:v>36105</c:v>
                </c:pt>
                <c:pt idx="141">
                  <c:v>36133</c:v>
                </c:pt>
                <c:pt idx="142">
                  <c:v>36219</c:v>
                </c:pt>
                <c:pt idx="143">
                  <c:v>36262</c:v>
                </c:pt>
                <c:pt idx="144">
                  <c:v>36069</c:v>
                </c:pt>
                <c:pt idx="145">
                  <c:v>36308</c:v>
                </c:pt>
                <c:pt idx="146">
                  <c:v>36326</c:v>
                </c:pt>
                <c:pt idx="147">
                  <c:v>36461</c:v>
                </c:pt>
                <c:pt idx="148">
                  <c:v>36952</c:v>
                </c:pt>
                <c:pt idx="149">
                  <c:v>37461</c:v>
                </c:pt>
                <c:pt idx="150">
                  <c:v>37846</c:v>
                </c:pt>
                <c:pt idx="151">
                  <c:v>38259</c:v>
                </c:pt>
                <c:pt idx="152">
                  <c:v>37914</c:v>
                </c:pt>
                <c:pt idx="153">
                  <c:v>37861</c:v>
                </c:pt>
                <c:pt idx="154">
                  <c:v>38002</c:v>
                </c:pt>
                <c:pt idx="155">
                  <c:v>38190</c:v>
                </c:pt>
                <c:pt idx="156">
                  <c:v>38315</c:v>
                </c:pt>
                <c:pt idx="157">
                  <c:v>38454</c:v>
                </c:pt>
                <c:pt idx="158">
                  <c:v>38314</c:v>
                </c:pt>
                <c:pt idx="159">
                  <c:v>38426</c:v>
                </c:pt>
                <c:pt idx="160">
                  <c:v>38651</c:v>
                </c:pt>
                <c:pt idx="161">
                  <c:v>38760</c:v>
                </c:pt>
                <c:pt idx="162">
                  <c:v>39003</c:v>
                </c:pt>
                <c:pt idx="163">
                  <c:v>39256</c:v>
                </c:pt>
                <c:pt idx="164">
                  <c:v>39500</c:v>
                </c:pt>
                <c:pt idx="165">
                  <c:v>39759</c:v>
                </c:pt>
                <c:pt idx="166">
                  <c:v>39371</c:v>
                </c:pt>
                <c:pt idx="167">
                  <c:v>39016</c:v>
                </c:pt>
                <c:pt idx="168">
                  <c:v>38912</c:v>
                </c:pt>
                <c:pt idx="169">
                  <c:v>38729</c:v>
                </c:pt>
                <c:pt idx="170">
                  <c:v>38650</c:v>
                </c:pt>
                <c:pt idx="171">
                  <c:v>38735</c:v>
                </c:pt>
                <c:pt idx="172">
                  <c:v>38705</c:v>
                </c:pt>
                <c:pt idx="173">
                  <c:v>38787</c:v>
                </c:pt>
                <c:pt idx="174">
                  <c:v>39071</c:v>
                </c:pt>
                <c:pt idx="175">
                  <c:v>39157</c:v>
                </c:pt>
                <c:pt idx="176">
                  <c:v>39344</c:v>
                </c:pt>
                <c:pt idx="177">
                  <c:v>39400</c:v>
                </c:pt>
                <c:pt idx="178">
                  <c:v>39686</c:v>
                </c:pt>
                <c:pt idx="179">
                  <c:v>39834</c:v>
                </c:pt>
                <c:pt idx="180">
                  <c:v>40114</c:v>
                </c:pt>
                <c:pt idx="181">
                  <c:v>40011</c:v>
                </c:pt>
                <c:pt idx="182">
                  <c:v>39864</c:v>
                </c:pt>
                <c:pt idx="183">
                  <c:v>39732</c:v>
                </c:pt>
                <c:pt idx="184">
                  <c:v>39888</c:v>
                </c:pt>
                <c:pt idx="185">
                  <c:v>39837</c:v>
                </c:pt>
                <c:pt idx="186">
                  <c:v>39862</c:v>
                </c:pt>
                <c:pt idx="187">
                  <c:v>39970</c:v>
                </c:pt>
                <c:pt idx="188">
                  <c:v>39977</c:v>
                </c:pt>
                <c:pt idx="189">
                  <c:v>39917</c:v>
                </c:pt>
                <c:pt idx="190">
                  <c:v>39926</c:v>
                </c:pt>
                <c:pt idx="191">
                  <c:v>40027</c:v>
                </c:pt>
                <c:pt idx="192">
                  <c:v>40158</c:v>
                </c:pt>
                <c:pt idx="193">
                  <c:v>40325</c:v>
                </c:pt>
                <c:pt idx="194">
                  <c:v>40568</c:v>
                </c:pt>
                <c:pt idx="195">
                  <c:v>40675</c:v>
                </c:pt>
                <c:pt idx="196">
                  <c:v>40828</c:v>
                </c:pt>
                <c:pt idx="197">
                  <c:v>40815</c:v>
                </c:pt>
                <c:pt idx="198">
                  <c:v>40975</c:v>
                </c:pt>
                <c:pt idx="199">
                  <c:v>41088</c:v>
                </c:pt>
                <c:pt idx="200">
                  <c:v>40990</c:v>
                </c:pt>
                <c:pt idx="201">
                  <c:v>41005</c:v>
                </c:pt>
                <c:pt idx="202">
                  <c:v>41177</c:v>
                </c:pt>
                <c:pt idx="203">
                  <c:v>41382</c:v>
                </c:pt>
                <c:pt idx="204">
                  <c:v>41804</c:v>
                </c:pt>
                <c:pt idx="205">
                  <c:v>41846</c:v>
                </c:pt>
                <c:pt idx="206">
                  <c:v>41870</c:v>
                </c:pt>
                <c:pt idx="207">
                  <c:v>41815</c:v>
                </c:pt>
                <c:pt idx="208">
                  <c:v>41771</c:v>
                </c:pt>
                <c:pt idx="209">
                  <c:v>41545</c:v>
                </c:pt>
                <c:pt idx="210">
                  <c:v>41224</c:v>
                </c:pt>
                <c:pt idx="211">
                  <c:v>41001</c:v>
                </c:pt>
                <c:pt idx="212">
                  <c:v>41147</c:v>
                </c:pt>
                <c:pt idx="213">
                  <c:v>41407</c:v>
                </c:pt>
                <c:pt idx="214">
                  <c:v>41579</c:v>
                </c:pt>
                <c:pt idx="215">
                  <c:v>41293</c:v>
                </c:pt>
                <c:pt idx="216">
                  <c:v>41332</c:v>
                </c:pt>
                <c:pt idx="217">
                  <c:v>41291</c:v>
                </c:pt>
                <c:pt idx="218">
                  <c:v>41366</c:v>
                </c:pt>
                <c:pt idx="219">
                  <c:v>41278</c:v>
                </c:pt>
                <c:pt idx="220">
                  <c:v>41369</c:v>
                </c:pt>
                <c:pt idx="221">
                  <c:v>41499</c:v>
                </c:pt>
                <c:pt idx="222">
                  <c:v>41589</c:v>
                </c:pt>
                <c:pt idx="223">
                  <c:v>41695</c:v>
                </c:pt>
                <c:pt idx="224">
                  <c:v>41630</c:v>
                </c:pt>
                <c:pt idx="225">
                  <c:v>41644</c:v>
                </c:pt>
                <c:pt idx="226">
                  <c:v>41652</c:v>
                </c:pt>
                <c:pt idx="227">
                  <c:v>41646</c:v>
                </c:pt>
                <c:pt idx="228">
                  <c:v>41534</c:v>
                </c:pt>
                <c:pt idx="229">
                  <c:v>41313</c:v>
                </c:pt>
                <c:pt idx="230">
                  <c:v>41639</c:v>
                </c:pt>
                <c:pt idx="231">
                  <c:v>41573</c:v>
                </c:pt>
                <c:pt idx="232">
                  <c:v>41600</c:v>
                </c:pt>
                <c:pt idx="233">
                  <c:v>41672</c:v>
                </c:pt>
                <c:pt idx="234">
                  <c:v>41608</c:v>
                </c:pt>
                <c:pt idx="235">
                  <c:v>41694</c:v>
                </c:pt>
                <c:pt idx="236">
                  <c:v>41792</c:v>
                </c:pt>
                <c:pt idx="237">
                  <c:v>41690</c:v>
                </c:pt>
                <c:pt idx="238">
                  <c:v>41491</c:v>
                </c:pt>
                <c:pt idx="239">
                  <c:v>41153</c:v>
                </c:pt>
                <c:pt idx="240">
                  <c:v>40722</c:v>
                </c:pt>
                <c:pt idx="241">
                  <c:v>40569</c:v>
                </c:pt>
                <c:pt idx="242">
                  <c:v>40484</c:v>
                </c:pt>
                <c:pt idx="243">
                  <c:v>40449</c:v>
                </c:pt>
                <c:pt idx="244">
                  <c:v>40283</c:v>
                </c:pt>
                <c:pt idx="245">
                  <c:v>40066</c:v>
                </c:pt>
                <c:pt idx="246">
                  <c:v>39953</c:v>
                </c:pt>
                <c:pt idx="247">
                  <c:v>40015</c:v>
                </c:pt>
                <c:pt idx="248">
                  <c:v>40048</c:v>
                </c:pt>
                <c:pt idx="249">
                  <c:v>39840</c:v>
                </c:pt>
                <c:pt idx="250">
                  <c:v>39680</c:v>
                </c:pt>
                <c:pt idx="251">
                  <c:v>39564</c:v>
                </c:pt>
                <c:pt idx="252">
                  <c:v>39842</c:v>
                </c:pt>
                <c:pt idx="253">
                  <c:v>39571</c:v>
                </c:pt>
                <c:pt idx="254">
                  <c:v>38991</c:v>
                </c:pt>
                <c:pt idx="255">
                  <c:v>38764</c:v>
                </c:pt>
                <c:pt idx="256">
                  <c:v>38504</c:v>
                </c:pt>
                <c:pt idx="257">
                  <c:v>38196</c:v>
                </c:pt>
                <c:pt idx="258">
                  <c:v>37862</c:v>
                </c:pt>
                <c:pt idx="259">
                  <c:v>37698</c:v>
                </c:pt>
                <c:pt idx="260">
                  <c:v>37447</c:v>
                </c:pt>
                <c:pt idx="261">
                  <c:v>36704</c:v>
                </c:pt>
                <c:pt idx="262">
                  <c:v>35700</c:v>
                </c:pt>
                <c:pt idx="263">
                  <c:v>35091</c:v>
                </c:pt>
                <c:pt idx="264">
                  <c:v>34611</c:v>
                </c:pt>
                <c:pt idx="265">
                  <c:v>34563</c:v>
                </c:pt>
                <c:pt idx="266">
                  <c:v>34240</c:v>
                </c:pt>
                <c:pt idx="267">
                  <c:v>34565</c:v>
                </c:pt>
                <c:pt idx="268">
                  <c:v>34508</c:v>
                </c:pt>
                <c:pt idx="269">
                  <c:v>33685</c:v>
                </c:pt>
                <c:pt idx="270">
                  <c:v>33237</c:v>
                </c:pt>
                <c:pt idx="271">
                  <c:v>32966</c:v>
                </c:pt>
                <c:pt idx="272">
                  <c:v>32914</c:v>
                </c:pt>
                <c:pt idx="273">
                  <c:v>32530</c:v>
                </c:pt>
                <c:pt idx="274">
                  <c:v>32874</c:v>
                </c:pt>
                <c:pt idx="275">
                  <c:v>32638</c:v>
                </c:pt>
                <c:pt idx="276">
                  <c:v>32001</c:v>
                </c:pt>
                <c:pt idx="277">
                  <c:v>31542</c:v>
                </c:pt>
                <c:pt idx="278">
                  <c:v>31458</c:v>
                </c:pt>
                <c:pt idx="279">
                  <c:v>31795</c:v>
                </c:pt>
                <c:pt idx="280">
                  <c:v>32332</c:v>
                </c:pt>
                <c:pt idx="281">
                  <c:v>32627</c:v>
                </c:pt>
                <c:pt idx="282">
                  <c:v>32810</c:v>
                </c:pt>
                <c:pt idx="283">
                  <c:v>32734</c:v>
                </c:pt>
                <c:pt idx="284">
                  <c:v>32515</c:v>
                </c:pt>
                <c:pt idx="285">
                  <c:v>33126</c:v>
                </c:pt>
                <c:pt idx="286">
                  <c:v>32950</c:v>
                </c:pt>
                <c:pt idx="287">
                  <c:v>32428</c:v>
                </c:pt>
                <c:pt idx="288">
                  <c:v>31963</c:v>
                </c:pt>
                <c:pt idx="289">
                  <c:v>31556</c:v>
                </c:pt>
                <c:pt idx="290">
                  <c:v>31363</c:v>
                </c:pt>
                <c:pt idx="291">
                  <c:v>31117</c:v>
                </c:pt>
                <c:pt idx="292">
                  <c:v>30209</c:v>
                </c:pt>
                <c:pt idx="293">
                  <c:v>29261</c:v>
                </c:pt>
                <c:pt idx="294">
                  <c:v>29379</c:v>
                </c:pt>
                <c:pt idx="295">
                  <c:v>30063</c:v>
                </c:pt>
                <c:pt idx="296">
                  <c:v>30484</c:v>
                </c:pt>
              </c:numCache>
            </c:numRef>
          </c:val>
          <c:smooth val="0"/>
        </c:ser>
        <c:ser>
          <c:idx val="5"/>
          <c:order val="2"/>
          <c:tx>
            <c:strRef>
              <c:f>Индексы_Мир_СПбМТСБ!$AQ$1</c:f>
              <c:strCache>
                <c:ptCount val="1"/>
                <c:pt idx="0">
                  <c:v>Дека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AQ$1166:$AQ$1432</c:f>
              <c:numCache>
                <c:formatCode>#,##0.00</c:formatCode>
                <c:ptCount val="267"/>
                <c:pt idx="0">
                  <c:v>31050</c:v>
                </c:pt>
                <c:pt idx="1">
                  <c:v>31130</c:v>
                </c:pt>
                <c:pt idx="2">
                  <c:v>31130</c:v>
                </c:pt>
                <c:pt idx="3">
                  <c:v>31130</c:v>
                </c:pt>
                <c:pt idx="4">
                  <c:v>31150</c:v>
                </c:pt>
                <c:pt idx="5">
                  <c:v>31150</c:v>
                </c:pt>
                <c:pt idx="6">
                  <c:v>31180</c:v>
                </c:pt>
                <c:pt idx="7">
                  <c:v>31180</c:v>
                </c:pt>
                <c:pt idx="8">
                  <c:v>31180</c:v>
                </c:pt>
                <c:pt idx="9">
                  <c:v>31110</c:v>
                </c:pt>
                <c:pt idx="10">
                  <c:v>31000</c:v>
                </c:pt>
                <c:pt idx="11">
                  <c:v>30990</c:v>
                </c:pt>
                <c:pt idx="12">
                  <c:v>30580</c:v>
                </c:pt>
                <c:pt idx="13">
                  <c:v>30500</c:v>
                </c:pt>
                <c:pt idx="14">
                  <c:v>30500</c:v>
                </c:pt>
                <c:pt idx="15">
                  <c:v>30540</c:v>
                </c:pt>
                <c:pt idx="16">
                  <c:v>30540</c:v>
                </c:pt>
                <c:pt idx="17">
                  <c:v>30600</c:v>
                </c:pt>
                <c:pt idx="18">
                  <c:v>30590</c:v>
                </c:pt>
                <c:pt idx="19">
                  <c:v>30530</c:v>
                </c:pt>
                <c:pt idx="20">
                  <c:v>30530</c:v>
                </c:pt>
                <c:pt idx="21">
                  <c:v>30430</c:v>
                </c:pt>
                <c:pt idx="22">
                  <c:v>30600</c:v>
                </c:pt>
                <c:pt idx="23">
                  <c:v>30740</c:v>
                </c:pt>
                <c:pt idx="24">
                  <c:v>30770</c:v>
                </c:pt>
                <c:pt idx="25">
                  <c:v>30810</c:v>
                </c:pt>
                <c:pt idx="26">
                  <c:v>30810</c:v>
                </c:pt>
                <c:pt idx="27">
                  <c:v>30970</c:v>
                </c:pt>
                <c:pt idx="28">
                  <c:v>31000</c:v>
                </c:pt>
                <c:pt idx="29">
                  <c:v>31000</c:v>
                </c:pt>
                <c:pt idx="30">
                  <c:v>31180</c:v>
                </c:pt>
                <c:pt idx="31">
                  <c:v>31250</c:v>
                </c:pt>
                <c:pt idx="32">
                  <c:v>31140</c:v>
                </c:pt>
                <c:pt idx="33">
                  <c:v>31140</c:v>
                </c:pt>
                <c:pt idx="34">
                  <c:v>31140</c:v>
                </c:pt>
                <c:pt idx="35">
                  <c:v>31150</c:v>
                </c:pt>
              </c:numCache>
            </c:numRef>
          </c:val>
          <c:smooth val="0"/>
        </c:ser>
        <c:ser>
          <c:idx val="0"/>
          <c:order val="3"/>
          <c:tx>
            <c:strRef>
              <c:f>Индексы_Мир_СПбМТСБ!$AU$1</c:f>
              <c:strCache>
                <c:ptCount val="1"/>
                <c:pt idx="0">
                  <c:v>Мартов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AU$1166:$AU$1432</c:f>
              <c:numCache>
                <c:formatCode>#,##0.00</c:formatCode>
                <c:ptCount val="267"/>
                <c:pt idx="0">
                  <c:v>32080</c:v>
                </c:pt>
                <c:pt idx="1">
                  <c:v>32240</c:v>
                </c:pt>
                <c:pt idx="2">
                  <c:v>32250</c:v>
                </c:pt>
                <c:pt idx="3">
                  <c:v>32250</c:v>
                </c:pt>
                <c:pt idx="4">
                  <c:v>32250</c:v>
                </c:pt>
                <c:pt idx="5">
                  <c:v>32250</c:v>
                </c:pt>
                <c:pt idx="6">
                  <c:v>32280</c:v>
                </c:pt>
                <c:pt idx="7">
                  <c:v>32280</c:v>
                </c:pt>
                <c:pt idx="8">
                  <c:v>32280</c:v>
                </c:pt>
                <c:pt idx="9">
                  <c:v>32280</c:v>
                </c:pt>
                <c:pt idx="10">
                  <c:v>32280</c:v>
                </c:pt>
                <c:pt idx="11">
                  <c:v>32280</c:v>
                </c:pt>
                <c:pt idx="12">
                  <c:v>32240</c:v>
                </c:pt>
                <c:pt idx="13">
                  <c:v>32240</c:v>
                </c:pt>
                <c:pt idx="14">
                  <c:v>32250</c:v>
                </c:pt>
                <c:pt idx="15">
                  <c:v>32260</c:v>
                </c:pt>
                <c:pt idx="16">
                  <c:v>32260</c:v>
                </c:pt>
                <c:pt idx="17">
                  <c:v>32380</c:v>
                </c:pt>
                <c:pt idx="18">
                  <c:v>32210</c:v>
                </c:pt>
                <c:pt idx="19">
                  <c:v>32250</c:v>
                </c:pt>
                <c:pt idx="20">
                  <c:v>32250</c:v>
                </c:pt>
                <c:pt idx="21">
                  <c:v>32270</c:v>
                </c:pt>
                <c:pt idx="22">
                  <c:v>32270</c:v>
                </c:pt>
                <c:pt idx="23">
                  <c:v>32300</c:v>
                </c:pt>
                <c:pt idx="24">
                  <c:v>32300</c:v>
                </c:pt>
                <c:pt idx="25">
                  <c:v>32500</c:v>
                </c:pt>
                <c:pt idx="26">
                  <c:v>32500</c:v>
                </c:pt>
                <c:pt idx="27">
                  <c:v>32500</c:v>
                </c:pt>
                <c:pt idx="28">
                  <c:v>32500</c:v>
                </c:pt>
                <c:pt idx="29">
                  <c:v>32500</c:v>
                </c:pt>
                <c:pt idx="30">
                  <c:v>32690</c:v>
                </c:pt>
                <c:pt idx="31">
                  <c:v>32690</c:v>
                </c:pt>
                <c:pt idx="32">
                  <c:v>32690</c:v>
                </c:pt>
                <c:pt idx="33">
                  <c:v>32650</c:v>
                </c:pt>
                <c:pt idx="34">
                  <c:v>32650</c:v>
                </c:pt>
                <c:pt idx="35">
                  <c:v>32650</c:v>
                </c:pt>
                <c:pt idx="36">
                  <c:v>32650</c:v>
                </c:pt>
                <c:pt idx="37">
                  <c:v>32650</c:v>
                </c:pt>
                <c:pt idx="38">
                  <c:v>32650</c:v>
                </c:pt>
                <c:pt idx="39">
                  <c:v>32510</c:v>
                </c:pt>
                <c:pt idx="40">
                  <c:v>32690</c:v>
                </c:pt>
                <c:pt idx="41">
                  <c:v>32420</c:v>
                </c:pt>
                <c:pt idx="42">
                  <c:v>32590</c:v>
                </c:pt>
                <c:pt idx="43">
                  <c:v>32590</c:v>
                </c:pt>
                <c:pt idx="44">
                  <c:v>32550</c:v>
                </c:pt>
                <c:pt idx="45">
                  <c:v>32500</c:v>
                </c:pt>
                <c:pt idx="46">
                  <c:v>32500</c:v>
                </c:pt>
                <c:pt idx="47">
                  <c:v>32500</c:v>
                </c:pt>
                <c:pt idx="48">
                  <c:v>32500</c:v>
                </c:pt>
                <c:pt idx="49">
                  <c:v>32650</c:v>
                </c:pt>
                <c:pt idx="50">
                  <c:v>32910</c:v>
                </c:pt>
                <c:pt idx="51">
                  <c:v>33080</c:v>
                </c:pt>
                <c:pt idx="52">
                  <c:v>32930</c:v>
                </c:pt>
                <c:pt idx="53">
                  <c:v>33030</c:v>
                </c:pt>
                <c:pt idx="54">
                  <c:v>33110</c:v>
                </c:pt>
                <c:pt idx="55">
                  <c:v>33200</c:v>
                </c:pt>
                <c:pt idx="56">
                  <c:v>33420</c:v>
                </c:pt>
                <c:pt idx="57">
                  <c:v>33420</c:v>
                </c:pt>
                <c:pt idx="58">
                  <c:v>33460</c:v>
                </c:pt>
                <c:pt idx="59">
                  <c:v>33380</c:v>
                </c:pt>
                <c:pt idx="60">
                  <c:v>33340</c:v>
                </c:pt>
                <c:pt idx="61">
                  <c:v>33140</c:v>
                </c:pt>
                <c:pt idx="62">
                  <c:v>33140</c:v>
                </c:pt>
                <c:pt idx="63">
                  <c:v>33150</c:v>
                </c:pt>
                <c:pt idx="64">
                  <c:v>33160</c:v>
                </c:pt>
                <c:pt idx="65">
                  <c:v>33160</c:v>
                </c:pt>
                <c:pt idx="66">
                  <c:v>33350</c:v>
                </c:pt>
                <c:pt idx="67">
                  <c:v>33500</c:v>
                </c:pt>
                <c:pt idx="68">
                  <c:v>33530</c:v>
                </c:pt>
                <c:pt idx="69">
                  <c:v>33760</c:v>
                </c:pt>
                <c:pt idx="70">
                  <c:v>33850</c:v>
                </c:pt>
                <c:pt idx="71">
                  <c:v>34000</c:v>
                </c:pt>
                <c:pt idx="72">
                  <c:v>34230</c:v>
                </c:pt>
                <c:pt idx="73">
                  <c:v>34310</c:v>
                </c:pt>
                <c:pt idx="74">
                  <c:v>34170</c:v>
                </c:pt>
                <c:pt idx="75">
                  <c:v>34080</c:v>
                </c:pt>
                <c:pt idx="76">
                  <c:v>34200</c:v>
                </c:pt>
                <c:pt idx="77">
                  <c:v>34450</c:v>
                </c:pt>
                <c:pt idx="78">
                  <c:v>35080</c:v>
                </c:pt>
                <c:pt idx="79">
                  <c:v>35930</c:v>
                </c:pt>
                <c:pt idx="80">
                  <c:v>36000</c:v>
                </c:pt>
                <c:pt idx="81">
                  <c:v>36070</c:v>
                </c:pt>
                <c:pt idx="82">
                  <c:v>35990</c:v>
                </c:pt>
                <c:pt idx="83">
                  <c:v>35930</c:v>
                </c:pt>
                <c:pt idx="84">
                  <c:v>35910</c:v>
                </c:pt>
                <c:pt idx="85">
                  <c:v>35860</c:v>
                </c:pt>
                <c:pt idx="86">
                  <c:v>35750</c:v>
                </c:pt>
                <c:pt idx="87">
                  <c:v>35760</c:v>
                </c:pt>
                <c:pt idx="88">
                  <c:v>35150</c:v>
                </c:pt>
                <c:pt idx="89">
                  <c:v>34950</c:v>
                </c:pt>
                <c:pt idx="90">
                  <c:v>35030</c:v>
                </c:pt>
                <c:pt idx="91">
                  <c:v>35060</c:v>
                </c:pt>
                <c:pt idx="92">
                  <c:v>34870</c:v>
                </c:pt>
                <c:pt idx="93">
                  <c:v>34830</c:v>
                </c:pt>
                <c:pt idx="94">
                  <c:v>34830</c:v>
                </c:pt>
                <c:pt idx="95">
                  <c:v>34800</c:v>
                </c:pt>
                <c:pt idx="96">
                  <c:v>34900</c:v>
                </c:pt>
                <c:pt idx="97">
                  <c:v>34880</c:v>
                </c:pt>
              </c:numCache>
            </c:numRef>
          </c:val>
          <c:smooth val="0"/>
        </c:ser>
        <c:ser>
          <c:idx val="3"/>
          <c:order val="4"/>
          <c:tx>
            <c:strRef>
              <c:f>Индексы_Мир_СПбМТСБ!$BR$1</c:f>
              <c:strCache>
                <c:ptCount val="1"/>
                <c:pt idx="0">
                  <c:v>Июн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R$1166:$BR$1432</c:f>
              <c:numCache>
                <c:formatCode>General</c:formatCode>
                <c:ptCount val="267"/>
                <c:pt idx="36" formatCode="#,##0.00">
                  <c:v>33230</c:v>
                </c:pt>
                <c:pt idx="37" formatCode="#,##0.00">
                  <c:v>33230</c:v>
                </c:pt>
                <c:pt idx="38" formatCode="#,##0.00">
                  <c:v>33230</c:v>
                </c:pt>
                <c:pt idx="39" formatCode="#,##0.00">
                  <c:v>33230</c:v>
                </c:pt>
                <c:pt idx="40" formatCode="#,##0.00">
                  <c:v>33230</c:v>
                </c:pt>
                <c:pt idx="41" formatCode="#,##0.00">
                  <c:v>33450</c:v>
                </c:pt>
                <c:pt idx="42" formatCode="#,##0.00">
                  <c:v>33340</c:v>
                </c:pt>
                <c:pt idx="43" formatCode="#,##0.00">
                  <c:v>33160</c:v>
                </c:pt>
                <c:pt idx="44" formatCode="#,##0.00">
                  <c:v>33160</c:v>
                </c:pt>
                <c:pt idx="45" formatCode="#,##0.00">
                  <c:v>33160</c:v>
                </c:pt>
                <c:pt idx="46" formatCode="#,##0.00">
                  <c:v>33160</c:v>
                </c:pt>
                <c:pt idx="47" formatCode="#,##0.00">
                  <c:v>33160</c:v>
                </c:pt>
                <c:pt idx="48" formatCode="#,##0.00">
                  <c:v>33160</c:v>
                </c:pt>
                <c:pt idx="49" formatCode="#,##0.00">
                  <c:v>33180</c:v>
                </c:pt>
                <c:pt idx="50" formatCode="#,##0.00">
                  <c:v>33650</c:v>
                </c:pt>
                <c:pt idx="51" formatCode="#,##0.00">
                  <c:v>33710</c:v>
                </c:pt>
                <c:pt idx="52" formatCode="#,##0.00">
                  <c:v>33750</c:v>
                </c:pt>
                <c:pt idx="53" formatCode="#,##0.00">
                  <c:v>33750</c:v>
                </c:pt>
                <c:pt idx="54" formatCode="#,##0.00">
                  <c:v>33750</c:v>
                </c:pt>
                <c:pt idx="55" formatCode="#,##0.00">
                  <c:v>33910</c:v>
                </c:pt>
                <c:pt idx="56" formatCode="#,##0.00">
                  <c:v>33950</c:v>
                </c:pt>
                <c:pt idx="57" formatCode="#,##0.00">
                  <c:v>33950</c:v>
                </c:pt>
                <c:pt idx="58" formatCode="#,##0.00">
                  <c:v>34000</c:v>
                </c:pt>
                <c:pt idx="59" formatCode="#,##0.00">
                  <c:v>34000</c:v>
                </c:pt>
                <c:pt idx="60" formatCode="#,##0.00">
                  <c:v>34000</c:v>
                </c:pt>
                <c:pt idx="61" formatCode="#,##0.00">
                  <c:v>34000</c:v>
                </c:pt>
                <c:pt idx="62" formatCode="#,##0.00">
                  <c:v>34000</c:v>
                </c:pt>
                <c:pt idx="63" formatCode="#,##0.00">
                  <c:v>34000</c:v>
                </c:pt>
                <c:pt idx="64" formatCode="#,##0.00">
                  <c:v>34000</c:v>
                </c:pt>
                <c:pt idx="65" formatCode="#,##0.00">
                  <c:v>34000</c:v>
                </c:pt>
                <c:pt idx="66" formatCode="#,##0.00">
                  <c:v>34090</c:v>
                </c:pt>
                <c:pt idx="67" formatCode="#,##0.00">
                  <c:v>34210</c:v>
                </c:pt>
                <c:pt idx="68" formatCode="#,##0.00">
                  <c:v>34380</c:v>
                </c:pt>
                <c:pt idx="69" formatCode="#,##0.00">
                  <c:v>34470</c:v>
                </c:pt>
                <c:pt idx="70" formatCode="#,##0.00">
                  <c:v>34640</c:v>
                </c:pt>
                <c:pt idx="71" formatCode="#,##0.00">
                  <c:v>34660</c:v>
                </c:pt>
                <c:pt idx="72" formatCode="#,##0.00">
                  <c:v>34930</c:v>
                </c:pt>
                <c:pt idx="73" formatCode="#,##0.00">
                  <c:v>34870</c:v>
                </c:pt>
                <c:pt idx="74" formatCode="#,##0.00">
                  <c:v>34860</c:v>
                </c:pt>
                <c:pt idx="75" formatCode="#,##0.00">
                  <c:v>34860</c:v>
                </c:pt>
                <c:pt idx="76" formatCode="#,##0.00">
                  <c:v>35000</c:v>
                </c:pt>
                <c:pt idx="77" formatCode="#,##0.00">
                  <c:v>35250</c:v>
                </c:pt>
                <c:pt idx="78" formatCode="#,##0.00">
                  <c:v>35790</c:v>
                </c:pt>
                <c:pt idx="79" formatCode="#,##0.00">
                  <c:v>36620</c:v>
                </c:pt>
                <c:pt idx="80" formatCode="#,##0.00">
                  <c:v>36490</c:v>
                </c:pt>
                <c:pt idx="81" formatCode="#,##0.00">
                  <c:v>36040</c:v>
                </c:pt>
                <c:pt idx="82" formatCode="#,##0.00">
                  <c:v>35970</c:v>
                </c:pt>
                <c:pt idx="83" formatCode="#,##0.00">
                  <c:v>36020</c:v>
                </c:pt>
                <c:pt idx="84" formatCode="#,##0.00">
                  <c:v>35990</c:v>
                </c:pt>
                <c:pt idx="85" formatCode="#,##0.00">
                  <c:v>36070</c:v>
                </c:pt>
                <c:pt idx="86" formatCode="#,##0.00">
                  <c:v>36070</c:v>
                </c:pt>
                <c:pt idx="87" formatCode="#,##0.00">
                  <c:v>35960</c:v>
                </c:pt>
                <c:pt idx="88" formatCode="#,##0.00">
                  <c:v>35410</c:v>
                </c:pt>
                <c:pt idx="89" formatCode="#,##0.00">
                  <c:v>35490</c:v>
                </c:pt>
                <c:pt idx="90" formatCode="#,##0.00">
                  <c:v>35520</c:v>
                </c:pt>
                <c:pt idx="91" formatCode="#,##0.00">
                  <c:v>35420</c:v>
                </c:pt>
                <c:pt idx="92" formatCode="#,##0.00">
                  <c:v>35470</c:v>
                </c:pt>
                <c:pt idx="93" formatCode="#,##0.00">
                  <c:v>35470</c:v>
                </c:pt>
                <c:pt idx="94" formatCode="#,##0.00">
                  <c:v>35470</c:v>
                </c:pt>
                <c:pt idx="95" formatCode="#,##0.00">
                  <c:v>35470</c:v>
                </c:pt>
                <c:pt idx="96" formatCode="#,##0.00">
                  <c:v>35550</c:v>
                </c:pt>
                <c:pt idx="97" formatCode="#,##0.00">
                  <c:v>35600</c:v>
                </c:pt>
                <c:pt idx="98" formatCode="#,##0.00">
                  <c:v>35650</c:v>
                </c:pt>
                <c:pt idx="99" formatCode="#,##0.00">
                  <c:v>35610</c:v>
                </c:pt>
                <c:pt idx="100" formatCode="#,##0.00">
                  <c:v>35630</c:v>
                </c:pt>
                <c:pt idx="101" formatCode="#,##0.00">
                  <c:v>35500</c:v>
                </c:pt>
                <c:pt idx="102" formatCode="#,##0.00">
                  <c:v>35500</c:v>
                </c:pt>
                <c:pt idx="103" formatCode="#,##0.00">
                  <c:v>35500</c:v>
                </c:pt>
                <c:pt idx="104" formatCode="#,##0.00">
                  <c:v>35500</c:v>
                </c:pt>
                <c:pt idx="105" formatCode="#,##0.00">
                  <c:v>35500</c:v>
                </c:pt>
                <c:pt idx="106" formatCode="#,##0.00">
                  <c:v>35370</c:v>
                </c:pt>
                <c:pt idx="107" formatCode="#,##0.00">
                  <c:v>35400</c:v>
                </c:pt>
                <c:pt idx="108" formatCode="#,##0.00">
                  <c:v>35280</c:v>
                </c:pt>
                <c:pt idx="109" formatCode="#,##0.00">
                  <c:v>35490</c:v>
                </c:pt>
                <c:pt idx="110" formatCode="#,##0.00">
                  <c:v>35280</c:v>
                </c:pt>
                <c:pt idx="111" formatCode="#,##0.00">
                  <c:v>35280</c:v>
                </c:pt>
                <c:pt idx="112" formatCode="#,##0.00">
                  <c:v>35300</c:v>
                </c:pt>
                <c:pt idx="113" formatCode="#,##0.00">
                  <c:v>35150</c:v>
                </c:pt>
                <c:pt idx="114" formatCode="#,##0.00">
                  <c:v>34630</c:v>
                </c:pt>
                <c:pt idx="115" formatCode="#,##0.00">
                  <c:v>34850</c:v>
                </c:pt>
                <c:pt idx="116" formatCode="#,##0.00">
                  <c:v>34930</c:v>
                </c:pt>
                <c:pt idx="117" formatCode="#,##0.00">
                  <c:v>34930</c:v>
                </c:pt>
                <c:pt idx="118" formatCode="#,##0.00">
                  <c:v>34990</c:v>
                </c:pt>
                <c:pt idx="119" formatCode="#,##0.00">
                  <c:v>34950</c:v>
                </c:pt>
                <c:pt idx="120" formatCode="#,##0.00">
                  <c:v>35100</c:v>
                </c:pt>
                <c:pt idx="121" formatCode="#,##0.00">
                  <c:v>35050</c:v>
                </c:pt>
                <c:pt idx="122" formatCode="#,##0.00">
                  <c:v>35050</c:v>
                </c:pt>
                <c:pt idx="123" formatCode="#,##0.00">
                  <c:v>35050</c:v>
                </c:pt>
                <c:pt idx="124" formatCode="#,##0.00">
                  <c:v>35000</c:v>
                </c:pt>
                <c:pt idx="125" formatCode="#,##0.00">
                  <c:v>35190</c:v>
                </c:pt>
                <c:pt idx="126" formatCode="#,##0.00">
                  <c:v>35190</c:v>
                </c:pt>
                <c:pt idx="127" formatCode="#,##0.00">
                  <c:v>35280</c:v>
                </c:pt>
                <c:pt idx="128" formatCode="#,##0.00">
                  <c:v>35200</c:v>
                </c:pt>
                <c:pt idx="129" formatCode="#,##0.00">
                  <c:v>35250</c:v>
                </c:pt>
                <c:pt idx="130" formatCode="#,##0.00">
                  <c:v>35200</c:v>
                </c:pt>
                <c:pt idx="131" formatCode="#,##0.00">
                  <c:v>35200</c:v>
                </c:pt>
                <c:pt idx="132" formatCode="#,##0.00">
                  <c:v>35350</c:v>
                </c:pt>
                <c:pt idx="133" formatCode="#,##0.00">
                  <c:v>35270</c:v>
                </c:pt>
                <c:pt idx="134" formatCode="#,##0.00">
                  <c:v>35500</c:v>
                </c:pt>
                <c:pt idx="135" formatCode="#,##0.00">
                  <c:v>35500</c:v>
                </c:pt>
                <c:pt idx="136" formatCode="#,##0.00">
                  <c:v>35480</c:v>
                </c:pt>
                <c:pt idx="137" formatCode="#,##0.00">
                  <c:v>35450</c:v>
                </c:pt>
                <c:pt idx="138" formatCode="#,##0.00">
                  <c:v>35850</c:v>
                </c:pt>
                <c:pt idx="139" formatCode="#,##0.00">
                  <c:v>35900</c:v>
                </c:pt>
                <c:pt idx="140" formatCode="#,##0.00">
                  <c:v>35990</c:v>
                </c:pt>
                <c:pt idx="141" formatCode="#,##0.00">
                  <c:v>36060</c:v>
                </c:pt>
                <c:pt idx="142" formatCode="#,##0.00">
                  <c:v>36000</c:v>
                </c:pt>
                <c:pt idx="143" formatCode="#,##0.00">
                  <c:v>36000</c:v>
                </c:pt>
                <c:pt idx="144" formatCode="#,##0.00">
                  <c:v>35910</c:v>
                </c:pt>
                <c:pt idx="145" formatCode="#,##0.00">
                  <c:v>35960</c:v>
                </c:pt>
                <c:pt idx="146" formatCode="#,##0.00">
                  <c:v>36010</c:v>
                </c:pt>
                <c:pt idx="147" formatCode="#,##0.00">
                  <c:v>36410</c:v>
                </c:pt>
                <c:pt idx="148" formatCode="#,##0.00">
                  <c:v>36630</c:v>
                </c:pt>
                <c:pt idx="149" formatCode="#,##0.00">
                  <c:v>37160</c:v>
                </c:pt>
                <c:pt idx="150" formatCode="#,##0.00">
                  <c:v>37510</c:v>
                </c:pt>
                <c:pt idx="151" formatCode="#,##0.00">
                  <c:v>37680</c:v>
                </c:pt>
                <c:pt idx="152" formatCode="#,##0.00">
                  <c:v>37600</c:v>
                </c:pt>
                <c:pt idx="153" formatCode="#,##0.00">
                  <c:v>37700</c:v>
                </c:pt>
                <c:pt idx="154" formatCode="#,##0.00">
                  <c:v>37930</c:v>
                </c:pt>
                <c:pt idx="155" formatCode="#,##0.00">
                  <c:v>37930</c:v>
                </c:pt>
                <c:pt idx="156" formatCode="#,##0.00">
                  <c:v>38120</c:v>
                </c:pt>
                <c:pt idx="157" formatCode="#,##0.00">
                  <c:v>38160</c:v>
                </c:pt>
              </c:numCache>
            </c:numRef>
          </c:val>
          <c:smooth val="0"/>
        </c:ser>
        <c:ser>
          <c:idx val="4"/>
          <c:order val="5"/>
          <c:tx>
            <c:strRef>
              <c:f>Индексы_Мир_СПбМТСБ!$BS$1</c:f>
              <c:strCache>
                <c:ptCount val="1"/>
                <c:pt idx="0">
                  <c:v>Июл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S$1166:$BS$1432</c:f>
              <c:numCache>
                <c:formatCode>General</c:formatCode>
                <c:ptCount val="267"/>
                <c:pt idx="120" formatCode="#,##0.00">
                  <c:v>35210</c:v>
                </c:pt>
                <c:pt idx="121" formatCode="#,##0.00">
                  <c:v>35210</c:v>
                </c:pt>
                <c:pt idx="122" formatCode="#,##0.00">
                  <c:v>35210</c:v>
                </c:pt>
                <c:pt idx="123" formatCode="#,##0.00">
                  <c:v>35210</c:v>
                </c:pt>
                <c:pt idx="124" formatCode="#,##0.00">
                  <c:v>35210</c:v>
                </c:pt>
                <c:pt idx="125" formatCode="#,##0.00">
                  <c:v>35210</c:v>
                </c:pt>
                <c:pt idx="126" formatCode="#,##0.00">
                  <c:v>35210</c:v>
                </c:pt>
                <c:pt idx="127" formatCode="#,##0.00">
                  <c:v>35210</c:v>
                </c:pt>
                <c:pt idx="128" formatCode="#,##0.00">
                  <c:v>35210</c:v>
                </c:pt>
                <c:pt idx="129" formatCode="#,##0.00">
                  <c:v>35210</c:v>
                </c:pt>
                <c:pt idx="130" formatCode="#,##0.00">
                  <c:v>35210</c:v>
                </c:pt>
                <c:pt idx="131" formatCode="#,##0.00">
                  <c:v>35210</c:v>
                </c:pt>
                <c:pt idx="132" formatCode="#,##0.00">
                  <c:v>35210</c:v>
                </c:pt>
                <c:pt idx="133" formatCode="#,##0.00">
                  <c:v>35210</c:v>
                </c:pt>
                <c:pt idx="134" formatCode="#,##0.00">
                  <c:v>35210</c:v>
                </c:pt>
                <c:pt idx="135" formatCode="#,##0.00">
                  <c:v>35210</c:v>
                </c:pt>
                <c:pt idx="136" formatCode="#,##0.00">
                  <c:v>35210</c:v>
                </c:pt>
                <c:pt idx="137" formatCode="#,##0.00">
                  <c:v>35210</c:v>
                </c:pt>
                <c:pt idx="138" formatCode="#,##0.00">
                  <c:v>35210</c:v>
                </c:pt>
                <c:pt idx="139" formatCode="#,##0.00">
                  <c:v>35910</c:v>
                </c:pt>
                <c:pt idx="140" formatCode="#,##0.00">
                  <c:v>35950</c:v>
                </c:pt>
                <c:pt idx="141" formatCode="#,##0.00">
                  <c:v>35970</c:v>
                </c:pt>
                <c:pt idx="142" formatCode="#,##0.00">
                  <c:v>35970</c:v>
                </c:pt>
                <c:pt idx="143" formatCode="#,##0.00">
                  <c:v>36020</c:v>
                </c:pt>
                <c:pt idx="144" formatCode="#,##0.00">
                  <c:v>35950</c:v>
                </c:pt>
                <c:pt idx="145" formatCode="#,##0.00">
                  <c:v>35950</c:v>
                </c:pt>
                <c:pt idx="146" formatCode="#,##0.00">
                  <c:v>36000</c:v>
                </c:pt>
                <c:pt idx="147" formatCode="#,##0.00">
                  <c:v>36150</c:v>
                </c:pt>
                <c:pt idx="148" formatCode="#,##0.00">
                  <c:v>36490</c:v>
                </c:pt>
                <c:pt idx="149" formatCode="#,##0.00">
                  <c:v>37060</c:v>
                </c:pt>
                <c:pt idx="150" formatCode="#,##0.00">
                  <c:v>37490</c:v>
                </c:pt>
                <c:pt idx="151" formatCode="#,##0.00">
                  <c:v>37660</c:v>
                </c:pt>
                <c:pt idx="152" formatCode="#,##0.00">
                  <c:v>37400</c:v>
                </c:pt>
                <c:pt idx="153" formatCode="#,##0.00">
                  <c:v>37370</c:v>
                </c:pt>
                <c:pt idx="154" formatCode="#,##0.00">
                  <c:v>37390</c:v>
                </c:pt>
                <c:pt idx="155" formatCode="#,##0.00">
                  <c:v>37710</c:v>
                </c:pt>
                <c:pt idx="156" formatCode="#,##0.00">
                  <c:v>37910</c:v>
                </c:pt>
                <c:pt idx="157" formatCode="#,##0.00">
                  <c:v>38150</c:v>
                </c:pt>
                <c:pt idx="158" formatCode="#,##0.00">
                  <c:v>37850</c:v>
                </c:pt>
                <c:pt idx="159" formatCode="#,##0.00">
                  <c:v>38120</c:v>
                </c:pt>
                <c:pt idx="160" formatCode="#,##0.00">
                  <c:v>38280</c:v>
                </c:pt>
                <c:pt idx="161" formatCode="#,##0.00">
                  <c:v>38320</c:v>
                </c:pt>
                <c:pt idx="162" formatCode="#,##0.00">
                  <c:v>38800</c:v>
                </c:pt>
                <c:pt idx="163" formatCode="#,##0.00">
                  <c:v>39080</c:v>
                </c:pt>
                <c:pt idx="164" formatCode="#,##0.00">
                  <c:v>39080</c:v>
                </c:pt>
                <c:pt idx="165" formatCode="#,##0.00">
                  <c:v>39320</c:v>
                </c:pt>
                <c:pt idx="166" formatCode="#,##0.00">
                  <c:v>39130</c:v>
                </c:pt>
                <c:pt idx="167" formatCode="#,##0.00">
                  <c:v>38850</c:v>
                </c:pt>
                <c:pt idx="168" formatCode="#,##0.00">
                  <c:v>38800</c:v>
                </c:pt>
                <c:pt idx="169" formatCode="#,##0.00">
                  <c:v>38270</c:v>
                </c:pt>
                <c:pt idx="170" formatCode="#,##0.00">
                  <c:v>38270</c:v>
                </c:pt>
                <c:pt idx="171" formatCode="#,##0.00">
                  <c:v>38380</c:v>
                </c:pt>
                <c:pt idx="172" formatCode="#,##0.00">
                  <c:v>38570</c:v>
                </c:pt>
                <c:pt idx="173" formatCode="#,##0.00">
                  <c:v>38650</c:v>
                </c:pt>
                <c:pt idx="174" formatCode="#,##0.00">
                  <c:v>38900</c:v>
                </c:pt>
                <c:pt idx="175" formatCode="#,##0.00">
                  <c:v>38970</c:v>
                </c:pt>
                <c:pt idx="176" formatCode="#,##0.00">
                  <c:v>39380</c:v>
                </c:pt>
                <c:pt idx="177" formatCode="#,##0.00">
                  <c:v>39300</c:v>
                </c:pt>
                <c:pt idx="178" formatCode="#,##0.00">
                  <c:v>39450</c:v>
                </c:pt>
                <c:pt idx="179" formatCode="#,##0.00">
                  <c:v>39510</c:v>
                </c:pt>
                <c:pt idx="180" formatCode="#,##0.00">
                  <c:v>39680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Индексы_Мир_СПбМТСБ!$BT$1</c:f>
              <c:strCache>
                <c:ptCount val="1"/>
                <c:pt idx="0">
                  <c:v>Августовсик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T$1166:$BT$1432</c:f>
              <c:numCache>
                <c:formatCode>General</c:formatCode>
                <c:ptCount val="267"/>
                <c:pt idx="139" formatCode="#,##0.00">
                  <c:v>35470</c:v>
                </c:pt>
                <c:pt idx="140" formatCode="#,##0.00">
                  <c:v>35470</c:v>
                </c:pt>
                <c:pt idx="141" formatCode="#,##0.00">
                  <c:v>35470</c:v>
                </c:pt>
                <c:pt idx="142" formatCode="#,##0.00">
                  <c:v>35470</c:v>
                </c:pt>
                <c:pt idx="143" formatCode="#,##0.00">
                  <c:v>35470</c:v>
                </c:pt>
                <c:pt idx="144" formatCode="#,##0.00">
                  <c:v>35470</c:v>
                </c:pt>
                <c:pt idx="145" formatCode="#,##0.00">
                  <c:v>35470</c:v>
                </c:pt>
                <c:pt idx="146" formatCode="#,##0.00">
                  <c:v>35470</c:v>
                </c:pt>
                <c:pt idx="147" formatCode="#,##0.00">
                  <c:v>35470</c:v>
                </c:pt>
                <c:pt idx="148" formatCode="#,##0.00">
                  <c:v>35470</c:v>
                </c:pt>
                <c:pt idx="149" formatCode="#,##0.00">
                  <c:v>35470</c:v>
                </c:pt>
                <c:pt idx="150" formatCode="#,##0.00">
                  <c:v>35470</c:v>
                </c:pt>
                <c:pt idx="151" formatCode="#,##0.00">
                  <c:v>35470</c:v>
                </c:pt>
                <c:pt idx="152" formatCode="#,##0.00">
                  <c:v>35470</c:v>
                </c:pt>
                <c:pt idx="153" formatCode="#,##0.00">
                  <c:v>35470</c:v>
                </c:pt>
                <c:pt idx="154" formatCode="#,##0.00">
                  <c:v>35470</c:v>
                </c:pt>
                <c:pt idx="155" formatCode="#,##0.00">
                  <c:v>35470</c:v>
                </c:pt>
                <c:pt idx="156" formatCode="#,##0.00">
                  <c:v>35470</c:v>
                </c:pt>
                <c:pt idx="157" formatCode="#,##0.00">
                  <c:v>35470</c:v>
                </c:pt>
                <c:pt idx="158" formatCode="#,##0.00">
                  <c:v>36760</c:v>
                </c:pt>
                <c:pt idx="159" formatCode="#,##0.00">
                  <c:v>38010</c:v>
                </c:pt>
                <c:pt idx="160" formatCode="#,##0.00">
                  <c:v>38200</c:v>
                </c:pt>
                <c:pt idx="161" formatCode="#,##0.00">
                  <c:v>38350</c:v>
                </c:pt>
                <c:pt idx="162" formatCode="#,##0.00">
                  <c:v>38800</c:v>
                </c:pt>
                <c:pt idx="163" formatCode="#,##0.00">
                  <c:v>38970</c:v>
                </c:pt>
                <c:pt idx="164" formatCode="#,##0.00">
                  <c:v>39060</c:v>
                </c:pt>
                <c:pt idx="165" formatCode="#,##0.00">
                  <c:v>39270</c:v>
                </c:pt>
                <c:pt idx="166" formatCode="#,##0.00">
                  <c:v>39060</c:v>
                </c:pt>
                <c:pt idx="167" formatCode="#,##0.00">
                  <c:v>38940</c:v>
                </c:pt>
                <c:pt idx="168" formatCode="#,##0.00">
                  <c:v>38670</c:v>
                </c:pt>
                <c:pt idx="169" formatCode="#,##0.00">
                  <c:v>37950</c:v>
                </c:pt>
                <c:pt idx="170" formatCode="#,##0.00">
                  <c:v>37940</c:v>
                </c:pt>
                <c:pt idx="171" formatCode="#,##0.00">
                  <c:v>38000</c:v>
                </c:pt>
                <c:pt idx="172" formatCode="#,##0.00">
                  <c:v>38090</c:v>
                </c:pt>
                <c:pt idx="173" formatCode="#,##0.00">
                  <c:v>38170</c:v>
                </c:pt>
                <c:pt idx="174" formatCode="#,##0.00">
                  <c:v>38300</c:v>
                </c:pt>
                <c:pt idx="175" formatCode="#,##0.00">
                  <c:v>38600</c:v>
                </c:pt>
                <c:pt idx="176" formatCode="#,##0.00">
                  <c:v>38830</c:v>
                </c:pt>
                <c:pt idx="177" formatCode="#,##0.00">
                  <c:v>38770</c:v>
                </c:pt>
                <c:pt idx="178" formatCode="#,##0.00">
                  <c:v>39060</c:v>
                </c:pt>
                <c:pt idx="179" formatCode="#,##0.00">
                  <c:v>39490</c:v>
                </c:pt>
                <c:pt idx="180" formatCode="#,##0.00">
                  <c:v>39490</c:v>
                </c:pt>
                <c:pt idx="181" formatCode="#,##0.00">
                  <c:v>39640</c:v>
                </c:pt>
                <c:pt idx="182" formatCode="#,##0.00">
                  <c:v>39580</c:v>
                </c:pt>
                <c:pt idx="183" formatCode="#,##0.00">
                  <c:v>39430</c:v>
                </c:pt>
                <c:pt idx="184" formatCode="#,##0.00">
                  <c:v>39430</c:v>
                </c:pt>
                <c:pt idx="185" formatCode="#,##0.00">
                  <c:v>39600</c:v>
                </c:pt>
                <c:pt idx="186" formatCode="#,##0.00">
                  <c:v>39600</c:v>
                </c:pt>
                <c:pt idx="187" formatCode="#,##0.00">
                  <c:v>39600</c:v>
                </c:pt>
                <c:pt idx="188" formatCode="#,##0.00">
                  <c:v>39600</c:v>
                </c:pt>
                <c:pt idx="189" formatCode="#,##0.00">
                  <c:v>39600</c:v>
                </c:pt>
                <c:pt idx="190" formatCode="#,##0.00">
                  <c:v>39600</c:v>
                </c:pt>
                <c:pt idx="191" formatCode="#,##0.00">
                  <c:v>39600</c:v>
                </c:pt>
                <c:pt idx="192" formatCode="#,##0.00">
                  <c:v>39780</c:v>
                </c:pt>
                <c:pt idx="193" formatCode="#,##0.00">
                  <c:v>40050</c:v>
                </c:pt>
                <c:pt idx="194" formatCode="#,##0.00">
                  <c:v>40220</c:v>
                </c:pt>
                <c:pt idx="195" formatCode="#,##0.00">
                  <c:v>40360</c:v>
                </c:pt>
                <c:pt idx="196" formatCode="#,##0.00">
                  <c:v>40600</c:v>
                </c:pt>
                <c:pt idx="197" formatCode="#,##0.00">
                  <c:v>40600</c:v>
                </c:pt>
                <c:pt idx="198" formatCode="#,##0.00">
                  <c:v>40850</c:v>
                </c:pt>
                <c:pt idx="199" formatCode="#,##0.00">
                  <c:v>40850</c:v>
                </c:pt>
                <c:pt idx="200" formatCode="#,##0.00">
                  <c:v>40940</c:v>
                </c:pt>
                <c:pt idx="201" formatCode="#,##0.00">
                  <c:v>40970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Индексы_Мир_СПбМТСБ!$BU$1</c:f>
              <c:strCache>
                <c:ptCount val="1"/>
                <c:pt idx="0">
                  <c:v>Сент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U$1166:$BU$1432</c:f>
              <c:numCache>
                <c:formatCode>General</c:formatCode>
                <c:ptCount val="267"/>
                <c:pt idx="158" formatCode="#,##0.00">
                  <c:v>35760</c:v>
                </c:pt>
                <c:pt idx="159" formatCode="#,##0.00">
                  <c:v>35760</c:v>
                </c:pt>
                <c:pt idx="160" formatCode="#,##0.00">
                  <c:v>35760</c:v>
                </c:pt>
                <c:pt idx="161" formatCode="#,##0.00">
                  <c:v>35760</c:v>
                </c:pt>
                <c:pt idx="162" formatCode="#,##0.00">
                  <c:v>35760</c:v>
                </c:pt>
                <c:pt idx="163" formatCode="#,##0.00">
                  <c:v>35760</c:v>
                </c:pt>
                <c:pt idx="164" formatCode="#,##0.00">
                  <c:v>35760</c:v>
                </c:pt>
                <c:pt idx="165" formatCode="#,##0.00">
                  <c:v>37050</c:v>
                </c:pt>
                <c:pt idx="166" formatCode="#,##0.00">
                  <c:v>38400</c:v>
                </c:pt>
                <c:pt idx="167" formatCode="#,##0.00">
                  <c:v>38400</c:v>
                </c:pt>
                <c:pt idx="168" formatCode="#,##0.00">
                  <c:v>38400</c:v>
                </c:pt>
                <c:pt idx="169" formatCode="#,##0.00">
                  <c:v>38400</c:v>
                </c:pt>
                <c:pt idx="170" formatCode="#,##0.00">
                  <c:v>38400</c:v>
                </c:pt>
                <c:pt idx="171" formatCode="#,##0.00">
                  <c:v>38400</c:v>
                </c:pt>
                <c:pt idx="172" formatCode="#,##0.00">
                  <c:v>38400</c:v>
                </c:pt>
                <c:pt idx="173" formatCode="#,##0.00">
                  <c:v>38400</c:v>
                </c:pt>
                <c:pt idx="174" formatCode="#,##0.00">
                  <c:v>38400</c:v>
                </c:pt>
                <c:pt idx="175" formatCode="#,##0.00">
                  <c:v>38400</c:v>
                </c:pt>
                <c:pt idx="176" formatCode="#,##0.00">
                  <c:v>38400</c:v>
                </c:pt>
                <c:pt idx="177" formatCode="#,##0.00">
                  <c:v>38400</c:v>
                </c:pt>
                <c:pt idx="178" formatCode="#,##0.00">
                  <c:v>38400</c:v>
                </c:pt>
                <c:pt idx="179" formatCode="#,##0.00">
                  <c:v>38400</c:v>
                </c:pt>
                <c:pt idx="180" formatCode="#,##0.00">
                  <c:v>38400</c:v>
                </c:pt>
                <c:pt idx="181" formatCode="#,##0.00">
                  <c:v>39250</c:v>
                </c:pt>
                <c:pt idx="182" formatCode="#,##0.00">
                  <c:v>39250</c:v>
                </c:pt>
                <c:pt idx="183" formatCode="#,##0.00">
                  <c:v>39250</c:v>
                </c:pt>
                <c:pt idx="184" formatCode="#,##0.00">
                  <c:v>39250</c:v>
                </c:pt>
                <c:pt idx="185" formatCode="#,##0.00">
                  <c:v>39250</c:v>
                </c:pt>
                <c:pt idx="186" formatCode="#,##0.00">
                  <c:v>39250</c:v>
                </c:pt>
                <c:pt idx="187" formatCode="#,##0.00">
                  <c:v>39400</c:v>
                </c:pt>
                <c:pt idx="188" formatCode="#,##0.00">
                  <c:v>39400</c:v>
                </c:pt>
                <c:pt idx="189" formatCode="#,##0.00">
                  <c:v>39400</c:v>
                </c:pt>
                <c:pt idx="190" formatCode="#,##0.00">
                  <c:v>39400</c:v>
                </c:pt>
                <c:pt idx="191" formatCode="#,##0.00">
                  <c:v>39400</c:v>
                </c:pt>
                <c:pt idx="192" formatCode="#,##0.00">
                  <c:v>39230</c:v>
                </c:pt>
                <c:pt idx="193" formatCode="#,##0.00">
                  <c:v>39250</c:v>
                </c:pt>
                <c:pt idx="194" formatCode="#,##0.00">
                  <c:v>39550</c:v>
                </c:pt>
                <c:pt idx="195" formatCode="#,##0.00">
                  <c:v>39630</c:v>
                </c:pt>
                <c:pt idx="196" formatCode="#,##0.00">
                  <c:v>39750</c:v>
                </c:pt>
                <c:pt idx="197" formatCode="#,##0.00">
                  <c:v>39730</c:v>
                </c:pt>
                <c:pt idx="198" formatCode="#,##0.00">
                  <c:v>39750</c:v>
                </c:pt>
                <c:pt idx="199" formatCode="#,##0.00">
                  <c:v>39900</c:v>
                </c:pt>
                <c:pt idx="200" formatCode="#,##0.00">
                  <c:v>39900</c:v>
                </c:pt>
                <c:pt idx="201" formatCode="#,##0.00">
                  <c:v>40100</c:v>
                </c:pt>
                <c:pt idx="202" formatCode="#,##0.00">
                  <c:v>40560</c:v>
                </c:pt>
                <c:pt idx="203" formatCode="#,##0.00">
                  <c:v>40850</c:v>
                </c:pt>
                <c:pt idx="204" formatCode="#,##0.00">
                  <c:v>41300</c:v>
                </c:pt>
                <c:pt idx="205" formatCode="#,##0.00">
                  <c:v>41400</c:v>
                </c:pt>
                <c:pt idx="206" formatCode="#,##0.00">
                  <c:v>41400</c:v>
                </c:pt>
                <c:pt idx="207" formatCode="#,##0.00">
                  <c:v>41340</c:v>
                </c:pt>
                <c:pt idx="208" formatCode="#,##0.00">
                  <c:v>41450</c:v>
                </c:pt>
                <c:pt idx="209" formatCode="#,##0.00">
                  <c:v>41420</c:v>
                </c:pt>
                <c:pt idx="210" formatCode="#,##0.00">
                  <c:v>40760</c:v>
                </c:pt>
                <c:pt idx="211" formatCode="#,##0.00">
                  <c:v>40500</c:v>
                </c:pt>
                <c:pt idx="212" formatCode="#,##0.00">
                  <c:v>40700</c:v>
                </c:pt>
                <c:pt idx="213" formatCode="#,##0.00">
                  <c:v>40910</c:v>
                </c:pt>
                <c:pt idx="214" formatCode="#,##0.00">
                  <c:v>41250</c:v>
                </c:pt>
                <c:pt idx="215" formatCode="#,##0.00">
                  <c:v>41240</c:v>
                </c:pt>
                <c:pt idx="216" formatCode="#,##0.00">
                  <c:v>41230</c:v>
                </c:pt>
                <c:pt idx="217" formatCode="#,##0.00">
                  <c:v>41230</c:v>
                </c:pt>
                <c:pt idx="218" formatCode="#,##0.00">
                  <c:v>41230</c:v>
                </c:pt>
                <c:pt idx="219" formatCode="#,##0.00">
                  <c:v>41010</c:v>
                </c:pt>
                <c:pt idx="220" formatCode="#,##0.00">
                  <c:v>41080</c:v>
                </c:pt>
                <c:pt idx="221" formatCode="#,##0.00">
                  <c:v>41250</c:v>
                </c:pt>
                <c:pt idx="222" formatCode="#,##0.00">
                  <c:v>41390</c:v>
                </c:pt>
                <c:pt idx="223" formatCode="#,##0.00">
                  <c:v>41490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Индексы_Мир_СПбМТСБ!$BL$1</c:f>
              <c:strCache>
                <c:ptCount val="1"/>
                <c:pt idx="0">
                  <c:v>Окт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V$1166:$BV$1432</c:f>
              <c:numCache>
                <c:formatCode>General</c:formatCode>
                <c:ptCount val="267"/>
                <c:pt idx="181" formatCode="#,##0.00">
                  <c:v>38720</c:v>
                </c:pt>
                <c:pt idx="182" formatCode="#,##0.00">
                  <c:v>38720</c:v>
                </c:pt>
                <c:pt idx="183" formatCode="#,##0.00">
                  <c:v>38720</c:v>
                </c:pt>
                <c:pt idx="184" formatCode="#,##0.00">
                  <c:v>38720</c:v>
                </c:pt>
                <c:pt idx="185" formatCode="#,##0.00">
                  <c:v>38720</c:v>
                </c:pt>
                <c:pt idx="186" formatCode="#,##0.00">
                  <c:v>38720</c:v>
                </c:pt>
                <c:pt idx="187" formatCode="#,##0.00">
                  <c:v>38720</c:v>
                </c:pt>
                <c:pt idx="188" formatCode="#,##0.00">
                  <c:v>38720</c:v>
                </c:pt>
                <c:pt idx="189" formatCode="#,##0.00">
                  <c:v>38720</c:v>
                </c:pt>
                <c:pt idx="190" formatCode="#,##0.00">
                  <c:v>38720</c:v>
                </c:pt>
                <c:pt idx="191" formatCode="#,##0.00">
                  <c:v>38720</c:v>
                </c:pt>
                <c:pt idx="192" formatCode="#,##0.00">
                  <c:v>38720</c:v>
                </c:pt>
                <c:pt idx="193" formatCode="#,##0.00">
                  <c:v>38720</c:v>
                </c:pt>
                <c:pt idx="194" formatCode="#,##0.00">
                  <c:v>38720</c:v>
                </c:pt>
                <c:pt idx="195" formatCode="#,##0.00">
                  <c:v>38720</c:v>
                </c:pt>
                <c:pt idx="196" formatCode="#,##0.00">
                  <c:v>38720</c:v>
                </c:pt>
                <c:pt idx="197" formatCode="#,##0.00">
                  <c:v>38720</c:v>
                </c:pt>
                <c:pt idx="198" formatCode="#,##0.00">
                  <c:v>38720</c:v>
                </c:pt>
                <c:pt idx="199" formatCode="#,##0.00">
                  <c:v>38720</c:v>
                </c:pt>
                <c:pt idx="200" formatCode="#,##0.00">
                  <c:v>38720</c:v>
                </c:pt>
                <c:pt idx="201" formatCode="#,##0.00">
                  <c:v>38720</c:v>
                </c:pt>
                <c:pt idx="202" formatCode="#,##0.00">
                  <c:v>39250</c:v>
                </c:pt>
                <c:pt idx="203" formatCode="#,##0.00">
                  <c:v>39360</c:v>
                </c:pt>
                <c:pt idx="204" formatCode="#,##0.00">
                  <c:v>39550</c:v>
                </c:pt>
                <c:pt idx="205" formatCode="#,##0.00">
                  <c:v>40380</c:v>
                </c:pt>
                <c:pt idx="206" formatCode="#,##0.00">
                  <c:v>40300</c:v>
                </c:pt>
                <c:pt idx="207" formatCode="#,##0.00">
                  <c:v>40250</c:v>
                </c:pt>
                <c:pt idx="208" formatCode="#,##0.00">
                  <c:v>40250</c:v>
                </c:pt>
                <c:pt idx="209" formatCode="#,##0.00">
                  <c:v>40200</c:v>
                </c:pt>
                <c:pt idx="210" formatCode="#,##0.00">
                  <c:v>39950</c:v>
                </c:pt>
                <c:pt idx="211" formatCode="#,##0.00">
                  <c:v>39750</c:v>
                </c:pt>
                <c:pt idx="212" formatCode="#,##0.00">
                  <c:v>39750</c:v>
                </c:pt>
                <c:pt idx="213" formatCode="#,##0.00">
                  <c:v>39960</c:v>
                </c:pt>
                <c:pt idx="214" formatCode="#,##0.00">
                  <c:v>40010</c:v>
                </c:pt>
                <c:pt idx="215" formatCode="#,##0.00">
                  <c:v>40010</c:v>
                </c:pt>
                <c:pt idx="216" formatCode="#,##0.00">
                  <c:v>40050</c:v>
                </c:pt>
                <c:pt idx="217" formatCode="#,##0.00">
                  <c:v>40050</c:v>
                </c:pt>
                <c:pt idx="218" formatCode="#,##0.00">
                  <c:v>40050</c:v>
                </c:pt>
                <c:pt idx="219" formatCode="#,##0.00">
                  <c:v>40050</c:v>
                </c:pt>
                <c:pt idx="220" formatCode="#,##0.00">
                  <c:v>40050</c:v>
                </c:pt>
                <c:pt idx="221" formatCode="#,##0.00">
                  <c:v>40200</c:v>
                </c:pt>
                <c:pt idx="222" formatCode="#,##0.00">
                  <c:v>40300</c:v>
                </c:pt>
                <c:pt idx="223" formatCode="#,##0.00">
                  <c:v>40400</c:v>
                </c:pt>
                <c:pt idx="224" formatCode="#,##0.00">
                  <c:v>40660</c:v>
                </c:pt>
                <c:pt idx="225" formatCode="#,##0.00">
                  <c:v>40650</c:v>
                </c:pt>
                <c:pt idx="226" formatCode="#,##0.00">
                  <c:v>40540</c:v>
                </c:pt>
                <c:pt idx="227" formatCode="#,##0.00">
                  <c:v>40700</c:v>
                </c:pt>
                <c:pt idx="228" formatCode="#,##0.00">
                  <c:v>40450</c:v>
                </c:pt>
                <c:pt idx="229" formatCode="#,##0.00">
                  <c:v>40100</c:v>
                </c:pt>
                <c:pt idx="230" formatCode="#,##0.00">
                  <c:v>40450</c:v>
                </c:pt>
                <c:pt idx="231" formatCode="#,##0.00">
                  <c:v>40520</c:v>
                </c:pt>
                <c:pt idx="232" formatCode="#,##0.00">
                  <c:v>40600</c:v>
                </c:pt>
                <c:pt idx="233" formatCode="#,##0.00">
                  <c:v>40650</c:v>
                </c:pt>
                <c:pt idx="234" formatCode="#,##0.00">
                  <c:v>40650</c:v>
                </c:pt>
                <c:pt idx="235" formatCode="#,##0.00">
                  <c:v>40760</c:v>
                </c:pt>
                <c:pt idx="236" formatCode="#,##0.00">
                  <c:v>41050</c:v>
                </c:pt>
                <c:pt idx="237" formatCode="#,##0.00">
                  <c:v>41050</c:v>
                </c:pt>
                <c:pt idx="238" formatCode="#,##0.00">
                  <c:v>40730</c:v>
                </c:pt>
                <c:pt idx="239" formatCode="#,##0.00">
                  <c:v>40570</c:v>
                </c:pt>
                <c:pt idx="240" formatCode="#,##0.00">
                  <c:v>40300</c:v>
                </c:pt>
                <c:pt idx="241" formatCode="#,##0.00">
                  <c:v>40300</c:v>
                </c:pt>
                <c:pt idx="242" formatCode="#,##0.00">
                  <c:v>40300</c:v>
                </c:pt>
                <c:pt idx="243" formatCode="#,##0.00">
                  <c:v>40300</c:v>
                </c:pt>
                <c:pt idx="244" formatCode="#,##0.00">
                  <c:v>40300</c:v>
                </c:pt>
                <c:pt idx="245" formatCode="#,##0.00">
                  <c:v>40300</c:v>
                </c:pt>
                <c:pt idx="246" formatCode="#,##0.00">
                  <c:v>40250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Индексы_Мир_СПбМТСБ!$BW$1</c:f>
              <c:strCache>
                <c:ptCount val="1"/>
                <c:pt idx="0">
                  <c:v>Ноябрьский фьючерс</c:v>
                </c:pt>
              </c:strCache>
            </c:strRef>
          </c:tx>
          <c:marker>
            <c:symbol val="none"/>
          </c:marker>
          <c:cat>
            <c:numRef>
              <c:f>Индексы_Мир_СПбМТСБ!$F$1207:$F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BW$1166:$BW$1432</c:f>
              <c:numCache>
                <c:formatCode>General</c:formatCode>
                <c:ptCount val="267"/>
                <c:pt idx="202" formatCode="#,##0.00">
                  <c:v>38060</c:v>
                </c:pt>
                <c:pt idx="203" formatCode="#,##0.00">
                  <c:v>38060</c:v>
                </c:pt>
                <c:pt idx="204" formatCode="#,##0.00">
                  <c:v>38060</c:v>
                </c:pt>
                <c:pt idx="205" formatCode="#,##0.00">
                  <c:v>38060</c:v>
                </c:pt>
                <c:pt idx="206" formatCode="#,##0.00">
                  <c:v>38060</c:v>
                </c:pt>
                <c:pt idx="207" formatCode="#,##0.00">
                  <c:v>38060</c:v>
                </c:pt>
                <c:pt idx="208" formatCode="#,##0.00">
                  <c:v>38060</c:v>
                </c:pt>
                <c:pt idx="209" formatCode="#,##0.00">
                  <c:v>38060</c:v>
                </c:pt>
                <c:pt idx="210" formatCode="#,##0.00">
                  <c:v>38060</c:v>
                </c:pt>
                <c:pt idx="211" formatCode="#,##0.00">
                  <c:v>38060</c:v>
                </c:pt>
                <c:pt idx="212" formatCode="#,##0.00">
                  <c:v>38060</c:v>
                </c:pt>
                <c:pt idx="213" formatCode="#,##0.00">
                  <c:v>38060</c:v>
                </c:pt>
                <c:pt idx="214" formatCode="#,##0.00">
                  <c:v>38060</c:v>
                </c:pt>
                <c:pt idx="215" formatCode="#,##0.00">
                  <c:v>38060</c:v>
                </c:pt>
                <c:pt idx="216" formatCode="#,##0.00">
                  <c:v>38060</c:v>
                </c:pt>
                <c:pt idx="217" formatCode="#,##0.00">
                  <c:v>38060</c:v>
                </c:pt>
                <c:pt idx="218" formatCode="#,##0.00">
                  <c:v>38060</c:v>
                </c:pt>
                <c:pt idx="219" formatCode="#,##0.00">
                  <c:v>38060</c:v>
                </c:pt>
                <c:pt idx="220" formatCode="#,##0.00">
                  <c:v>38060</c:v>
                </c:pt>
                <c:pt idx="221" formatCode="#,##0.00">
                  <c:v>38060</c:v>
                </c:pt>
                <c:pt idx="222" formatCode="#,##0.00">
                  <c:v>38060</c:v>
                </c:pt>
                <c:pt idx="223" formatCode="#,##0.00">
                  <c:v>38060</c:v>
                </c:pt>
                <c:pt idx="224" formatCode="#,##0.00">
                  <c:v>38550</c:v>
                </c:pt>
                <c:pt idx="225" formatCode="#,##0.00">
                  <c:v>38950</c:v>
                </c:pt>
                <c:pt idx="226" formatCode="#,##0.00">
                  <c:v>38950</c:v>
                </c:pt>
                <c:pt idx="227" formatCode="#,##0.00">
                  <c:v>38950</c:v>
                </c:pt>
                <c:pt idx="228" formatCode="#,##0.00">
                  <c:v>38950</c:v>
                </c:pt>
                <c:pt idx="229" formatCode="#,##0.00">
                  <c:v>38950</c:v>
                </c:pt>
                <c:pt idx="230" formatCode="#,##0.00">
                  <c:v>39000</c:v>
                </c:pt>
                <c:pt idx="231" formatCode="#,##0.00">
                  <c:v>39000</c:v>
                </c:pt>
                <c:pt idx="232" formatCode="#,##0.00">
                  <c:v>39000</c:v>
                </c:pt>
                <c:pt idx="233" formatCode="#,##0.00">
                  <c:v>38840</c:v>
                </c:pt>
                <c:pt idx="234" formatCode="#,##0.00">
                  <c:v>38730</c:v>
                </c:pt>
                <c:pt idx="235" formatCode="#,##0.00">
                  <c:v>38700</c:v>
                </c:pt>
                <c:pt idx="236" formatCode="#,##0.00">
                  <c:v>38700</c:v>
                </c:pt>
                <c:pt idx="237" formatCode="#,##0.00">
                  <c:v>38700</c:v>
                </c:pt>
                <c:pt idx="238" formatCode="#,##0.00">
                  <c:v>38180</c:v>
                </c:pt>
                <c:pt idx="239" formatCode="#,##0.00">
                  <c:v>38050</c:v>
                </c:pt>
                <c:pt idx="240" formatCode="#,##0.00">
                  <c:v>37890</c:v>
                </c:pt>
                <c:pt idx="241" formatCode="#,##0.00">
                  <c:v>37880</c:v>
                </c:pt>
                <c:pt idx="242" formatCode="#,##0.00">
                  <c:v>37750</c:v>
                </c:pt>
                <c:pt idx="243" formatCode="#,##0.00">
                  <c:v>37550</c:v>
                </c:pt>
                <c:pt idx="244" formatCode="#,##0.00">
                  <c:v>37550</c:v>
                </c:pt>
                <c:pt idx="245" formatCode="#,##0.00">
                  <c:v>37550</c:v>
                </c:pt>
                <c:pt idx="246" formatCode="#,##0.00">
                  <c:v>37550</c:v>
                </c:pt>
                <c:pt idx="247" formatCode="#,##0.00">
                  <c:v>37640</c:v>
                </c:pt>
                <c:pt idx="248" formatCode="#,##0.00">
                  <c:v>37660</c:v>
                </c:pt>
                <c:pt idx="249" formatCode="#,##0.00">
                  <c:v>37720</c:v>
                </c:pt>
                <c:pt idx="250" formatCode="#,##0.00">
                  <c:v>37720</c:v>
                </c:pt>
                <c:pt idx="251" formatCode="#,##0.00">
                  <c:v>37840</c:v>
                </c:pt>
                <c:pt idx="252" formatCode="#,##0.00">
                  <c:v>38520</c:v>
                </c:pt>
                <c:pt idx="253" formatCode="#,##0.00">
                  <c:v>38510</c:v>
                </c:pt>
                <c:pt idx="254" formatCode="#,##0.00">
                  <c:v>38510</c:v>
                </c:pt>
                <c:pt idx="255" formatCode="#,##0.00">
                  <c:v>38140</c:v>
                </c:pt>
                <c:pt idx="256" formatCode="#,##0.00">
                  <c:v>37890</c:v>
                </c:pt>
                <c:pt idx="257" formatCode="#,##0.00">
                  <c:v>37600</c:v>
                </c:pt>
                <c:pt idx="258" formatCode="#,##0.00">
                  <c:v>37400</c:v>
                </c:pt>
                <c:pt idx="259" formatCode="#,##0.00">
                  <c:v>37410</c:v>
                </c:pt>
                <c:pt idx="260" formatCode="#,##0.00">
                  <c:v>37410</c:v>
                </c:pt>
                <c:pt idx="261" formatCode="#,##0.00">
                  <c:v>36780</c:v>
                </c:pt>
                <c:pt idx="262" formatCode="#,##0.00">
                  <c:v>36270</c:v>
                </c:pt>
                <c:pt idx="263" formatCode="#,##0.00">
                  <c:v>36000</c:v>
                </c:pt>
                <c:pt idx="264" formatCode="#,##0.00">
                  <c:v>359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845888"/>
        <c:axId val="639215296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spPr>
            <a:ln w="571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A$1207:$A$1462</c:f>
              <c:numCache>
                <c:formatCode>m/d/yyyy</c:formatCode>
                <c:ptCount val="256"/>
                <c:pt idx="0">
                  <c:v>41648</c:v>
                </c:pt>
                <c:pt idx="1">
                  <c:v>41649</c:v>
                </c:pt>
                <c:pt idx="2">
                  <c:v>41652</c:v>
                </c:pt>
                <c:pt idx="3">
                  <c:v>41653</c:v>
                </c:pt>
                <c:pt idx="4">
                  <c:v>41654</c:v>
                </c:pt>
                <c:pt idx="5">
                  <c:v>41655</c:v>
                </c:pt>
                <c:pt idx="6">
                  <c:v>41656</c:v>
                </c:pt>
                <c:pt idx="7">
                  <c:v>41659</c:v>
                </c:pt>
                <c:pt idx="8">
                  <c:v>41660</c:v>
                </c:pt>
                <c:pt idx="9">
                  <c:v>41661</c:v>
                </c:pt>
                <c:pt idx="10">
                  <c:v>41662</c:v>
                </c:pt>
                <c:pt idx="11">
                  <c:v>41663</c:v>
                </c:pt>
                <c:pt idx="12">
                  <c:v>41666</c:v>
                </c:pt>
                <c:pt idx="13">
                  <c:v>41667</c:v>
                </c:pt>
                <c:pt idx="14">
                  <c:v>41668</c:v>
                </c:pt>
                <c:pt idx="15">
                  <c:v>41669</c:v>
                </c:pt>
                <c:pt idx="16">
                  <c:v>41670</c:v>
                </c:pt>
                <c:pt idx="17">
                  <c:v>41673</c:v>
                </c:pt>
                <c:pt idx="18">
                  <c:v>41674</c:v>
                </c:pt>
                <c:pt idx="19">
                  <c:v>41675</c:v>
                </c:pt>
                <c:pt idx="20">
                  <c:v>41676</c:v>
                </c:pt>
                <c:pt idx="21">
                  <c:v>41677</c:v>
                </c:pt>
                <c:pt idx="22">
                  <c:v>41680</c:v>
                </c:pt>
                <c:pt idx="23">
                  <c:v>41681</c:v>
                </c:pt>
                <c:pt idx="24">
                  <c:v>41682</c:v>
                </c:pt>
                <c:pt idx="25">
                  <c:v>41683</c:v>
                </c:pt>
                <c:pt idx="26">
                  <c:v>41684</c:v>
                </c:pt>
                <c:pt idx="27">
                  <c:v>41687</c:v>
                </c:pt>
                <c:pt idx="28">
                  <c:v>41688</c:v>
                </c:pt>
                <c:pt idx="29">
                  <c:v>41689</c:v>
                </c:pt>
                <c:pt idx="30">
                  <c:v>41690</c:v>
                </c:pt>
                <c:pt idx="31">
                  <c:v>41691</c:v>
                </c:pt>
                <c:pt idx="32">
                  <c:v>41694</c:v>
                </c:pt>
                <c:pt idx="33">
                  <c:v>41695</c:v>
                </c:pt>
                <c:pt idx="34">
                  <c:v>41696</c:v>
                </c:pt>
                <c:pt idx="35">
                  <c:v>41697</c:v>
                </c:pt>
                <c:pt idx="36">
                  <c:v>41698</c:v>
                </c:pt>
                <c:pt idx="37">
                  <c:v>41701</c:v>
                </c:pt>
                <c:pt idx="38">
                  <c:v>41702</c:v>
                </c:pt>
                <c:pt idx="39">
                  <c:v>41703</c:v>
                </c:pt>
                <c:pt idx="40">
                  <c:v>41704</c:v>
                </c:pt>
                <c:pt idx="41">
                  <c:v>41705</c:v>
                </c:pt>
                <c:pt idx="42">
                  <c:v>41709</c:v>
                </c:pt>
                <c:pt idx="43">
                  <c:v>41710</c:v>
                </c:pt>
                <c:pt idx="44">
                  <c:v>41711</c:v>
                </c:pt>
                <c:pt idx="45">
                  <c:v>41712</c:v>
                </c:pt>
                <c:pt idx="46">
                  <c:v>41715</c:v>
                </c:pt>
                <c:pt idx="47">
                  <c:v>41716</c:v>
                </c:pt>
                <c:pt idx="48">
                  <c:v>41717</c:v>
                </c:pt>
                <c:pt idx="49">
                  <c:v>41718</c:v>
                </c:pt>
                <c:pt idx="50">
                  <c:v>41719</c:v>
                </c:pt>
                <c:pt idx="51">
                  <c:v>41722</c:v>
                </c:pt>
                <c:pt idx="52">
                  <c:v>41723</c:v>
                </c:pt>
                <c:pt idx="53">
                  <c:v>41724</c:v>
                </c:pt>
                <c:pt idx="54">
                  <c:v>41725</c:v>
                </c:pt>
                <c:pt idx="55">
                  <c:v>41726</c:v>
                </c:pt>
                <c:pt idx="56">
                  <c:v>41729</c:v>
                </c:pt>
                <c:pt idx="57">
                  <c:v>41730</c:v>
                </c:pt>
                <c:pt idx="58">
                  <c:v>41731</c:v>
                </c:pt>
                <c:pt idx="59">
                  <c:v>41732</c:v>
                </c:pt>
                <c:pt idx="60">
                  <c:v>41733</c:v>
                </c:pt>
                <c:pt idx="61">
                  <c:v>41736</c:v>
                </c:pt>
                <c:pt idx="62">
                  <c:v>41737</c:v>
                </c:pt>
                <c:pt idx="63">
                  <c:v>41738</c:v>
                </c:pt>
                <c:pt idx="64">
                  <c:v>41739</c:v>
                </c:pt>
                <c:pt idx="65">
                  <c:v>41740</c:v>
                </c:pt>
                <c:pt idx="66">
                  <c:v>41743</c:v>
                </c:pt>
                <c:pt idx="67">
                  <c:v>41744</c:v>
                </c:pt>
                <c:pt idx="68">
                  <c:v>41745</c:v>
                </c:pt>
                <c:pt idx="69">
                  <c:v>41746</c:v>
                </c:pt>
                <c:pt idx="70">
                  <c:v>41747</c:v>
                </c:pt>
                <c:pt idx="71">
                  <c:v>41750</c:v>
                </c:pt>
                <c:pt idx="72">
                  <c:v>41751</c:v>
                </c:pt>
                <c:pt idx="73">
                  <c:v>41752</c:v>
                </c:pt>
                <c:pt idx="74">
                  <c:v>41753</c:v>
                </c:pt>
                <c:pt idx="75">
                  <c:v>41754</c:v>
                </c:pt>
                <c:pt idx="76">
                  <c:v>41757</c:v>
                </c:pt>
                <c:pt idx="77">
                  <c:v>41758</c:v>
                </c:pt>
                <c:pt idx="78">
                  <c:v>41759</c:v>
                </c:pt>
                <c:pt idx="79">
                  <c:v>41764</c:v>
                </c:pt>
                <c:pt idx="80">
                  <c:v>41765</c:v>
                </c:pt>
                <c:pt idx="81">
                  <c:v>41766</c:v>
                </c:pt>
                <c:pt idx="82">
                  <c:v>41767</c:v>
                </c:pt>
                <c:pt idx="83">
                  <c:v>41771</c:v>
                </c:pt>
                <c:pt idx="84">
                  <c:v>41772</c:v>
                </c:pt>
                <c:pt idx="85">
                  <c:v>41773</c:v>
                </c:pt>
                <c:pt idx="86">
                  <c:v>41774</c:v>
                </c:pt>
                <c:pt idx="87">
                  <c:v>41775</c:v>
                </c:pt>
                <c:pt idx="88">
                  <c:v>41778</c:v>
                </c:pt>
                <c:pt idx="89">
                  <c:v>41779</c:v>
                </c:pt>
                <c:pt idx="90">
                  <c:v>41780</c:v>
                </c:pt>
                <c:pt idx="91">
                  <c:v>41781</c:v>
                </c:pt>
                <c:pt idx="92">
                  <c:v>41782</c:v>
                </c:pt>
                <c:pt idx="93">
                  <c:v>41785</c:v>
                </c:pt>
                <c:pt idx="94">
                  <c:v>41786</c:v>
                </c:pt>
                <c:pt idx="95">
                  <c:v>41787</c:v>
                </c:pt>
                <c:pt idx="96">
                  <c:v>41788</c:v>
                </c:pt>
                <c:pt idx="97">
                  <c:v>41789</c:v>
                </c:pt>
                <c:pt idx="98">
                  <c:v>41792</c:v>
                </c:pt>
                <c:pt idx="99">
                  <c:v>41793</c:v>
                </c:pt>
                <c:pt idx="100">
                  <c:v>41794</c:v>
                </c:pt>
                <c:pt idx="101">
                  <c:v>41795</c:v>
                </c:pt>
                <c:pt idx="102">
                  <c:v>41796</c:v>
                </c:pt>
                <c:pt idx="103">
                  <c:v>41799</c:v>
                </c:pt>
                <c:pt idx="104">
                  <c:v>41800</c:v>
                </c:pt>
                <c:pt idx="105">
                  <c:v>41801</c:v>
                </c:pt>
                <c:pt idx="106">
                  <c:v>41806</c:v>
                </c:pt>
                <c:pt idx="107">
                  <c:v>41807</c:v>
                </c:pt>
                <c:pt idx="108">
                  <c:v>41808</c:v>
                </c:pt>
                <c:pt idx="109">
                  <c:v>41809</c:v>
                </c:pt>
                <c:pt idx="110">
                  <c:v>41810</c:v>
                </c:pt>
                <c:pt idx="111">
                  <c:v>41813</c:v>
                </c:pt>
                <c:pt idx="112">
                  <c:v>41814</c:v>
                </c:pt>
                <c:pt idx="113">
                  <c:v>41815</c:v>
                </c:pt>
                <c:pt idx="114">
                  <c:v>41816</c:v>
                </c:pt>
                <c:pt idx="115">
                  <c:v>41817</c:v>
                </c:pt>
                <c:pt idx="116">
                  <c:v>41820</c:v>
                </c:pt>
                <c:pt idx="117">
                  <c:v>41821</c:v>
                </c:pt>
                <c:pt idx="118">
                  <c:v>41822</c:v>
                </c:pt>
                <c:pt idx="119">
                  <c:v>41823</c:v>
                </c:pt>
                <c:pt idx="120">
                  <c:v>41824</c:v>
                </c:pt>
                <c:pt idx="121">
                  <c:v>41827</c:v>
                </c:pt>
                <c:pt idx="122">
                  <c:v>41828</c:v>
                </c:pt>
                <c:pt idx="123">
                  <c:v>41829</c:v>
                </c:pt>
                <c:pt idx="124">
                  <c:v>41830</c:v>
                </c:pt>
                <c:pt idx="125">
                  <c:v>41831</c:v>
                </c:pt>
                <c:pt idx="126">
                  <c:v>41834</c:v>
                </c:pt>
                <c:pt idx="127">
                  <c:v>41835</c:v>
                </c:pt>
                <c:pt idx="128">
                  <c:v>41836</c:v>
                </c:pt>
                <c:pt idx="129">
                  <c:v>41837</c:v>
                </c:pt>
                <c:pt idx="130">
                  <c:v>41838</c:v>
                </c:pt>
                <c:pt idx="131">
                  <c:v>41841</c:v>
                </c:pt>
                <c:pt idx="132">
                  <c:v>41842</c:v>
                </c:pt>
                <c:pt idx="133">
                  <c:v>41843</c:v>
                </c:pt>
                <c:pt idx="134">
                  <c:v>41844</c:v>
                </c:pt>
                <c:pt idx="135">
                  <c:v>41845</c:v>
                </c:pt>
                <c:pt idx="136">
                  <c:v>41848</c:v>
                </c:pt>
                <c:pt idx="137">
                  <c:v>41849</c:v>
                </c:pt>
                <c:pt idx="138">
                  <c:v>41850</c:v>
                </c:pt>
                <c:pt idx="139">
                  <c:v>41851</c:v>
                </c:pt>
                <c:pt idx="140">
                  <c:v>41852</c:v>
                </c:pt>
                <c:pt idx="141">
                  <c:v>41855</c:v>
                </c:pt>
                <c:pt idx="142">
                  <c:v>41856</c:v>
                </c:pt>
                <c:pt idx="143">
                  <c:v>41857</c:v>
                </c:pt>
                <c:pt idx="144">
                  <c:v>41858</c:v>
                </c:pt>
                <c:pt idx="145">
                  <c:v>41859</c:v>
                </c:pt>
                <c:pt idx="146">
                  <c:v>41862</c:v>
                </c:pt>
                <c:pt idx="147">
                  <c:v>41863</c:v>
                </c:pt>
                <c:pt idx="148">
                  <c:v>41864</c:v>
                </c:pt>
                <c:pt idx="149">
                  <c:v>41865</c:v>
                </c:pt>
                <c:pt idx="150">
                  <c:v>41866</c:v>
                </c:pt>
                <c:pt idx="151">
                  <c:v>41869</c:v>
                </c:pt>
                <c:pt idx="152">
                  <c:v>41870</c:v>
                </c:pt>
                <c:pt idx="153">
                  <c:v>41871</c:v>
                </c:pt>
                <c:pt idx="154">
                  <c:v>41872</c:v>
                </c:pt>
                <c:pt idx="155">
                  <c:v>41873</c:v>
                </c:pt>
                <c:pt idx="156">
                  <c:v>41876</c:v>
                </c:pt>
                <c:pt idx="157">
                  <c:v>41877</c:v>
                </c:pt>
                <c:pt idx="158">
                  <c:v>41878</c:v>
                </c:pt>
                <c:pt idx="159">
                  <c:v>41879</c:v>
                </c:pt>
                <c:pt idx="160">
                  <c:v>41880</c:v>
                </c:pt>
                <c:pt idx="161">
                  <c:v>41883</c:v>
                </c:pt>
                <c:pt idx="162">
                  <c:v>41884</c:v>
                </c:pt>
                <c:pt idx="163">
                  <c:v>41885</c:v>
                </c:pt>
                <c:pt idx="164">
                  <c:v>41886</c:v>
                </c:pt>
                <c:pt idx="165">
                  <c:v>41887</c:v>
                </c:pt>
                <c:pt idx="166">
                  <c:v>41890</c:v>
                </c:pt>
                <c:pt idx="167">
                  <c:v>41891</c:v>
                </c:pt>
                <c:pt idx="168">
                  <c:v>41892</c:v>
                </c:pt>
                <c:pt idx="169">
                  <c:v>41893</c:v>
                </c:pt>
                <c:pt idx="170">
                  <c:v>41894</c:v>
                </c:pt>
                <c:pt idx="171">
                  <c:v>41897</c:v>
                </c:pt>
                <c:pt idx="172">
                  <c:v>41898</c:v>
                </c:pt>
                <c:pt idx="173">
                  <c:v>41899</c:v>
                </c:pt>
                <c:pt idx="174">
                  <c:v>41900</c:v>
                </c:pt>
                <c:pt idx="175">
                  <c:v>41901</c:v>
                </c:pt>
                <c:pt idx="176">
                  <c:v>41904</c:v>
                </c:pt>
                <c:pt idx="177">
                  <c:v>41905</c:v>
                </c:pt>
                <c:pt idx="178">
                  <c:v>41906</c:v>
                </c:pt>
                <c:pt idx="179">
                  <c:v>41907</c:v>
                </c:pt>
                <c:pt idx="180">
                  <c:v>41908</c:v>
                </c:pt>
                <c:pt idx="181">
                  <c:v>41911</c:v>
                </c:pt>
                <c:pt idx="182">
                  <c:v>41912</c:v>
                </c:pt>
                <c:pt idx="183">
                  <c:v>41913</c:v>
                </c:pt>
                <c:pt idx="184">
                  <c:v>41914</c:v>
                </c:pt>
                <c:pt idx="185">
                  <c:v>41915</c:v>
                </c:pt>
                <c:pt idx="186">
                  <c:v>41918</c:v>
                </c:pt>
                <c:pt idx="187">
                  <c:v>41919</c:v>
                </c:pt>
                <c:pt idx="188">
                  <c:v>41920</c:v>
                </c:pt>
                <c:pt idx="189">
                  <c:v>41921</c:v>
                </c:pt>
                <c:pt idx="190">
                  <c:v>41922</c:v>
                </c:pt>
                <c:pt idx="191">
                  <c:v>41925</c:v>
                </c:pt>
                <c:pt idx="192">
                  <c:v>41926</c:v>
                </c:pt>
                <c:pt idx="193">
                  <c:v>41927</c:v>
                </c:pt>
                <c:pt idx="194">
                  <c:v>41928</c:v>
                </c:pt>
                <c:pt idx="195">
                  <c:v>41929</c:v>
                </c:pt>
                <c:pt idx="196">
                  <c:v>41932</c:v>
                </c:pt>
                <c:pt idx="197">
                  <c:v>41933</c:v>
                </c:pt>
                <c:pt idx="198">
                  <c:v>41934</c:v>
                </c:pt>
                <c:pt idx="199">
                  <c:v>41935</c:v>
                </c:pt>
                <c:pt idx="200">
                  <c:v>41936</c:v>
                </c:pt>
                <c:pt idx="201">
                  <c:v>41939</c:v>
                </c:pt>
                <c:pt idx="202">
                  <c:v>41940</c:v>
                </c:pt>
                <c:pt idx="203">
                  <c:v>41941</c:v>
                </c:pt>
                <c:pt idx="204">
                  <c:v>41942</c:v>
                </c:pt>
                <c:pt idx="205">
                  <c:v>41943</c:v>
                </c:pt>
                <c:pt idx="206">
                  <c:v>41948</c:v>
                </c:pt>
                <c:pt idx="207">
                  <c:v>41949</c:v>
                </c:pt>
                <c:pt idx="208">
                  <c:v>41950</c:v>
                </c:pt>
                <c:pt idx="209">
                  <c:v>41953</c:v>
                </c:pt>
                <c:pt idx="210">
                  <c:v>41954</c:v>
                </c:pt>
                <c:pt idx="211">
                  <c:v>41955</c:v>
                </c:pt>
                <c:pt idx="212">
                  <c:v>41956</c:v>
                </c:pt>
                <c:pt idx="213">
                  <c:v>41957</c:v>
                </c:pt>
                <c:pt idx="214">
                  <c:v>41960</c:v>
                </c:pt>
                <c:pt idx="215">
                  <c:v>41961</c:v>
                </c:pt>
                <c:pt idx="216">
                  <c:v>41962</c:v>
                </c:pt>
                <c:pt idx="217">
                  <c:v>41963</c:v>
                </c:pt>
                <c:pt idx="218">
                  <c:v>41964</c:v>
                </c:pt>
                <c:pt idx="219">
                  <c:v>41967</c:v>
                </c:pt>
                <c:pt idx="220">
                  <c:v>41968</c:v>
                </c:pt>
                <c:pt idx="221">
                  <c:v>41969</c:v>
                </c:pt>
                <c:pt idx="222">
                  <c:v>41970</c:v>
                </c:pt>
                <c:pt idx="223">
                  <c:v>41971</c:v>
                </c:pt>
                <c:pt idx="224">
                  <c:v>41974</c:v>
                </c:pt>
                <c:pt idx="225">
                  <c:v>41975</c:v>
                </c:pt>
                <c:pt idx="226">
                  <c:v>41976</c:v>
                </c:pt>
                <c:pt idx="227">
                  <c:v>41977</c:v>
                </c:pt>
                <c:pt idx="228">
                  <c:v>41978</c:v>
                </c:pt>
                <c:pt idx="229">
                  <c:v>41981</c:v>
                </c:pt>
                <c:pt idx="230">
                  <c:v>41982</c:v>
                </c:pt>
                <c:pt idx="231">
                  <c:v>41983</c:v>
                </c:pt>
                <c:pt idx="232">
                  <c:v>41984</c:v>
                </c:pt>
                <c:pt idx="233">
                  <c:v>41985</c:v>
                </c:pt>
                <c:pt idx="234">
                  <c:v>41988</c:v>
                </c:pt>
                <c:pt idx="235">
                  <c:v>41989</c:v>
                </c:pt>
                <c:pt idx="236">
                  <c:v>41990</c:v>
                </c:pt>
                <c:pt idx="237">
                  <c:v>41991</c:v>
                </c:pt>
                <c:pt idx="238">
                  <c:v>41992</c:v>
                </c:pt>
                <c:pt idx="239">
                  <c:v>41995</c:v>
                </c:pt>
                <c:pt idx="240">
                  <c:v>41996</c:v>
                </c:pt>
                <c:pt idx="241">
                  <c:v>41997</c:v>
                </c:pt>
                <c:pt idx="242">
                  <c:v>41998</c:v>
                </c:pt>
                <c:pt idx="243">
                  <c:v>41999</c:v>
                </c:pt>
                <c:pt idx="244">
                  <c:v>42016</c:v>
                </c:pt>
                <c:pt idx="245">
                  <c:v>42017</c:v>
                </c:pt>
                <c:pt idx="246">
                  <c:v>42018</c:v>
                </c:pt>
                <c:pt idx="247">
                  <c:v>42019</c:v>
                </c:pt>
                <c:pt idx="248">
                  <c:v>42020</c:v>
                </c:pt>
                <c:pt idx="249">
                  <c:v>42023</c:v>
                </c:pt>
                <c:pt idx="250">
                  <c:v>42024</c:v>
                </c:pt>
                <c:pt idx="251">
                  <c:v>42025</c:v>
                </c:pt>
                <c:pt idx="252">
                  <c:v>42026</c:v>
                </c:pt>
                <c:pt idx="253">
                  <c:v>42027</c:v>
                </c:pt>
                <c:pt idx="254">
                  <c:v>42030</c:v>
                </c:pt>
                <c:pt idx="255">
                  <c:v>42031</c:v>
                </c:pt>
              </c:numCache>
            </c:numRef>
          </c:cat>
          <c:val>
            <c:numRef>
              <c:f>Индексы_Мир_СПбМТСБ!$H$1166:$H$1432</c:f>
              <c:numCache>
                <c:formatCode>General</c:formatCode>
                <c:ptCount val="267"/>
                <c:pt idx="0" formatCode="#,##0.0">
                  <c:v>1484.74</c:v>
                </c:pt>
                <c:pt idx="1">
                  <c:v>1475.18</c:v>
                </c:pt>
                <c:pt idx="2">
                  <c:v>1460.23</c:v>
                </c:pt>
                <c:pt idx="3">
                  <c:v>1458.93</c:v>
                </c:pt>
                <c:pt idx="4">
                  <c:v>1468.22</c:v>
                </c:pt>
                <c:pt idx="5">
                  <c:v>1435.12</c:v>
                </c:pt>
                <c:pt idx="6">
                  <c:v>1427.93</c:v>
                </c:pt>
                <c:pt idx="7">
                  <c:v>1437.37</c:v>
                </c:pt>
                <c:pt idx="8">
                  <c:v>1406.92</c:v>
                </c:pt>
                <c:pt idx="9">
                  <c:v>1434.44</c:v>
                </c:pt>
                <c:pt idx="10">
                  <c:v>1444.24</c:v>
                </c:pt>
                <c:pt idx="11">
                  <c:v>1462.98</c:v>
                </c:pt>
                <c:pt idx="12">
                  <c:v>1455.04</c:v>
                </c:pt>
                <c:pt idx="13">
                  <c:v>1447.2</c:v>
                </c:pt>
                <c:pt idx="14">
                  <c:v>1425.86</c:v>
                </c:pt>
                <c:pt idx="15">
                  <c:v>1444.91</c:v>
                </c:pt>
                <c:pt idx="16">
                  <c:v>1433.55</c:v>
                </c:pt>
                <c:pt idx="17">
                  <c:v>1416.43</c:v>
                </c:pt>
                <c:pt idx="18">
                  <c:v>1404.31</c:v>
                </c:pt>
                <c:pt idx="19">
                  <c:v>1406.51</c:v>
                </c:pt>
                <c:pt idx="20">
                  <c:v>1402.93</c:v>
                </c:pt>
                <c:pt idx="21">
                  <c:v>1398.74</c:v>
                </c:pt>
                <c:pt idx="22">
                  <c:v>1372.44</c:v>
                </c:pt>
                <c:pt idx="23">
                  <c:v>1364.44</c:v>
                </c:pt>
                <c:pt idx="24">
                  <c:v>1362.55</c:v>
                </c:pt>
                <c:pt idx="25">
                  <c:v>1390.61</c:v>
                </c:pt>
                <c:pt idx="26">
                  <c:v>1412.08</c:v>
                </c:pt>
                <c:pt idx="27">
                  <c:v>1409.85</c:v>
                </c:pt>
                <c:pt idx="28">
                  <c:v>1409.28</c:v>
                </c:pt>
                <c:pt idx="29">
                  <c:v>1393.57</c:v>
                </c:pt>
                <c:pt idx="30">
                  <c:v>1391.85</c:v>
                </c:pt>
                <c:pt idx="31">
                  <c:v>1407.25</c:v>
                </c:pt>
                <c:pt idx="32">
                  <c:v>1414.68</c:v>
                </c:pt>
                <c:pt idx="33">
                  <c:v>1423.87</c:v>
                </c:pt>
                <c:pt idx="34">
                  <c:v>1431.11</c:v>
                </c:pt>
                <c:pt idx="35">
                  <c:v>1429.91</c:v>
                </c:pt>
                <c:pt idx="36">
                  <c:v>1453.1</c:v>
                </c:pt>
                <c:pt idx="37">
                  <c:v>1454.02</c:v>
                </c:pt>
                <c:pt idx="38">
                  <c:v>1447.5</c:v>
                </c:pt>
                <c:pt idx="39">
                  <c:v>1448.29</c:v>
                </c:pt>
                <c:pt idx="40">
                  <c:v>1445.39</c:v>
                </c:pt>
                <c:pt idx="41">
                  <c:v>1388.86</c:v>
                </c:pt>
                <c:pt idx="42">
                  <c:v>1395.91</c:v>
                </c:pt>
                <c:pt idx="43">
                  <c:v>1401.82</c:v>
                </c:pt>
                <c:pt idx="44">
                  <c:v>1388.69</c:v>
                </c:pt>
                <c:pt idx="45">
                  <c:v>1401.78</c:v>
                </c:pt>
                <c:pt idx="46">
                  <c:v>1397.23</c:v>
                </c:pt>
                <c:pt idx="47">
                  <c:v>1395.79</c:v>
                </c:pt>
                <c:pt idx="48">
                  <c:v>1394.49</c:v>
                </c:pt>
                <c:pt idx="49">
                  <c:v>1395.87</c:v>
                </c:pt>
                <c:pt idx="50">
                  <c:v>1391.75</c:v>
                </c:pt>
                <c:pt idx="51">
                  <c:v>1381.59</c:v>
                </c:pt>
                <c:pt idx="52">
                  <c:v>1364.11</c:v>
                </c:pt>
                <c:pt idx="53">
                  <c:v>1346.51</c:v>
                </c:pt>
                <c:pt idx="54">
                  <c:v>1332.51</c:v>
                </c:pt>
                <c:pt idx="55">
                  <c:v>1308</c:v>
                </c:pt>
                <c:pt idx="56">
                  <c:v>1320.9</c:v>
                </c:pt>
                <c:pt idx="57">
                  <c:v>1301.02</c:v>
                </c:pt>
                <c:pt idx="58">
                  <c:v>1293.2</c:v>
                </c:pt>
                <c:pt idx="59">
                  <c:v>1291.82</c:v>
                </c:pt>
                <c:pt idx="60">
                  <c:v>1317.5</c:v>
                </c:pt>
                <c:pt idx="61">
                  <c:v>1330.28</c:v>
                </c:pt>
                <c:pt idx="62">
                  <c:v>1341.49</c:v>
                </c:pt>
                <c:pt idx="63">
                  <c:v>1336.02</c:v>
                </c:pt>
                <c:pt idx="64">
                  <c:v>1341.85</c:v>
                </c:pt>
                <c:pt idx="65">
                  <c:v>1353.17</c:v>
                </c:pt>
                <c:pt idx="66">
                  <c:v>1321.61</c:v>
                </c:pt>
                <c:pt idx="67">
                  <c:v>1343.2</c:v>
                </c:pt>
                <c:pt idx="68">
                  <c:v>1347.41</c:v>
                </c:pt>
                <c:pt idx="69">
                  <c:v>1343.62</c:v>
                </c:pt>
                <c:pt idx="70">
                  <c:v>1306</c:v>
                </c:pt>
                <c:pt idx="71">
                  <c:v>1303.1500000000001</c:v>
                </c:pt>
                <c:pt idx="72">
                  <c:v>1315.54</c:v>
                </c:pt>
                <c:pt idx="73">
                  <c:v>1318.98</c:v>
                </c:pt>
                <c:pt idx="74">
                  <c:v>1306.3699999999999</c:v>
                </c:pt>
                <c:pt idx="75">
                  <c:v>1286.07</c:v>
                </c:pt>
                <c:pt idx="76">
                  <c:v>1260.95</c:v>
                </c:pt>
                <c:pt idx="77">
                  <c:v>1267.27</c:v>
                </c:pt>
                <c:pt idx="78">
                  <c:v>1115.06</c:v>
                </c:pt>
                <c:pt idx="79">
                  <c:v>1184.22</c:v>
                </c:pt>
                <c:pt idx="80">
                  <c:v>1182.05</c:v>
                </c:pt>
                <c:pt idx="81">
                  <c:v>1164.6300000000001</c:v>
                </c:pt>
                <c:pt idx="82">
                  <c:v>1158.8699999999999</c:v>
                </c:pt>
                <c:pt idx="83">
                  <c:v>1132.05</c:v>
                </c:pt>
                <c:pt idx="84">
                  <c:v>1100.1400000000001</c:v>
                </c:pt>
                <c:pt idx="85">
                  <c:v>1077.8900000000001</c:v>
                </c:pt>
                <c:pt idx="86">
                  <c:v>1062.47</c:v>
                </c:pt>
                <c:pt idx="87">
                  <c:v>1114.6600000000001</c:v>
                </c:pt>
                <c:pt idx="88">
                  <c:v>1161.26</c:v>
                </c:pt>
                <c:pt idx="89">
                  <c:v>1155.81</c:v>
                </c:pt>
                <c:pt idx="90">
                  <c:v>1150.82</c:v>
                </c:pt>
                <c:pt idx="91">
                  <c:v>1136.21</c:v>
                </c:pt>
                <c:pt idx="92">
                  <c:v>1131.5999999999999</c:v>
                </c:pt>
                <c:pt idx="93">
                  <c:v>1170.2</c:v>
                </c:pt>
                <c:pt idx="94">
                  <c:v>1198.8900000000001</c:v>
                </c:pt>
                <c:pt idx="95">
                  <c:v>1179.47</c:v>
                </c:pt>
                <c:pt idx="96">
                  <c:v>1186.28</c:v>
                </c:pt>
                <c:pt idx="97">
                  <c:v>1226.0999999999999</c:v>
                </c:pt>
                <c:pt idx="98">
                  <c:v>1235.74</c:v>
                </c:pt>
                <c:pt idx="99">
                  <c:v>1222.47</c:v>
                </c:pt>
                <c:pt idx="100">
                  <c:v>1210.71</c:v>
                </c:pt>
                <c:pt idx="101">
                  <c:v>1233.93</c:v>
                </c:pt>
                <c:pt idx="102">
                  <c:v>1193.78</c:v>
                </c:pt>
                <c:pt idx="103">
                  <c:v>1195.71</c:v>
                </c:pt>
                <c:pt idx="104">
                  <c:v>1190.1300000000001</c:v>
                </c:pt>
                <c:pt idx="105">
                  <c:v>1213.46</c:v>
                </c:pt>
                <c:pt idx="106">
                  <c:v>1204.07</c:v>
                </c:pt>
                <c:pt idx="107">
                  <c:v>1179.97</c:v>
                </c:pt>
                <c:pt idx="108">
                  <c:v>1142.96</c:v>
                </c:pt>
                <c:pt idx="109">
                  <c:v>1154.31</c:v>
                </c:pt>
                <c:pt idx="110">
                  <c:v>1172.6199999999999</c:v>
                </c:pt>
                <c:pt idx="111">
                  <c:v>1200.22</c:v>
                </c:pt>
                <c:pt idx="112">
                  <c:v>1187.94</c:v>
                </c:pt>
                <c:pt idx="113">
                  <c:v>1178.81</c:v>
                </c:pt>
                <c:pt idx="114">
                  <c:v>1171.99</c:v>
                </c:pt>
                <c:pt idx="115">
                  <c:v>1145.6600000000001</c:v>
                </c:pt>
                <c:pt idx="116">
                  <c:v>1119.3699999999999</c:v>
                </c:pt>
                <c:pt idx="117">
                  <c:v>1139.29</c:v>
                </c:pt>
                <c:pt idx="118">
                  <c:v>1153.3599999999999</c:v>
                </c:pt>
                <c:pt idx="119">
                  <c:v>1155.7</c:v>
                </c:pt>
                <c:pt idx="120">
                  <c:v>1143.44</c:v>
                </c:pt>
                <c:pt idx="121">
                  <c:v>1172.9100000000001</c:v>
                </c:pt>
                <c:pt idx="122">
                  <c:v>1227.75</c:v>
                </c:pt>
                <c:pt idx="123">
                  <c:v>1232.78</c:v>
                </c:pt>
                <c:pt idx="124">
                  <c:v>1234.31</c:v>
                </c:pt>
                <c:pt idx="125">
                  <c:v>1254.29</c:v>
                </c:pt>
                <c:pt idx="126">
                  <c:v>1261.01</c:v>
                </c:pt>
                <c:pt idx="127">
                  <c:v>1253</c:v>
                </c:pt>
                <c:pt idx="128">
                  <c:v>1262.01</c:v>
                </c:pt>
                <c:pt idx="129">
                  <c:v>1289.98</c:v>
                </c:pt>
                <c:pt idx="130">
                  <c:v>1298.6400000000001</c:v>
                </c:pt>
                <c:pt idx="131">
                  <c:v>1317.09</c:v>
                </c:pt>
                <c:pt idx="132">
                  <c:v>1312.97</c:v>
                </c:pt>
                <c:pt idx="133">
                  <c:v>1326.58</c:v>
                </c:pt>
                <c:pt idx="134">
                  <c:v>1335.73</c:v>
                </c:pt>
                <c:pt idx="135">
                  <c:v>1297.5</c:v>
                </c:pt>
                <c:pt idx="136">
                  <c:v>1300.46</c:v>
                </c:pt>
                <c:pt idx="137">
                  <c:v>1314.71</c:v>
                </c:pt>
                <c:pt idx="138">
                  <c:v>1295.75</c:v>
                </c:pt>
                <c:pt idx="139">
                  <c:v>1322.52</c:v>
                </c:pt>
                <c:pt idx="140">
                  <c:v>1324.03</c:v>
                </c:pt>
                <c:pt idx="141">
                  <c:v>1324.87</c:v>
                </c:pt>
                <c:pt idx="142">
                  <c:v>1333.86</c:v>
                </c:pt>
                <c:pt idx="143">
                  <c:v>1359.1</c:v>
                </c:pt>
                <c:pt idx="144">
                  <c:v>1361.65</c:v>
                </c:pt>
                <c:pt idx="145">
                  <c:v>1368.84</c:v>
                </c:pt>
                <c:pt idx="146">
                  <c:v>1374.94</c:v>
                </c:pt>
                <c:pt idx="147">
                  <c:v>1357.8</c:v>
                </c:pt>
                <c:pt idx="148">
                  <c:v>1343.5</c:v>
                </c:pt>
                <c:pt idx="149">
                  <c:v>1362.99</c:v>
                </c:pt>
                <c:pt idx="150">
                  <c:v>1371.55</c:v>
                </c:pt>
                <c:pt idx="151">
                  <c:v>1358.73</c:v>
                </c:pt>
                <c:pt idx="152">
                  <c:v>1369.1</c:v>
                </c:pt>
                <c:pt idx="153">
                  <c:v>1421.07</c:v>
                </c:pt>
                <c:pt idx="154">
                  <c:v>1383.02</c:v>
                </c:pt>
                <c:pt idx="155">
                  <c:v>1377.41</c:v>
                </c:pt>
                <c:pt idx="156">
                  <c:v>1379.75</c:v>
                </c:pt>
                <c:pt idx="157">
                  <c:v>1366.08</c:v>
                </c:pt>
                <c:pt idx="158">
                  <c:v>1362.1</c:v>
                </c:pt>
                <c:pt idx="159">
                  <c:v>1390.47</c:v>
                </c:pt>
                <c:pt idx="160">
                  <c:v>1390.72</c:v>
                </c:pt>
                <c:pt idx="161">
                  <c:v>1360.48</c:v>
                </c:pt>
                <c:pt idx="162">
                  <c:v>1385.24</c:v>
                </c:pt>
                <c:pt idx="163">
                  <c:v>1393.59</c:v>
                </c:pt>
                <c:pt idx="164">
                  <c:v>1403.72</c:v>
                </c:pt>
                <c:pt idx="165">
                  <c:v>1383.7</c:v>
                </c:pt>
                <c:pt idx="166">
                  <c:v>1383.18</c:v>
                </c:pt>
                <c:pt idx="167">
                  <c:v>1361.89</c:v>
                </c:pt>
                <c:pt idx="168">
                  <c:v>1352.15</c:v>
                </c:pt>
                <c:pt idx="169">
                  <c:v>1350.52</c:v>
                </c:pt>
                <c:pt idx="170">
                  <c:v>1299.03</c:v>
                </c:pt>
                <c:pt idx="171">
                  <c:v>1276.28</c:v>
                </c:pt>
                <c:pt idx="172">
                  <c:v>1239.1300000000001</c:v>
                </c:pt>
                <c:pt idx="173">
                  <c:v>1266.8800000000001</c:v>
                </c:pt>
                <c:pt idx="174">
                  <c:v>1272.02</c:v>
                </c:pt>
                <c:pt idx="175">
                  <c:v>1266.72</c:v>
                </c:pt>
                <c:pt idx="176">
                  <c:v>1246.25</c:v>
                </c:pt>
                <c:pt idx="177">
                  <c:v>1208.83</c:v>
                </c:pt>
                <c:pt idx="178">
                  <c:v>1207.29</c:v>
                </c:pt>
                <c:pt idx="179">
                  <c:v>1222.4000000000001</c:v>
                </c:pt>
                <c:pt idx="180">
                  <c:v>1219.3599999999999</c:v>
                </c:pt>
                <c:pt idx="181">
                  <c:v>1212.74</c:v>
                </c:pt>
                <c:pt idx="182">
                  <c:v>1212.21</c:v>
                </c:pt>
                <c:pt idx="183">
                  <c:v>1191.3699999999999</c:v>
                </c:pt>
                <c:pt idx="184">
                  <c:v>1160.8599999999999</c:v>
                </c:pt>
                <c:pt idx="185">
                  <c:v>1157.97</c:v>
                </c:pt>
                <c:pt idx="186">
                  <c:v>1170.5999999999999</c:v>
                </c:pt>
                <c:pt idx="187">
                  <c:v>1203.67</c:v>
                </c:pt>
                <c:pt idx="188">
                  <c:v>1198.72</c:v>
                </c:pt>
                <c:pt idx="189">
                  <c:v>1220.8</c:v>
                </c:pt>
                <c:pt idx="190">
                  <c:v>1231.94</c:v>
                </c:pt>
                <c:pt idx="191">
                  <c:v>1232.3399999999999</c:v>
                </c:pt>
                <c:pt idx="192">
                  <c:v>1243.56</c:v>
                </c:pt>
                <c:pt idx="193">
                  <c:v>1251.69</c:v>
                </c:pt>
                <c:pt idx="194">
                  <c:v>1257.4100000000001</c:v>
                </c:pt>
                <c:pt idx="195">
                  <c:v>1275.5999999999999</c:v>
                </c:pt>
                <c:pt idx="196">
                  <c:v>1260.07</c:v>
                </c:pt>
                <c:pt idx="197">
                  <c:v>1267.42</c:v>
                </c:pt>
                <c:pt idx="198">
                  <c:v>1259.47</c:v>
                </c:pt>
                <c:pt idx="199">
                  <c:v>1260.72</c:v>
                </c:pt>
                <c:pt idx="200">
                  <c:v>1219.49</c:v>
                </c:pt>
                <c:pt idx="201">
                  <c:v>1190.23</c:v>
                </c:pt>
                <c:pt idx="202">
                  <c:v>1177.6600000000001</c:v>
                </c:pt>
                <c:pt idx="203">
                  <c:v>1177.93</c:v>
                </c:pt>
                <c:pt idx="204">
                  <c:v>1239.23</c:v>
                </c:pt>
                <c:pt idx="205">
                  <c:v>1241.51</c:v>
                </c:pt>
                <c:pt idx="206">
                  <c:v>1257.26</c:v>
                </c:pt>
                <c:pt idx="207">
                  <c:v>1245.53</c:v>
                </c:pt>
                <c:pt idx="208">
                  <c:v>1246.6400000000001</c:v>
                </c:pt>
                <c:pt idx="209">
                  <c:v>1239.0899999999999</c:v>
                </c:pt>
                <c:pt idx="210">
                  <c:v>1217.8800000000001</c:v>
                </c:pt>
                <c:pt idx="211">
                  <c:v>1213.27</c:v>
                </c:pt>
                <c:pt idx="212">
                  <c:v>1194.73</c:v>
                </c:pt>
                <c:pt idx="213">
                  <c:v>1202</c:v>
                </c:pt>
                <c:pt idx="214">
                  <c:v>1190.0999999999999</c:v>
                </c:pt>
                <c:pt idx="215">
                  <c:v>1187.24</c:v>
                </c:pt>
                <c:pt idx="216">
                  <c:v>1170.25</c:v>
                </c:pt>
                <c:pt idx="217">
                  <c:v>1151.1600000000001</c:v>
                </c:pt>
                <c:pt idx="218">
                  <c:v>1167.25</c:v>
                </c:pt>
                <c:pt idx="219">
                  <c:v>1189.23</c:v>
                </c:pt>
                <c:pt idx="220">
                  <c:v>1175.5899999999999</c:v>
                </c:pt>
                <c:pt idx="221">
                  <c:v>1156.1500000000001</c:v>
                </c:pt>
                <c:pt idx="222">
                  <c:v>1126.21</c:v>
                </c:pt>
                <c:pt idx="223">
                  <c:v>1123.72</c:v>
                </c:pt>
                <c:pt idx="224">
                  <c:v>1113.42</c:v>
                </c:pt>
                <c:pt idx="225">
                  <c:v>1095.1099999999999</c:v>
                </c:pt>
                <c:pt idx="226">
                  <c:v>1092.1199999999999</c:v>
                </c:pt>
                <c:pt idx="227">
                  <c:v>1120.2</c:v>
                </c:pt>
                <c:pt idx="228">
                  <c:v>1106.8</c:v>
                </c:pt>
                <c:pt idx="229">
                  <c:v>1082.5899999999999</c:v>
                </c:pt>
                <c:pt idx="230">
                  <c:v>1088.8</c:v>
                </c:pt>
                <c:pt idx="231">
                  <c:v>1064.29</c:v>
                </c:pt>
                <c:pt idx="232">
                  <c:v>1076.58</c:v>
                </c:pt>
                <c:pt idx="233">
                  <c:v>1075.45</c:v>
                </c:pt>
                <c:pt idx="234">
                  <c:v>1067.05</c:v>
                </c:pt>
                <c:pt idx="235">
                  <c:v>1045.23</c:v>
                </c:pt>
                <c:pt idx="236">
                  <c:v>1072.94</c:v>
                </c:pt>
                <c:pt idx="237">
                  <c:v>1056.71</c:v>
                </c:pt>
                <c:pt idx="238">
                  <c:v>1063.8599999999999</c:v>
                </c:pt>
                <c:pt idx="239">
                  <c:v>1047.47</c:v>
                </c:pt>
                <c:pt idx="240">
                  <c:v>1035.9100000000001</c:v>
                </c:pt>
                <c:pt idx="241">
                  <c:v>1036.68</c:v>
                </c:pt>
                <c:pt idx="242">
                  <c:v>1039.5</c:v>
                </c:pt>
                <c:pt idx="243">
                  <c:v>1049.58</c:v>
                </c:pt>
                <c:pt idx="244">
                  <c:v>1059.6199999999999</c:v>
                </c:pt>
                <c:pt idx="245">
                  <c:v>1098.68</c:v>
                </c:pt>
                <c:pt idx="246">
                  <c:v>1091.44</c:v>
                </c:pt>
                <c:pt idx="247">
                  <c:v>1054.45</c:v>
                </c:pt>
                <c:pt idx="248">
                  <c:v>1017.28</c:v>
                </c:pt>
                <c:pt idx="249">
                  <c:v>1007.68</c:v>
                </c:pt>
                <c:pt idx="250">
                  <c:v>1045.51</c:v>
                </c:pt>
                <c:pt idx="251">
                  <c:v>1028.95</c:v>
                </c:pt>
                <c:pt idx="252">
                  <c:v>1045.0899999999999</c:v>
                </c:pt>
                <c:pt idx="253">
                  <c:v>1012.16</c:v>
                </c:pt>
                <c:pt idx="254">
                  <c:v>1002.96</c:v>
                </c:pt>
                <c:pt idx="255">
                  <c:v>1004.13</c:v>
                </c:pt>
                <c:pt idx="256">
                  <c:v>1020.77</c:v>
                </c:pt>
                <c:pt idx="257">
                  <c:v>1021.17</c:v>
                </c:pt>
                <c:pt idx="258">
                  <c:v>1040.3599999999999</c:v>
                </c:pt>
                <c:pt idx="259">
                  <c:v>1058.8</c:v>
                </c:pt>
                <c:pt idx="260">
                  <c:v>1076.1600000000001</c:v>
                </c:pt>
                <c:pt idx="261">
                  <c:v>1054.3800000000001</c:v>
                </c:pt>
                <c:pt idx="262">
                  <c:v>1027.6099999999999</c:v>
                </c:pt>
                <c:pt idx="263">
                  <c:v>1006.43</c:v>
                </c:pt>
                <c:pt idx="264">
                  <c:v>974.27</c:v>
                </c:pt>
                <c:pt idx="265">
                  <c:v>958.33</c:v>
                </c:pt>
                <c:pt idx="266">
                  <c:v>925.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846400"/>
        <c:axId val="639217024"/>
      </c:lineChart>
      <c:dateAx>
        <c:axId val="639845888"/>
        <c:scaling>
          <c:orientation val="minMax"/>
          <c:max val="42031"/>
          <c:min val="41648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8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39215296"/>
        <c:crosses val="autoZero"/>
        <c:auto val="1"/>
        <c:lblOffset val="100"/>
        <c:baseTimeUnit val="days"/>
        <c:majorUnit val="60"/>
        <c:majorTimeUnit val="days"/>
        <c:minorUnit val="30"/>
        <c:minorTimeUnit val="days"/>
      </c:dateAx>
      <c:valAx>
        <c:axId val="639215296"/>
        <c:scaling>
          <c:orientation val="minMax"/>
          <c:max val="42000"/>
          <c:min val="28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8231153941575E-4"/>
              <c:y val="0.2417551029261838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845888"/>
        <c:crosses val="autoZero"/>
        <c:crossBetween val="between"/>
      </c:valAx>
      <c:dateAx>
        <c:axId val="63984640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39217024"/>
        <c:crosses val="autoZero"/>
        <c:auto val="0"/>
        <c:lblOffset val="100"/>
        <c:baseTimeUnit val="days"/>
      </c:dateAx>
      <c:valAx>
        <c:axId val="639217024"/>
        <c:scaling>
          <c:orientation val="minMax"/>
          <c:min val="600"/>
        </c:scaling>
        <c:delete val="0"/>
        <c:axPos val="r"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9846400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5854846502396151E-2"/>
          <c:y val="0.92709398928439735"/>
          <c:w val="0.89435708596126984"/>
          <c:h val="7.2906010715602654E-2"/>
        </c:manualLayout>
      </c:layout>
      <c:overlay val="0"/>
      <c:txPr>
        <a:bodyPr/>
        <a:lstStyle/>
        <a:p>
          <a:pPr>
            <a:defRPr sz="775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100" b="1" i="1" u="none" strike="noStrike" baseline="0">
                <a:solidFill>
                  <a:srgbClr val="000000"/>
                </a:solidFill>
                <a:latin typeface="Calibri"/>
              </a:rPr>
              <a:t>2010-2011: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100" b="1" i="1" u="none" strike="noStrike" baseline="0">
                <a:solidFill>
                  <a:srgbClr val="000000"/>
                </a:solidFill>
                <a:latin typeface="Calibri"/>
              </a:rPr>
              <a:t>BRENT       + 19,95 %</a:t>
            </a:r>
            <a:endParaRPr lang="ru-RU" sz="1050" b="1" i="1" u="none" strike="noStrike" baseline="0">
              <a:solidFill>
                <a:srgbClr val="FF0000"/>
              </a:solidFill>
              <a:latin typeface="Calibri"/>
            </a:endParaRP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FF0000"/>
                </a:solidFill>
                <a:latin typeface="Calibri"/>
              </a:rPr>
              <a:t>ДТЛ           </a:t>
            </a:r>
            <a:r>
              <a:rPr lang="ru-RU" sz="1100" b="1" i="1" u="none" strike="noStrike" baseline="0">
                <a:solidFill>
                  <a:srgbClr val="FF0000"/>
                </a:solidFill>
                <a:latin typeface="Calibri"/>
              </a:rPr>
              <a:t> + 34,26 % </a:t>
            </a:r>
          </a:p>
        </c:rich>
      </c:tx>
      <c:layout>
        <c:manualLayout>
          <c:xMode val="edge"/>
          <c:yMode val="edge"/>
          <c:x val="8.6932968391545518E-2"/>
          <c:y val="0.18087451465261056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0666351743688506E-2"/>
          <c:y val="3.4747532591483922E-2"/>
          <c:w val="0.85042671552848403"/>
          <c:h val="0.86681885425478844"/>
        </c:manualLayout>
      </c:layout>
      <c:lineChart>
        <c:grouping val="standard"/>
        <c:varyColors val="0"/>
        <c:ser>
          <c:idx val="2"/>
          <c:order val="1"/>
          <c:tx>
            <c:strRef>
              <c:f>'[Графики мировых индексов, индексов СПбМТСБ, расчетных цен_22.12.2014.xls]Индексы_Мир_СПбМТСБ'!$K$2</c:f>
              <c:strCache>
                <c:ptCount val="1"/>
                <c:pt idx="0">
                  <c:v>Индекс СПбМТСБ-ДТ летнее</c:v>
                </c:pt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[Графики мировых индексов, индексов СПбМТСБ, расчетных цен_22.12.2014.xls]Индексы_Мир_СПбМТСБ'!$F$218:$F$1432</c:f>
              <c:numCache>
                <c:formatCode>m/d/yyyy</c:formatCode>
                <c:ptCount val="121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</c:numCache>
            </c:numRef>
          </c:cat>
          <c:val>
            <c:numRef>
              <c:f>'[Графики мировых индексов, индексов СПбМТСБ, расчетных цен_22.12.2014.xls]Индексы_Мир_СПбМТСБ'!$K$218:$K$1432</c:f>
              <c:numCache>
                <c:formatCode>General</c:formatCode>
                <c:ptCount val="1215"/>
                <c:pt idx="0">
                  <c:v>15494</c:v>
                </c:pt>
                <c:pt idx="1">
                  <c:v>15735</c:v>
                </c:pt>
                <c:pt idx="2">
                  <c:v>15790</c:v>
                </c:pt>
                <c:pt idx="3">
                  <c:v>15902</c:v>
                </c:pt>
                <c:pt idx="4">
                  <c:v>15959</c:v>
                </c:pt>
                <c:pt idx="5">
                  <c:v>15959</c:v>
                </c:pt>
                <c:pt idx="6">
                  <c:v>16071</c:v>
                </c:pt>
                <c:pt idx="7">
                  <c:v>15945</c:v>
                </c:pt>
                <c:pt idx="8">
                  <c:v>16035</c:v>
                </c:pt>
                <c:pt idx="9">
                  <c:v>15521</c:v>
                </c:pt>
                <c:pt idx="10">
                  <c:v>15094</c:v>
                </c:pt>
                <c:pt idx="11">
                  <c:v>15094</c:v>
                </c:pt>
                <c:pt idx="12">
                  <c:v>15759</c:v>
                </c:pt>
                <c:pt idx="13">
                  <c:v>15433</c:v>
                </c:pt>
                <c:pt idx="14">
                  <c:v>15559</c:v>
                </c:pt>
                <c:pt idx="15">
                  <c:v>15085</c:v>
                </c:pt>
                <c:pt idx="16">
                  <c:v>15144</c:v>
                </c:pt>
                <c:pt idx="17">
                  <c:v>15246</c:v>
                </c:pt>
                <c:pt idx="18">
                  <c:v>14987</c:v>
                </c:pt>
                <c:pt idx="19">
                  <c:v>15220</c:v>
                </c:pt>
                <c:pt idx="20">
                  <c:v>15297</c:v>
                </c:pt>
                <c:pt idx="21">
                  <c:v>15127</c:v>
                </c:pt>
                <c:pt idx="22">
                  <c:v>15109</c:v>
                </c:pt>
                <c:pt idx="23">
                  <c:v>14937</c:v>
                </c:pt>
                <c:pt idx="24">
                  <c:v>14994</c:v>
                </c:pt>
                <c:pt idx="25">
                  <c:v>15352</c:v>
                </c:pt>
                <c:pt idx="26">
                  <c:v>15409</c:v>
                </c:pt>
                <c:pt idx="27">
                  <c:v>15351</c:v>
                </c:pt>
                <c:pt idx="28">
                  <c:v>15411</c:v>
                </c:pt>
                <c:pt idx="29">
                  <c:v>15909</c:v>
                </c:pt>
                <c:pt idx="30">
                  <c:v>15909</c:v>
                </c:pt>
                <c:pt idx="31">
                  <c:v>15801</c:v>
                </c:pt>
                <c:pt idx="32">
                  <c:v>16096</c:v>
                </c:pt>
                <c:pt idx="33">
                  <c:v>16153</c:v>
                </c:pt>
                <c:pt idx="34">
                  <c:v>16153</c:v>
                </c:pt>
                <c:pt idx="35">
                  <c:v>16237</c:v>
                </c:pt>
                <c:pt idx="36">
                  <c:v>16909</c:v>
                </c:pt>
                <c:pt idx="37">
                  <c:v>16587</c:v>
                </c:pt>
                <c:pt idx="38">
                  <c:v>16909</c:v>
                </c:pt>
                <c:pt idx="39">
                  <c:v>17021</c:v>
                </c:pt>
                <c:pt idx="40">
                  <c:v>16942</c:v>
                </c:pt>
                <c:pt idx="41">
                  <c:v>16437</c:v>
                </c:pt>
                <c:pt idx="42">
                  <c:v>16909</c:v>
                </c:pt>
                <c:pt idx="43">
                  <c:v>16959</c:v>
                </c:pt>
                <c:pt idx="44">
                  <c:v>17071</c:v>
                </c:pt>
                <c:pt idx="45">
                  <c:v>16959</c:v>
                </c:pt>
                <c:pt idx="46">
                  <c:v>17071</c:v>
                </c:pt>
                <c:pt idx="47">
                  <c:v>17023</c:v>
                </c:pt>
                <c:pt idx="48">
                  <c:v>17259</c:v>
                </c:pt>
                <c:pt idx="49">
                  <c:v>17371</c:v>
                </c:pt>
                <c:pt idx="50">
                  <c:v>17254</c:v>
                </c:pt>
                <c:pt idx="51">
                  <c:v>17184</c:v>
                </c:pt>
                <c:pt idx="52">
                  <c:v>17709</c:v>
                </c:pt>
                <c:pt idx="53">
                  <c:v>17821</c:v>
                </c:pt>
                <c:pt idx="54">
                  <c:v>17821</c:v>
                </c:pt>
                <c:pt idx="55">
                  <c:v>17217</c:v>
                </c:pt>
                <c:pt idx="56">
                  <c:v>17270</c:v>
                </c:pt>
                <c:pt idx="57">
                  <c:v>17408</c:v>
                </c:pt>
                <c:pt idx="58">
                  <c:v>17739</c:v>
                </c:pt>
                <c:pt idx="59">
                  <c:v>17137</c:v>
                </c:pt>
                <c:pt idx="60">
                  <c:v>17804</c:v>
                </c:pt>
                <c:pt idx="61">
                  <c:v>17916</c:v>
                </c:pt>
                <c:pt idx="62">
                  <c:v>17864</c:v>
                </c:pt>
                <c:pt idx="63">
                  <c:v>18009</c:v>
                </c:pt>
                <c:pt idx="64">
                  <c:v>18121</c:v>
                </c:pt>
                <c:pt idx="65">
                  <c:v>17803</c:v>
                </c:pt>
                <c:pt idx="66">
                  <c:v>17915</c:v>
                </c:pt>
                <c:pt idx="67">
                  <c:v>17915</c:v>
                </c:pt>
                <c:pt idx="68">
                  <c:v>17395</c:v>
                </c:pt>
                <c:pt idx="69">
                  <c:v>17337</c:v>
                </c:pt>
                <c:pt idx="70">
                  <c:v>17359</c:v>
                </c:pt>
                <c:pt idx="71">
                  <c:v>17471</c:v>
                </c:pt>
                <c:pt idx="72">
                  <c:v>17717</c:v>
                </c:pt>
                <c:pt idx="73">
                  <c:v>17445</c:v>
                </c:pt>
                <c:pt idx="74">
                  <c:v>17418</c:v>
                </c:pt>
                <c:pt idx="75">
                  <c:v>17409</c:v>
                </c:pt>
                <c:pt idx="76">
                  <c:v>17737</c:v>
                </c:pt>
                <c:pt idx="77">
                  <c:v>17434</c:v>
                </c:pt>
                <c:pt idx="78">
                  <c:v>17546</c:v>
                </c:pt>
                <c:pt idx="79">
                  <c:v>17434</c:v>
                </c:pt>
                <c:pt idx="80">
                  <c:v>17537</c:v>
                </c:pt>
                <c:pt idx="81">
                  <c:v>17505</c:v>
                </c:pt>
                <c:pt idx="82">
                  <c:v>17437</c:v>
                </c:pt>
                <c:pt idx="83">
                  <c:v>17377</c:v>
                </c:pt>
                <c:pt idx="84">
                  <c:v>17437</c:v>
                </c:pt>
                <c:pt idx="85">
                  <c:v>17318</c:v>
                </c:pt>
                <c:pt idx="86">
                  <c:v>17382</c:v>
                </c:pt>
                <c:pt idx="87">
                  <c:v>17223</c:v>
                </c:pt>
                <c:pt idx="88">
                  <c:v>17194</c:v>
                </c:pt>
                <c:pt idx="89">
                  <c:v>17194</c:v>
                </c:pt>
                <c:pt idx="90">
                  <c:v>17194</c:v>
                </c:pt>
                <c:pt idx="91">
                  <c:v>17159</c:v>
                </c:pt>
                <c:pt idx="92">
                  <c:v>16770</c:v>
                </c:pt>
                <c:pt idx="93">
                  <c:v>16831</c:v>
                </c:pt>
                <c:pt idx="94">
                  <c:v>16787</c:v>
                </c:pt>
                <c:pt idx="95">
                  <c:v>16714</c:v>
                </c:pt>
                <c:pt idx="96">
                  <c:v>16692</c:v>
                </c:pt>
                <c:pt idx="97">
                  <c:v>16763</c:v>
                </c:pt>
                <c:pt idx="98">
                  <c:v>16559</c:v>
                </c:pt>
                <c:pt idx="99">
                  <c:v>16412</c:v>
                </c:pt>
                <c:pt idx="100">
                  <c:v>16685</c:v>
                </c:pt>
                <c:pt idx="101">
                  <c:v>16571</c:v>
                </c:pt>
                <c:pt idx="102">
                  <c:v>16437</c:v>
                </c:pt>
                <c:pt idx="103">
                  <c:v>16549</c:v>
                </c:pt>
                <c:pt idx="104">
                  <c:v>16417</c:v>
                </c:pt>
                <c:pt idx="105">
                  <c:v>16295</c:v>
                </c:pt>
                <c:pt idx="106">
                  <c:v>16324</c:v>
                </c:pt>
                <c:pt idx="107">
                  <c:v>16310</c:v>
                </c:pt>
                <c:pt idx="108">
                  <c:v>16440</c:v>
                </c:pt>
                <c:pt idx="109">
                  <c:v>16691</c:v>
                </c:pt>
                <c:pt idx="110">
                  <c:v>16759</c:v>
                </c:pt>
                <c:pt idx="111">
                  <c:v>16762</c:v>
                </c:pt>
                <c:pt idx="112">
                  <c:v>17015</c:v>
                </c:pt>
                <c:pt idx="113">
                  <c:v>17174</c:v>
                </c:pt>
                <c:pt idx="114">
                  <c:v>17315</c:v>
                </c:pt>
                <c:pt idx="115">
                  <c:v>17254</c:v>
                </c:pt>
                <c:pt idx="116">
                  <c:v>17247</c:v>
                </c:pt>
                <c:pt idx="117">
                  <c:v>17126</c:v>
                </c:pt>
                <c:pt idx="118">
                  <c:v>17325</c:v>
                </c:pt>
                <c:pt idx="119">
                  <c:v>17287</c:v>
                </c:pt>
                <c:pt idx="120">
                  <c:v>17425</c:v>
                </c:pt>
                <c:pt idx="121">
                  <c:v>17379</c:v>
                </c:pt>
                <c:pt idx="122">
                  <c:v>17154</c:v>
                </c:pt>
                <c:pt idx="123">
                  <c:v>17414</c:v>
                </c:pt>
                <c:pt idx="124">
                  <c:v>16882</c:v>
                </c:pt>
                <c:pt idx="125">
                  <c:v>16901</c:v>
                </c:pt>
                <c:pt idx="126">
                  <c:v>17237</c:v>
                </c:pt>
                <c:pt idx="127">
                  <c:v>17268</c:v>
                </c:pt>
                <c:pt idx="128">
                  <c:v>17364</c:v>
                </c:pt>
                <c:pt idx="129">
                  <c:v>17202</c:v>
                </c:pt>
                <c:pt idx="130">
                  <c:v>17203</c:v>
                </c:pt>
                <c:pt idx="131">
                  <c:v>17387</c:v>
                </c:pt>
                <c:pt idx="132">
                  <c:v>17259</c:v>
                </c:pt>
                <c:pt idx="133">
                  <c:v>17237</c:v>
                </c:pt>
                <c:pt idx="134">
                  <c:v>17144</c:v>
                </c:pt>
                <c:pt idx="135">
                  <c:v>17085</c:v>
                </c:pt>
                <c:pt idx="136">
                  <c:v>17137</c:v>
                </c:pt>
                <c:pt idx="137">
                  <c:v>16997</c:v>
                </c:pt>
                <c:pt idx="138">
                  <c:v>17104</c:v>
                </c:pt>
                <c:pt idx="139">
                  <c:v>17025</c:v>
                </c:pt>
                <c:pt idx="140">
                  <c:v>17169</c:v>
                </c:pt>
                <c:pt idx="141">
                  <c:v>17279</c:v>
                </c:pt>
                <c:pt idx="142">
                  <c:v>17164</c:v>
                </c:pt>
                <c:pt idx="143">
                  <c:v>17328</c:v>
                </c:pt>
                <c:pt idx="144">
                  <c:v>17348</c:v>
                </c:pt>
                <c:pt idx="145">
                  <c:v>17287</c:v>
                </c:pt>
                <c:pt idx="146">
                  <c:v>17123</c:v>
                </c:pt>
                <c:pt idx="147">
                  <c:v>17073</c:v>
                </c:pt>
                <c:pt idx="148">
                  <c:v>17337</c:v>
                </c:pt>
                <c:pt idx="149">
                  <c:v>17394</c:v>
                </c:pt>
                <c:pt idx="150">
                  <c:v>17198</c:v>
                </c:pt>
                <c:pt idx="151">
                  <c:v>17208</c:v>
                </c:pt>
                <c:pt idx="152">
                  <c:v>16955</c:v>
                </c:pt>
                <c:pt idx="153">
                  <c:v>17237</c:v>
                </c:pt>
                <c:pt idx="154">
                  <c:v>17102</c:v>
                </c:pt>
                <c:pt idx="155">
                  <c:v>17259</c:v>
                </c:pt>
                <c:pt idx="156">
                  <c:v>17371</c:v>
                </c:pt>
                <c:pt idx="157">
                  <c:v>17118</c:v>
                </c:pt>
                <c:pt idx="158">
                  <c:v>17177</c:v>
                </c:pt>
                <c:pt idx="159">
                  <c:v>17347</c:v>
                </c:pt>
                <c:pt idx="160">
                  <c:v>17097</c:v>
                </c:pt>
                <c:pt idx="161">
                  <c:v>17209</c:v>
                </c:pt>
                <c:pt idx="162">
                  <c:v>16848</c:v>
                </c:pt>
                <c:pt idx="163">
                  <c:v>16848</c:v>
                </c:pt>
                <c:pt idx="164">
                  <c:v>16682</c:v>
                </c:pt>
                <c:pt idx="165">
                  <c:v>16809</c:v>
                </c:pt>
                <c:pt idx="166">
                  <c:v>16637</c:v>
                </c:pt>
                <c:pt idx="167">
                  <c:v>16790</c:v>
                </c:pt>
                <c:pt idx="168">
                  <c:v>17237</c:v>
                </c:pt>
                <c:pt idx="169">
                  <c:v>16790</c:v>
                </c:pt>
                <c:pt idx="170">
                  <c:v>17010</c:v>
                </c:pt>
                <c:pt idx="171">
                  <c:v>16814</c:v>
                </c:pt>
                <c:pt idx="172">
                  <c:v>16817</c:v>
                </c:pt>
                <c:pt idx="173">
                  <c:v>16901</c:v>
                </c:pt>
                <c:pt idx="174">
                  <c:v>17077</c:v>
                </c:pt>
                <c:pt idx="175">
                  <c:v>17009</c:v>
                </c:pt>
                <c:pt idx="176">
                  <c:v>16802</c:v>
                </c:pt>
                <c:pt idx="177">
                  <c:v>17047</c:v>
                </c:pt>
                <c:pt idx="178">
                  <c:v>17159</c:v>
                </c:pt>
                <c:pt idx="179">
                  <c:v>17117</c:v>
                </c:pt>
                <c:pt idx="180">
                  <c:v>16923</c:v>
                </c:pt>
                <c:pt idx="181">
                  <c:v>16483</c:v>
                </c:pt>
                <c:pt idx="182">
                  <c:v>16936</c:v>
                </c:pt>
                <c:pt idx="183">
                  <c:v>17003</c:v>
                </c:pt>
                <c:pt idx="184">
                  <c:v>17459</c:v>
                </c:pt>
                <c:pt idx="185">
                  <c:v>17459</c:v>
                </c:pt>
                <c:pt idx="186">
                  <c:v>17114</c:v>
                </c:pt>
                <c:pt idx="187">
                  <c:v>17525</c:v>
                </c:pt>
                <c:pt idx="188">
                  <c:v>17628</c:v>
                </c:pt>
                <c:pt idx="189">
                  <c:v>17271</c:v>
                </c:pt>
                <c:pt idx="190">
                  <c:v>18114</c:v>
                </c:pt>
                <c:pt idx="191">
                  <c:v>18251</c:v>
                </c:pt>
                <c:pt idx="192">
                  <c:v>18259</c:v>
                </c:pt>
                <c:pt idx="193">
                  <c:v>18371</c:v>
                </c:pt>
                <c:pt idx="194">
                  <c:v>18303</c:v>
                </c:pt>
                <c:pt idx="195">
                  <c:v>18309</c:v>
                </c:pt>
                <c:pt idx="196">
                  <c:v>18421</c:v>
                </c:pt>
                <c:pt idx="197">
                  <c:v>18367</c:v>
                </c:pt>
                <c:pt idx="198">
                  <c:v>18454</c:v>
                </c:pt>
                <c:pt idx="199">
                  <c:v>17950</c:v>
                </c:pt>
                <c:pt idx="200">
                  <c:v>18374</c:v>
                </c:pt>
                <c:pt idx="201">
                  <c:v>18537</c:v>
                </c:pt>
                <c:pt idx="202">
                  <c:v>18618</c:v>
                </c:pt>
                <c:pt idx="203">
                  <c:v>18837</c:v>
                </c:pt>
                <c:pt idx="204">
                  <c:v>18341</c:v>
                </c:pt>
                <c:pt idx="205">
                  <c:v>19484</c:v>
                </c:pt>
                <c:pt idx="206">
                  <c:v>18999</c:v>
                </c:pt>
                <c:pt idx="207">
                  <c:v>19806</c:v>
                </c:pt>
                <c:pt idx="208">
                  <c:v>20046</c:v>
                </c:pt>
                <c:pt idx="209">
                  <c:v>20125</c:v>
                </c:pt>
                <c:pt idx="210">
                  <c:v>19727</c:v>
                </c:pt>
                <c:pt idx="211">
                  <c:v>19037</c:v>
                </c:pt>
                <c:pt idx="212">
                  <c:v>21100</c:v>
                </c:pt>
                <c:pt idx="213">
                  <c:v>21214</c:v>
                </c:pt>
                <c:pt idx="214">
                  <c:v>21227</c:v>
                </c:pt>
                <c:pt idx="215">
                  <c:v>21237</c:v>
                </c:pt>
                <c:pt idx="216">
                  <c:v>21170</c:v>
                </c:pt>
                <c:pt idx="217">
                  <c:v>20420</c:v>
                </c:pt>
                <c:pt idx="218">
                  <c:v>20468</c:v>
                </c:pt>
                <c:pt idx="219">
                  <c:v>21237</c:v>
                </c:pt>
                <c:pt idx="220">
                  <c:v>20570</c:v>
                </c:pt>
                <c:pt idx="221">
                  <c:v>21237</c:v>
                </c:pt>
                <c:pt idx="222">
                  <c:v>21294</c:v>
                </c:pt>
                <c:pt idx="223">
                  <c:v>21037</c:v>
                </c:pt>
                <c:pt idx="224">
                  <c:v>21126</c:v>
                </c:pt>
                <c:pt idx="225">
                  <c:v>21191</c:v>
                </c:pt>
                <c:pt idx="226">
                  <c:v>20109</c:v>
                </c:pt>
                <c:pt idx="227">
                  <c:v>20109</c:v>
                </c:pt>
                <c:pt idx="228">
                  <c:v>20537</c:v>
                </c:pt>
                <c:pt idx="229">
                  <c:v>20594</c:v>
                </c:pt>
                <c:pt idx="230">
                  <c:v>20594</c:v>
                </c:pt>
                <c:pt idx="231">
                  <c:v>20523</c:v>
                </c:pt>
                <c:pt idx="232">
                  <c:v>21137</c:v>
                </c:pt>
                <c:pt idx="233">
                  <c:v>21194</c:v>
                </c:pt>
                <c:pt idx="234">
                  <c:v>20520</c:v>
                </c:pt>
                <c:pt idx="235">
                  <c:v>21237</c:v>
                </c:pt>
                <c:pt idx="236">
                  <c:v>21237</c:v>
                </c:pt>
                <c:pt idx="237">
                  <c:v>21294</c:v>
                </c:pt>
                <c:pt idx="238">
                  <c:v>20337</c:v>
                </c:pt>
                <c:pt idx="239">
                  <c:v>20238</c:v>
                </c:pt>
                <c:pt idx="240">
                  <c:v>20750</c:v>
                </c:pt>
                <c:pt idx="241">
                  <c:v>20802</c:v>
                </c:pt>
                <c:pt idx="242">
                  <c:v>20802</c:v>
                </c:pt>
                <c:pt idx="243">
                  <c:v>20802</c:v>
                </c:pt>
                <c:pt idx="244">
                  <c:v>20802</c:v>
                </c:pt>
                <c:pt idx="245">
                  <c:v>20802</c:v>
                </c:pt>
                <c:pt idx="246">
                  <c:v>20802</c:v>
                </c:pt>
                <c:pt idx="247">
                  <c:v>20802</c:v>
                </c:pt>
                <c:pt idx="248">
                  <c:v>20802</c:v>
                </c:pt>
                <c:pt idx="249">
                  <c:v>20802</c:v>
                </c:pt>
                <c:pt idx="250">
                  <c:v>22793</c:v>
                </c:pt>
                <c:pt idx="251">
                  <c:v>21222</c:v>
                </c:pt>
                <c:pt idx="252">
                  <c:v>22181</c:v>
                </c:pt>
                <c:pt idx="253">
                  <c:v>22181</c:v>
                </c:pt>
                <c:pt idx="254">
                  <c:v>22393</c:v>
                </c:pt>
                <c:pt idx="255">
                  <c:v>22232</c:v>
                </c:pt>
                <c:pt idx="256">
                  <c:v>22233</c:v>
                </c:pt>
                <c:pt idx="257">
                  <c:v>22893</c:v>
                </c:pt>
                <c:pt idx="258">
                  <c:v>22894</c:v>
                </c:pt>
                <c:pt idx="259">
                  <c:v>22993</c:v>
                </c:pt>
                <c:pt idx="260">
                  <c:v>22994</c:v>
                </c:pt>
                <c:pt idx="261">
                  <c:v>23093</c:v>
                </c:pt>
                <c:pt idx="262">
                  <c:v>22367</c:v>
                </c:pt>
                <c:pt idx="263">
                  <c:v>22368</c:v>
                </c:pt>
                <c:pt idx="264">
                  <c:v>22368</c:v>
                </c:pt>
                <c:pt idx="265">
                  <c:v>22793</c:v>
                </c:pt>
                <c:pt idx="266">
                  <c:v>22794</c:v>
                </c:pt>
                <c:pt idx="267">
                  <c:v>24093</c:v>
                </c:pt>
                <c:pt idx="268">
                  <c:v>24094</c:v>
                </c:pt>
                <c:pt idx="269">
                  <c:v>24094</c:v>
                </c:pt>
                <c:pt idx="270">
                  <c:v>22842</c:v>
                </c:pt>
                <c:pt idx="271">
                  <c:v>22571</c:v>
                </c:pt>
                <c:pt idx="272">
                  <c:v>22571</c:v>
                </c:pt>
                <c:pt idx="273">
                  <c:v>22571</c:v>
                </c:pt>
                <c:pt idx="274">
                  <c:v>22571</c:v>
                </c:pt>
                <c:pt idx="275">
                  <c:v>22371</c:v>
                </c:pt>
                <c:pt idx="276">
                  <c:v>21913</c:v>
                </c:pt>
                <c:pt idx="277">
                  <c:v>21071</c:v>
                </c:pt>
                <c:pt idx="278">
                  <c:v>21832</c:v>
                </c:pt>
                <c:pt idx="279">
                  <c:v>21726</c:v>
                </c:pt>
                <c:pt idx="280">
                  <c:v>21071</c:v>
                </c:pt>
                <c:pt idx="281">
                  <c:v>21578</c:v>
                </c:pt>
                <c:pt idx="282">
                  <c:v>21407</c:v>
                </c:pt>
                <c:pt idx="283">
                  <c:v>21170</c:v>
                </c:pt>
                <c:pt idx="284">
                  <c:v>21086</c:v>
                </c:pt>
                <c:pt idx="285">
                  <c:v>21086</c:v>
                </c:pt>
                <c:pt idx="286">
                  <c:v>21236</c:v>
                </c:pt>
                <c:pt idx="287">
                  <c:v>21949</c:v>
                </c:pt>
                <c:pt idx="288">
                  <c:v>22585</c:v>
                </c:pt>
                <c:pt idx="289">
                  <c:v>22529</c:v>
                </c:pt>
                <c:pt idx="290">
                  <c:v>22283</c:v>
                </c:pt>
                <c:pt idx="291">
                  <c:v>21789</c:v>
                </c:pt>
                <c:pt idx="292">
                  <c:v>21773</c:v>
                </c:pt>
                <c:pt idx="293">
                  <c:v>22685</c:v>
                </c:pt>
                <c:pt idx="294">
                  <c:v>22668</c:v>
                </c:pt>
                <c:pt idx="295">
                  <c:v>22668</c:v>
                </c:pt>
                <c:pt idx="296">
                  <c:v>21438</c:v>
                </c:pt>
                <c:pt idx="297">
                  <c:v>21423</c:v>
                </c:pt>
                <c:pt idx="298">
                  <c:v>23311</c:v>
                </c:pt>
                <c:pt idx="299">
                  <c:v>23877</c:v>
                </c:pt>
                <c:pt idx="300">
                  <c:v>23861</c:v>
                </c:pt>
                <c:pt idx="301">
                  <c:v>23861</c:v>
                </c:pt>
                <c:pt idx="302">
                  <c:v>23861</c:v>
                </c:pt>
                <c:pt idx="303">
                  <c:v>23861</c:v>
                </c:pt>
                <c:pt idx="304">
                  <c:v>23861</c:v>
                </c:pt>
                <c:pt idx="305">
                  <c:v>23861</c:v>
                </c:pt>
                <c:pt idx="306">
                  <c:v>23811</c:v>
                </c:pt>
                <c:pt idx="307">
                  <c:v>23876</c:v>
                </c:pt>
                <c:pt idx="308">
                  <c:v>22281</c:v>
                </c:pt>
                <c:pt idx="309">
                  <c:v>24786</c:v>
                </c:pt>
                <c:pt idx="310">
                  <c:v>23961</c:v>
                </c:pt>
                <c:pt idx="311">
                  <c:v>24090</c:v>
                </c:pt>
                <c:pt idx="312">
                  <c:v>24083</c:v>
                </c:pt>
                <c:pt idx="313">
                  <c:v>24083</c:v>
                </c:pt>
                <c:pt idx="314">
                  <c:v>24083</c:v>
                </c:pt>
                <c:pt idx="315">
                  <c:v>24083</c:v>
                </c:pt>
                <c:pt idx="316">
                  <c:v>24083</c:v>
                </c:pt>
                <c:pt idx="317">
                  <c:v>24083</c:v>
                </c:pt>
                <c:pt idx="318">
                  <c:v>22988</c:v>
                </c:pt>
                <c:pt idx="319">
                  <c:v>25711</c:v>
                </c:pt>
                <c:pt idx="320">
                  <c:v>25712</c:v>
                </c:pt>
                <c:pt idx="321">
                  <c:v>25229</c:v>
                </c:pt>
                <c:pt idx="322">
                  <c:v>25711</c:v>
                </c:pt>
                <c:pt idx="323">
                  <c:v>23711</c:v>
                </c:pt>
                <c:pt idx="324">
                  <c:v>25378</c:v>
                </c:pt>
                <c:pt idx="325">
                  <c:v>24597</c:v>
                </c:pt>
                <c:pt idx="326">
                  <c:v>26211</c:v>
                </c:pt>
                <c:pt idx="327">
                  <c:v>26212</c:v>
                </c:pt>
                <c:pt idx="328">
                  <c:v>26211</c:v>
                </c:pt>
                <c:pt idx="329">
                  <c:v>24974</c:v>
                </c:pt>
                <c:pt idx="330">
                  <c:v>24052</c:v>
                </c:pt>
                <c:pt idx="331">
                  <c:v>24053</c:v>
                </c:pt>
                <c:pt idx="332">
                  <c:v>24053</c:v>
                </c:pt>
                <c:pt idx="333">
                  <c:v>26102</c:v>
                </c:pt>
                <c:pt idx="334">
                  <c:v>25591</c:v>
                </c:pt>
                <c:pt idx="335">
                  <c:v>24972</c:v>
                </c:pt>
                <c:pt idx="336">
                  <c:v>22884</c:v>
                </c:pt>
                <c:pt idx="337">
                  <c:v>24813</c:v>
                </c:pt>
                <c:pt idx="338">
                  <c:v>24711</c:v>
                </c:pt>
                <c:pt idx="339">
                  <c:v>23414</c:v>
                </c:pt>
                <c:pt idx="340">
                  <c:v>23556</c:v>
                </c:pt>
                <c:pt idx="341">
                  <c:v>23558</c:v>
                </c:pt>
                <c:pt idx="342">
                  <c:v>23558</c:v>
                </c:pt>
                <c:pt idx="343">
                  <c:v>23054</c:v>
                </c:pt>
                <c:pt idx="344">
                  <c:v>24111</c:v>
                </c:pt>
                <c:pt idx="345">
                  <c:v>24195</c:v>
                </c:pt>
                <c:pt idx="346">
                  <c:v>24111</c:v>
                </c:pt>
                <c:pt idx="347">
                  <c:v>24112</c:v>
                </c:pt>
                <c:pt idx="348">
                  <c:v>24611</c:v>
                </c:pt>
                <c:pt idx="349">
                  <c:v>24612</c:v>
                </c:pt>
                <c:pt idx="350">
                  <c:v>23513</c:v>
                </c:pt>
                <c:pt idx="351">
                  <c:v>24611</c:v>
                </c:pt>
                <c:pt idx="352">
                  <c:v>23019</c:v>
                </c:pt>
                <c:pt idx="353">
                  <c:v>23021</c:v>
                </c:pt>
                <c:pt idx="354">
                  <c:v>23232</c:v>
                </c:pt>
                <c:pt idx="355">
                  <c:v>24605</c:v>
                </c:pt>
                <c:pt idx="356">
                  <c:v>24467</c:v>
                </c:pt>
                <c:pt idx="357">
                  <c:v>24792</c:v>
                </c:pt>
                <c:pt idx="358">
                  <c:v>25011</c:v>
                </c:pt>
                <c:pt idx="359">
                  <c:v>23055</c:v>
                </c:pt>
                <c:pt idx="360">
                  <c:v>24111</c:v>
                </c:pt>
                <c:pt idx="361">
                  <c:v>22473</c:v>
                </c:pt>
                <c:pt idx="362">
                  <c:v>21968</c:v>
                </c:pt>
                <c:pt idx="363">
                  <c:v>24911</c:v>
                </c:pt>
                <c:pt idx="364">
                  <c:v>24912</c:v>
                </c:pt>
                <c:pt idx="365">
                  <c:v>24912</c:v>
                </c:pt>
                <c:pt idx="366">
                  <c:v>24912</c:v>
                </c:pt>
                <c:pt idx="367">
                  <c:v>24912</c:v>
                </c:pt>
                <c:pt idx="368">
                  <c:v>21899</c:v>
                </c:pt>
                <c:pt idx="369">
                  <c:v>22711</c:v>
                </c:pt>
                <c:pt idx="370">
                  <c:v>22866</c:v>
                </c:pt>
                <c:pt idx="371">
                  <c:v>21992</c:v>
                </c:pt>
                <c:pt idx="372">
                  <c:v>23311</c:v>
                </c:pt>
                <c:pt idx="373">
                  <c:v>22598</c:v>
                </c:pt>
                <c:pt idx="374">
                  <c:v>22838</c:v>
                </c:pt>
                <c:pt idx="375">
                  <c:v>23061</c:v>
                </c:pt>
                <c:pt idx="376">
                  <c:v>23061</c:v>
                </c:pt>
                <c:pt idx="377">
                  <c:v>22524</c:v>
                </c:pt>
                <c:pt idx="378">
                  <c:v>23011</c:v>
                </c:pt>
                <c:pt idx="379">
                  <c:v>24600</c:v>
                </c:pt>
                <c:pt idx="380">
                  <c:v>23756</c:v>
                </c:pt>
                <c:pt idx="381">
                  <c:v>23811</c:v>
                </c:pt>
                <c:pt idx="382">
                  <c:v>23811</c:v>
                </c:pt>
                <c:pt idx="383">
                  <c:v>23911</c:v>
                </c:pt>
                <c:pt idx="384">
                  <c:v>23230</c:v>
                </c:pt>
                <c:pt idx="385">
                  <c:v>24398</c:v>
                </c:pt>
                <c:pt idx="386">
                  <c:v>23625</c:v>
                </c:pt>
                <c:pt idx="387">
                  <c:v>23633</c:v>
                </c:pt>
                <c:pt idx="388">
                  <c:v>24892</c:v>
                </c:pt>
                <c:pt idx="389">
                  <c:v>24851</c:v>
                </c:pt>
                <c:pt idx="390">
                  <c:v>24911</c:v>
                </c:pt>
                <c:pt idx="391">
                  <c:v>25226</c:v>
                </c:pt>
                <c:pt idx="392">
                  <c:v>24851</c:v>
                </c:pt>
                <c:pt idx="393">
                  <c:v>24851</c:v>
                </c:pt>
                <c:pt idx="394">
                  <c:v>24951</c:v>
                </c:pt>
                <c:pt idx="395">
                  <c:v>25214</c:v>
                </c:pt>
                <c:pt idx="396">
                  <c:v>23195</c:v>
                </c:pt>
                <c:pt idx="397">
                  <c:v>23195</c:v>
                </c:pt>
                <c:pt idx="398">
                  <c:v>24606</c:v>
                </c:pt>
                <c:pt idx="399">
                  <c:v>24185</c:v>
                </c:pt>
                <c:pt idx="400">
                  <c:v>24185</c:v>
                </c:pt>
                <c:pt idx="401">
                  <c:v>25261</c:v>
                </c:pt>
                <c:pt idx="402">
                  <c:v>25261</c:v>
                </c:pt>
                <c:pt idx="403">
                  <c:v>24311</c:v>
                </c:pt>
                <c:pt idx="404">
                  <c:v>24377</c:v>
                </c:pt>
                <c:pt idx="405">
                  <c:v>24311</c:v>
                </c:pt>
                <c:pt idx="406">
                  <c:v>24311</c:v>
                </c:pt>
                <c:pt idx="407">
                  <c:v>24325</c:v>
                </c:pt>
                <c:pt idx="408">
                  <c:v>23521</c:v>
                </c:pt>
                <c:pt idx="409">
                  <c:v>23850</c:v>
                </c:pt>
                <c:pt idx="410">
                  <c:v>24552</c:v>
                </c:pt>
                <c:pt idx="411">
                  <c:v>24603</c:v>
                </c:pt>
                <c:pt idx="412">
                  <c:v>24130</c:v>
                </c:pt>
                <c:pt idx="413">
                  <c:v>25618</c:v>
                </c:pt>
                <c:pt idx="414">
                  <c:v>25006</c:v>
                </c:pt>
                <c:pt idx="415">
                  <c:v>24885</c:v>
                </c:pt>
                <c:pt idx="416">
                  <c:v>25128</c:v>
                </c:pt>
                <c:pt idx="417">
                  <c:v>25761</c:v>
                </c:pt>
                <c:pt idx="418">
                  <c:v>25253</c:v>
                </c:pt>
                <c:pt idx="419">
                  <c:v>24472</c:v>
                </c:pt>
                <c:pt idx="420">
                  <c:v>25311</c:v>
                </c:pt>
                <c:pt idx="421">
                  <c:v>25692</c:v>
                </c:pt>
                <c:pt idx="422">
                  <c:v>25611</c:v>
                </c:pt>
                <c:pt idx="423">
                  <c:v>25511</c:v>
                </c:pt>
                <c:pt idx="424">
                  <c:v>25273</c:v>
                </c:pt>
                <c:pt idx="425">
                  <c:v>26411</c:v>
                </c:pt>
                <c:pt idx="426">
                  <c:v>26911</c:v>
                </c:pt>
                <c:pt idx="427">
                  <c:v>26911</c:v>
                </c:pt>
                <c:pt idx="428">
                  <c:v>27011</c:v>
                </c:pt>
                <c:pt idx="429">
                  <c:v>26619</c:v>
                </c:pt>
                <c:pt idx="430">
                  <c:v>26619</c:v>
                </c:pt>
                <c:pt idx="431">
                  <c:v>26841</c:v>
                </c:pt>
                <c:pt idx="432">
                  <c:v>26841</c:v>
                </c:pt>
                <c:pt idx="433">
                  <c:v>26847</c:v>
                </c:pt>
                <c:pt idx="434">
                  <c:v>28311</c:v>
                </c:pt>
                <c:pt idx="435">
                  <c:v>28311</c:v>
                </c:pt>
                <c:pt idx="436">
                  <c:v>28311</c:v>
                </c:pt>
                <c:pt idx="437">
                  <c:v>28311</c:v>
                </c:pt>
                <c:pt idx="438">
                  <c:v>28235</c:v>
                </c:pt>
                <c:pt idx="439">
                  <c:v>27987</c:v>
                </c:pt>
                <c:pt idx="440">
                  <c:v>27987</c:v>
                </c:pt>
                <c:pt idx="441">
                  <c:v>27987</c:v>
                </c:pt>
                <c:pt idx="442">
                  <c:v>28094</c:v>
                </c:pt>
                <c:pt idx="443">
                  <c:v>28094</c:v>
                </c:pt>
                <c:pt idx="444">
                  <c:v>28094</c:v>
                </c:pt>
                <c:pt idx="445">
                  <c:v>28094</c:v>
                </c:pt>
                <c:pt idx="446">
                  <c:v>28033</c:v>
                </c:pt>
                <c:pt idx="447">
                  <c:v>31311</c:v>
                </c:pt>
                <c:pt idx="448">
                  <c:v>31311</c:v>
                </c:pt>
                <c:pt idx="449">
                  <c:v>31311</c:v>
                </c:pt>
                <c:pt idx="450">
                  <c:v>31311</c:v>
                </c:pt>
                <c:pt idx="451">
                  <c:v>31311</c:v>
                </c:pt>
                <c:pt idx="452">
                  <c:v>31311</c:v>
                </c:pt>
                <c:pt idx="453">
                  <c:v>29076</c:v>
                </c:pt>
                <c:pt idx="454">
                  <c:v>29076</c:v>
                </c:pt>
                <c:pt idx="455">
                  <c:v>29076</c:v>
                </c:pt>
                <c:pt idx="456">
                  <c:v>29076</c:v>
                </c:pt>
                <c:pt idx="457">
                  <c:v>28409</c:v>
                </c:pt>
                <c:pt idx="458">
                  <c:v>28409</c:v>
                </c:pt>
                <c:pt idx="459">
                  <c:v>28618</c:v>
                </c:pt>
                <c:pt idx="460">
                  <c:v>28714</c:v>
                </c:pt>
                <c:pt idx="461">
                  <c:v>28714</c:v>
                </c:pt>
                <c:pt idx="462">
                  <c:v>28714</c:v>
                </c:pt>
                <c:pt idx="463">
                  <c:v>28714</c:v>
                </c:pt>
                <c:pt idx="464">
                  <c:v>28714</c:v>
                </c:pt>
                <c:pt idx="465">
                  <c:v>28714</c:v>
                </c:pt>
                <c:pt idx="466">
                  <c:v>28714</c:v>
                </c:pt>
                <c:pt idx="467">
                  <c:v>27008</c:v>
                </c:pt>
                <c:pt idx="468">
                  <c:v>27008</c:v>
                </c:pt>
                <c:pt idx="469">
                  <c:v>27008</c:v>
                </c:pt>
                <c:pt idx="470">
                  <c:v>27008</c:v>
                </c:pt>
                <c:pt idx="471">
                  <c:v>27008</c:v>
                </c:pt>
                <c:pt idx="472">
                  <c:v>27008</c:v>
                </c:pt>
                <c:pt idx="473">
                  <c:v>27235</c:v>
                </c:pt>
                <c:pt idx="474">
                  <c:v>26821</c:v>
                </c:pt>
                <c:pt idx="475">
                  <c:v>26821</c:v>
                </c:pt>
                <c:pt idx="476">
                  <c:v>27300</c:v>
                </c:pt>
                <c:pt idx="477">
                  <c:v>27300</c:v>
                </c:pt>
                <c:pt idx="478">
                  <c:v>27287</c:v>
                </c:pt>
                <c:pt idx="479">
                  <c:v>27199</c:v>
                </c:pt>
                <c:pt idx="480">
                  <c:v>26726</c:v>
                </c:pt>
                <c:pt idx="481">
                  <c:v>26726</c:v>
                </c:pt>
                <c:pt idx="482">
                  <c:v>26789</c:v>
                </c:pt>
                <c:pt idx="483">
                  <c:v>27285</c:v>
                </c:pt>
                <c:pt idx="484">
                  <c:v>26905</c:v>
                </c:pt>
                <c:pt idx="485">
                  <c:v>26905</c:v>
                </c:pt>
                <c:pt idx="486">
                  <c:v>26905</c:v>
                </c:pt>
                <c:pt idx="487">
                  <c:v>26587</c:v>
                </c:pt>
                <c:pt idx="488">
                  <c:v>26587</c:v>
                </c:pt>
                <c:pt idx="489">
                  <c:v>26587</c:v>
                </c:pt>
                <c:pt idx="490">
                  <c:v>26201</c:v>
                </c:pt>
                <c:pt idx="491">
                  <c:v>26201</c:v>
                </c:pt>
                <c:pt idx="492">
                  <c:v>26985</c:v>
                </c:pt>
                <c:pt idx="493">
                  <c:v>26985</c:v>
                </c:pt>
                <c:pt idx="494">
                  <c:v>27087</c:v>
                </c:pt>
                <c:pt idx="495">
                  <c:v>27087</c:v>
                </c:pt>
                <c:pt idx="496">
                  <c:v>27087</c:v>
                </c:pt>
                <c:pt idx="497">
                  <c:v>27087</c:v>
                </c:pt>
                <c:pt idx="498">
                  <c:v>27087</c:v>
                </c:pt>
                <c:pt idx="499">
                  <c:v>27087</c:v>
                </c:pt>
                <c:pt idx="500">
                  <c:v>27087</c:v>
                </c:pt>
                <c:pt idx="501">
                  <c:v>27102</c:v>
                </c:pt>
                <c:pt idx="502">
                  <c:v>27102</c:v>
                </c:pt>
                <c:pt idx="503">
                  <c:v>27102</c:v>
                </c:pt>
                <c:pt idx="504">
                  <c:v>27102</c:v>
                </c:pt>
                <c:pt idx="505">
                  <c:v>27102</c:v>
                </c:pt>
                <c:pt idx="506">
                  <c:v>27102</c:v>
                </c:pt>
                <c:pt idx="507">
                  <c:v>26790</c:v>
                </c:pt>
                <c:pt idx="508">
                  <c:v>26790</c:v>
                </c:pt>
                <c:pt idx="509">
                  <c:v>26790</c:v>
                </c:pt>
                <c:pt idx="510">
                  <c:v>26790</c:v>
                </c:pt>
                <c:pt idx="511">
                  <c:v>26790</c:v>
                </c:pt>
                <c:pt idx="512">
                  <c:v>26635</c:v>
                </c:pt>
                <c:pt idx="513">
                  <c:v>26685</c:v>
                </c:pt>
                <c:pt idx="514">
                  <c:v>27025</c:v>
                </c:pt>
                <c:pt idx="515">
                  <c:v>27025</c:v>
                </c:pt>
                <c:pt idx="516">
                  <c:v>25397</c:v>
                </c:pt>
                <c:pt idx="517">
                  <c:v>25397</c:v>
                </c:pt>
                <c:pt idx="518">
                  <c:v>25397</c:v>
                </c:pt>
                <c:pt idx="519">
                  <c:v>25397</c:v>
                </c:pt>
                <c:pt idx="520">
                  <c:v>25754</c:v>
                </c:pt>
                <c:pt idx="521">
                  <c:v>26725</c:v>
                </c:pt>
                <c:pt idx="522">
                  <c:v>26725</c:v>
                </c:pt>
                <c:pt idx="523">
                  <c:v>26725</c:v>
                </c:pt>
                <c:pt idx="524">
                  <c:v>27658</c:v>
                </c:pt>
                <c:pt idx="525">
                  <c:v>27658</c:v>
                </c:pt>
                <c:pt idx="526">
                  <c:v>27198</c:v>
                </c:pt>
                <c:pt idx="527">
                  <c:v>27861</c:v>
                </c:pt>
                <c:pt idx="528">
                  <c:v>28063</c:v>
                </c:pt>
                <c:pt idx="529">
                  <c:v>27419</c:v>
                </c:pt>
                <c:pt idx="530">
                  <c:v>27419</c:v>
                </c:pt>
                <c:pt idx="531">
                  <c:v>27419</c:v>
                </c:pt>
                <c:pt idx="532">
                  <c:v>27419</c:v>
                </c:pt>
                <c:pt idx="533">
                  <c:v>27419</c:v>
                </c:pt>
                <c:pt idx="534">
                  <c:v>27680</c:v>
                </c:pt>
                <c:pt idx="535">
                  <c:v>26901</c:v>
                </c:pt>
                <c:pt idx="536">
                  <c:v>26901</c:v>
                </c:pt>
                <c:pt idx="537">
                  <c:v>26901</c:v>
                </c:pt>
                <c:pt idx="538">
                  <c:v>28659</c:v>
                </c:pt>
                <c:pt idx="539">
                  <c:v>29558</c:v>
                </c:pt>
                <c:pt idx="540">
                  <c:v>29558</c:v>
                </c:pt>
                <c:pt idx="541">
                  <c:v>28425</c:v>
                </c:pt>
                <c:pt idx="542">
                  <c:v>28001</c:v>
                </c:pt>
                <c:pt idx="543">
                  <c:v>28216</c:v>
                </c:pt>
                <c:pt idx="544">
                  <c:v>29558</c:v>
                </c:pt>
                <c:pt idx="545">
                  <c:v>28261</c:v>
                </c:pt>
                <c:pt idx="546">
                  <c:v>29558</c:v>
                </c:pt>
                <c:pt idx="547">
                  <c:v>29558</c:v>
                </c:pt>
                <c:pt idx="548">
                  <c:v>29558</c:v>
                </c:pt>
                <c:pt idx="549">
                  <c:v>28540</c:v>
                </c:pt>
                <c:pt idx="550">
                  <c:v>28150</c:v>
                </c:pt>
                <c:pt idx="551">
                  <c:v>28567</c:v>
                </c:pt>
                <c:pt idx="552">
                  <c:v>29476</c:v>
                </c:pt>
                <c:pt idx="553">
                  <c:v>28417</c:v>
                </c:pt>
                <c:pt idx="554">
                  <c:v>28190</c:v>
                </c:pt>
                <c:pt idx="555">
                  <c:v>27745</c:v>
                </c:pt>
                <c:pt idx="556">
                  <c:v>28608</c:v>
                </c:pt>
                <c:pt idx="557">
                  <c:v>27840</c:v>
                </c:pt>
                <c:pt idx="558">
                  <c:v>28210</c:v>
                </c:pt>
                <c:pt idx="559">
                  <c:v>28210</c:v>
                </c:pt>
                <c:pt idx="560">
                  <c:v>29558</c:v>
                </c:pt>
                <c:pt idx="561">
                  <c:v>28258</c:v>
                </c:pt>
                <c:pt idx="562">
                  <c:v>28397</c:v>
                </c:pt>
                <c:pt idx="563">
                  <c:v>28058</c:v>
                </c:pt>
                <c:pt idx="564">
                  <c:v>28107</c:v>
                </c:pt>
                <c:pt idx="565">
                  <c:v>28458</c:v>
                </c:pt>
                <c:pt idx="566">
                  <c:v>29252</c:v>
                </c:pt>
                <c:pt idx="567">
                  <c:v>29252</c:v>
                </c:pt>
                <c:pt idx="568">
                  <c:v>28409</c:v>
                </c:pt>
                <c:pt idx="569">
                  <c:v>28410</c:v>
                </c:pt>
                <c:pt idx="570">
                  <c:v>28558</c:v>
                </c:pt>
                <c:pt idx="571">
                  <c:v>28492</c:v>
                </c:pt>
                <c:pt idx="572">
                  <c:v>29031</c:v>
                </c:pt>
                <c:pt idx="573">
                  <c:v>28458</c:v>
                </c:pt>
                <c:pt idx="574">
                  <c:v>28458</c:v>
                </c:pt>
                <c:pt idx="575">
                  <c:v>28459</c:v>
                </c:pt>
                <c:pt idx="576">
                  <c:v>28361</c:v>
                </c:pt>
                <c:pt idx="577">
                  <c:v>28062</c:v>
                </c:pt>
                <c:pt idx="578">
                  <c:v>29434</c:v>
                </c:pt>
                <c:pt idx="579">
                  <c:v>27758</c:v>
                </c:pt>
                <c:pt idx="580">
                  <c:v>27587</c:v>
                </c:pt>
                <c:pt idx="581">
                  <c:v>28969</c:v>
                </c:pt>
                <c:pt idx="582">
                  <c:v>27626</c:v>
                </c:pt>
                <c:pt idx="583">
                  <c:v>27713</c:v>
                </c:pt>
                <c:pt idx="584">
                  <c:v>29104</c:v>
                </c:pt>
                <c:pt idx="585">
                  <c:v>27431</c:v>
                </c:pt>
                <c:pt idx="586">
                  <c:v>28063</c:v>
                </c:pt>
                <c:pt idx="587">
                  <c:v>27020</c:v>
                </c:pt>
                <c:pt idx="588">
                  <c:v>26922</c:v>
                </c:pt>
                <c:pt idx="589">
                  <c:v>26668</c:v>
                </c:pt>
                <c:pt idx="590">
                  <c:v>27550</c:v>
                </c:pt>
                <c:pt idx="591">
                  <c:v>27488</c:v>
                </c:pt>
                <c:pt idx="592">
                  <c:v>27684</c:v>
                </c:pt>
                <c:pt idx="593">
                  <c:v>27371</c:v>
                </c:pt>
                <c:pt idx="594">
                  <c:v>27301</c:v>
                </c:pt>
                <c:pt idx="595">
                  <c:v>27048</c:v>
                </c:pt>
                <c:pt idx="596">
                  <c:v>27204</c:v>
                </c:pt>
                <c:pt idx="597">
                  <c:v>27810</c:v>
                </c:pt>
                <c:pt idx="598">
                  <c:v>27415</c:v>
                </c:pt>
                <c:pt idx="599">
                  <c:v>27307</c:v>
                </c:pt>
                <c:pt idx="600">
                  <c:v>27594</c:v>
                </c:pt>
                <c:pt idx="601">
                  <c:v>27087</c:v>
                </c:pt>
                <c:pt idx="602">
                  <c:v>27679</c:v>
                </c:pt>
                <c:pt idx="603">
                  <c:v>27058</c:v>
                </c:pt>
                <c:pt idx="604">
                  <c:v>26974</c:v>
                </c:pt>
                <c:pt idx="605">
                  <c:v>26986</c:v>
                </c:pt>
                <c:pt idx="606">
                  <c:v>26937</c:v>
                </c:pt>
                <c:pt idx="607">
                  <c:v>27061</c:v>
                </c:pt>
                <c:pt idx="608">
                  <c:v>27555</c:v>
                </c:pt>
                <c:pt idx="609">
                  <c:v>26848</c:v>
                </c:pt>
                <c:pt idx="610">
                  <c:v>26451</c:v>
                </c:pt>
                <c:pt idx="611">
                  <c:v>26415</c:v>
                </c:pt>
                <c:pt idx="612">
                  <c:v>26351</c:v>
                </c:pt>
                <c:pt idx="613">
                  <c:v>26358</c:v>
                </c:pt>
                <c:pt idx="614">
                  <c:v>26873</c:v>
                </c:pt>
                <c:pt idx="615">
                  <c:v>26413</c:v>
                </c:pt>
                <c:pt idx="616">
                  <c:v>26904</c:v>
                </c:pt>
                <c:pt idx="617">
                  <c:v>27502</c:v>
                </c:pt>
                <c:pt idx="618">
                  <c:v>27193</c:v>
                </c:pt>
                <c:pt idx="619">
                  <c:v>26899</c:v>
                </c:pt>
                <c:pt idx="620">
                  <c:v>27168</c:v>
                </c:pt>
                <c:pt idx="621">
                  <c:v>27295</c:v>
                </c:pt>
                <c:pt idx="622">
                  <c:v>27630</c:v>
                </c:pt>
                <c:pt idx="623">
                  <c:v>27347</c:v>
                </c:pt>
                <c:pt idx="624">
                  <c:v>27329</c:v>
                </c:pt>
                <c:pt idx="625">
                  <c:v>27521</c:v>
                </c:pt>
                <c:pt idx="626">
                  <c:v>27208</c:v>
                </c:pt>
                <c:pt idx="627">
                  <c:v>27630</c:v>
                </c:pt>
                <c:pt idx="628">
                  <c:v>27515</c:v>
                </c:pt>
                <c:pt idx="629">
                  <c:v>28187</c:v>
                </c:pt>
                <c:pt idx="630">
                  <c:v>28148</c:v>
                </c:pt>
                <c:pt idx="631">
                  <c:v>28122</c:v>
                </c:pt>
                <c:pt idx="632">
                  <c:v>28302</c:v>
                </c:pt>
                <c:pt idx="633">
                  <c:v>28488</c:v>
                </c:pt>
                <c:pt idx="634">
                  <c:v>28965</c:v>
                </c:pt>
                <c:pt idx="635">
                  <c:v>29083</c:v>
                </c:pt>
                <c:pt idx="636">
                  <c:v>29186</c:v>
                </c:pt>
                <c:pt idx="637">
                  <c:v>29516</c:v>
                </c:pt>
                <c:pt idx="638">
                  <c:v>29640</c:v>
                </c:pt>
                <c:pt idx="639">
                  <c:v>29540</c:v>
                </c:pt>
                <c:pt idx="640">
                  <c:v>29753</c:v>
                </c:pt>
                <c:pt idx="641">
                  <c:v>29487</c:v>
                </c:pt>
                <c:pt idx="642">
                  <c:v>29614</c:v>
                </c:pt>
                <c:pt idx="643">
                  <c:v>30235</c:v>
                </c:pt>
                <c:pt idx="644">
                  <c:v>30114</c:v>
                </c:pt>
                <c:pt idx="645">
                  <c:v>30457</c:v>
                </c:pt>
                <c:pt idx="646">
                  <c:v>30343</c:v>
                </c:pt>
                <c:pt idx="647">
                  <c:v>30578</c:v>
                </c:pt>
                <c:pt idx="648">
                  <c:v>31929</c:v>
                </c:pt>
                <c:pt idx="649">
                  <c:v>30698</c:v>
                </c:pt>
                <c:pt idx="650">
                  <c:v>31190</c:v>
                </c:pt>
                <c:pt idx="651">
                  <c:v>30817</c:v>
                </c:pt>
                <c:pt idx="652">
                  <c:v>31027</c:v>
                </c:pt>
                <c:pt idx="653">
                  <c:v>31021</c:v>
                </c:pt>
                <c:pt idx="654">
                  <c:v>30524</c:v>
                </c:pt>
                <c:pt idx="655">
                  <c:v>31122</c:v>
                </c:pt>
                <c:pt idx="656">
                  <c:v>31405</c:v>
                </c:pt>
                <c:pt idx="657">
                  <c:v>31640</c:v>
                </c:pt>
                <c:pt idx="658">
                  <c:v>31879</c:v>
                </c:pt>
                <c:pt idx="659">
                  <c:v>31748</c:v>
                </c:pt>
                <c:pt idx="660">
                  <c:v>31692</c:v>
                </c:pt>
                <c:pt idx="661">
                  <c:v>31672</c:v>
                </c:pt>
                <c:pt idx="662">
                  <c:v>31945</c:v>
                </c:pt>
                <c:pt idx="663">
                  <c:v>31889</c:v>
                </c:pt>
                <c:pt idx="664">
                  <c:v>31399</c:v>
                </c:pt>
                <c:pt idx="665">
                  <c:v>32246</c:v>
                </c:pt>
                <c:pt idx="666">
                  <c:v>31964</c:v>
                </c:pt>
                <c:pt idx="667">
                  <c:v>31804</c:v>
                </c:pt>
                <c:pt idx="668">
                  <c:v>31692</c:v>
                </c:pt>
                <c:pt idx="669">
                  <c:v>31462</c:v>
                </c:pt>
                <c:pt idx="670">
                  <c:v>31287</c:v>
                </c:pt>
                <c:pt idx="671">
                  <c:v>31240</c:v>
                </c:pt>
                <c:pt idx="672">
                  <c:v>31807</c:v>
                </c:pt>
                <c:pt idx="673">
                  <c:v>30857</c:v>
                </c:pt>
                <c:pt idx="674">
                  <c:v>30577</c:v>
                </c:pt>
                <c:pt idx="675">
                  <c:v>32308</c:v>
                </c:pt>
                <c:pt idx="676">
                  <c:v>32308</c:v>
                </c:pt>
                <c:pt idx="677">
                  <c:v>30451</c:v>
                </c:pt>
                <c:pt idx="678">
                  <c:v>30451</c:v>
                </c:pt>
                <c:pt idx="679">
                  <c:v>30451</c:v>
                </c:pt>
                <c:pt idx="680">
                  <c:v>32308</c:v>
                </c:pt>
                <c:pt idx="681">
                  <c:v>31238</c:v>
                </c:pt>
                <c:pt idx="682">
                  <c:v>32308</c:v>
                </c:pt>
                <c:pt idx="683">
                  <c:v>30584</c:v>
                </c:pt>
                <c:pt idx="684">
                  <c:v>30865</c:v>
                </c:pt>
                <c:pt idx="685">
                  <c:v>30865</c:v>
                </c:pt>
                <c:pt idx="686">
                  <c:v>30865</c:v>
                </c:pt>
                <c:pt idx="687">
                  <c:v>30868</c:v>
                </c:pt>
                <c:pt idx="688">
                  <c:v>30655</c:v>
                </c:pt>
                <c:pt idx="689">
                  <c:v>30655</c:v>
                </c:pt>
                <c:pt idx="690">
                  <c:v>30655</c:v>
                </c:pt>
                <c:pt idx="691">
                  <c:v>30706</c:v>
                </c:pt>
                <c:pt idx="692">
                  <c:v>30810</c:v>
                </c:pt>
                <c:pt idx="693">
                  <c:v>30865</c:v>
                </c:pt>
                <c:pt idx="694">
                  <c:v>30773</c:v>
                </c:pt>
                <c:pt idx="695">
                  <c:v>30757</c:v>
                </c:pt>
                <c:pt idx="696">
                  <c:v>30757</c:v>
                </c:pt>
                <c:pt idx="697">
                  <c:v>30757</c:v>
                </c:pt>
                <c:pt idx="698">
                  <c:v>30750</c:v>
                </c:pt>
                <c:pt idx="699">
                  <c:v>30815</c:v>
                </c:pt>
                <c:pt idx="700">
                  <c:v>30859</c:v>
                </c:pt>
                <c:pt idx="701">
                  <c:v>30225</c:v>
                </c:pt>
                <c:pt idx="702">
                  <c:v>30225</c:v>
                </c:pt>
                <c:pt idx="703">
                  <c:v>30225</c:v>
                </c:pt>
                <c:pt idx="704">
                  <c:v>30225</c:v>
                </c:pt>
                <c:pt idx="705">
                  <c:v>31425</c:v>
                </c:pt>
                <c:pt idx="706">
                  <c:v>30888</c:v>
                </c:pt>
                <c:pt idx="707">
                  <c:v>31014</c:v>
                </c:pt>
                <c:pt idx="708">
                  <c:v>31014</c:v>
                </c:pt>
                <c:pt idx="709">
                  <c:v>31014</c:v>
                </c:pt>
                <c:pt idx="710">
                  <c:v>31014</c:v>
                </c:pt>
                <c:pt idx="711">
                  <c:v>30925</c:v>
                </c:pt>
                <c:pt idx="712">
                  <c:v>30925</c:v>
                </c:pt>
                <c:pt idx="713">
                  <c:v>30925</c:v>
                </c:pt>
                <c:pt idx="714">
                  <c:v>30925</c:v>
                </c:pt>
                <c:pt idx="715">
                  <c:v>31669</c:v>
                </c:pt>
                <c:pt idx="716">
                  <c:v>31485</c:v>
                </c:pt>
                <c:pt idx="717">
                  <c:v>31485</c:v>
                </c:pt>
                <c:pt idx="718">
                  <c:v>31327</c:v>
                </c:pt>
                <c:pt idx="719">
                  <c:v>31275</c:v>
                </c:pt>
                <c:pt idx="720">
                  <c:v>31275</c:v>
                </c:pt>
                <c:pt idx="721">
                  <c:v>31275</c:v>
                </c:pt>
                <c:pt idx="722">
                  <c:v>30011</c:v>
                </c:pt>
                <c:pt idx="723">
                  <c:v>31275</c:v>
                </c:pt>
                <c:pt idx="724">
                  <c:v>31275</c:v>
                </c:pt>
                <c:pt idx="725">
                  <c:v>31275</c:v>
                </c:pt>
                <c:pt idx="726">
                  <c:v>31275</c:v>
                </c:pt>
                <c:pt idx="727">
                  <c:v>31275</c:v>
                </c:pt>
                <c:pt idx="728">
                  <c:v>31275</c:v>
                </c:pt>
                <c:pt idx="729">
                  <c:v>29988</c:v>
                </c:pt>
                <c:pt idx="730">
                  <c:v>29988</c:v>
                </c:pt>
                <c:pt idx="731">
                  <c:v>29988</c:v>
                </c:pt>
                <c:pt idx="732">
                  <c:v>29988</c:v>
                </c:pt>
                <c:pt idx="733">
                  <c:v>29988</c:v>
                </c:pt>
                <c:pt idx="734">
                  <c:v>29988</c:v>
                </c:pt>
                <c:pt idx="735">
                  <c:v>29988</c:v>
                </c:pt>
                <c:pt idx="736">
                  <c:v>29988</c:v>
                </c:pt>
                <c:pt idx="737">
                  <c:v>29988</c:v>
                </c:pt>
                <c:pt idx="738">
                  <c:v>29988</c:v>
                </c:pt>
                <c:pt idx="739">
                  <c:v>29988</c:v>
                </c:pt>
                <c:pt idx="740">
                  <c:v>29988</c:v>
                </c:pt>
                <c:pt idx="741">
                  <c:v>29280</c:v>
                </c:pt>
                <c:pt idx="742">
                  <c:v>29280</c:v>
                </c:pt>
                <c:pt idx="743">
                  <c:v>30475</c:v>
                </c:pt>
                <c:pt idx="744">
                  <c:v>30475</c:v>
                </c:pt>
                <c:pt idx="745">
                  <c:v>30475</c:v>
                </c:pt>
                <c:pt idx="746">
                  <c:v>30475</c:v>
                </c:pt>
                <c:pt idx="747">
                  <c:v>29274</c:v>
                </c:pt>
                <c:pt idx="748">
                  <c:v>29274</c:v>
                </c:pt>
                <c:pt idx="749">
                  <c:v>29274</c:v>
                </c:pt>
                <c:pt idx="750">
                  <c:v>31174</c:v>
                </c:pt>
                <c:pt idx="751">
                  <c:v>31174</c:v>
                </c:pt>
                <c:pt idx="752">
                  <c:v>31174</c:v>
                </c:pt>
                <c:pt idx="753">
                  <c:v>31174</c:v>
                </c:pt>
                <c:pt idx="754">
                  <c:v>31174</c:v>
                </c:pt>
                <c:pt idx="755">
                  <c:v>31174</c:v>
                </c:pt>
                <c:pt idx="756">
                  <c:v>31174</c:v>
                </c:pt>
                <c:pt idx="757">
                  <c:v>31174</c:v>
                </c:pt>
                <c:pt idx="758">
                  <c:v>31174</c:v>
                </c:pt>
                <c:pt idx="759">
                  <c:v>31174</c:v>
                </c:pt>
                <c:pt idx="760">
                  <c:v>30654</c:v>
                </c:pt>
                <c:pt idx="761">
                  <c:v>28384</c:v>
                </c:pt>
                <c:pt idx="762">
                  <c:v>30654</c:v>
                </c:pt>
                <c:pt idx="763">
                  <c:v>30654</c:v>
                </c:pt>
                <c:pt idx="764">
                  <c:v>28875</c:v>
                </c:pt>
                <c:pt idx="765">
                  <c:v>30254</c:v>
                </c:pt>
                <c:pt idx="766">
                  <c:v>30465</c:v>
                </c:pt>
                <c:pt idx="767">
                  <c:v>30451</c:v>
                </c:pt>
                <c:pt idx="768">
                  <c:v>30442</c:v>
                </c:pt>
                <c:pt idx="769">
                  <c:v>30451</c:v>
                </c:pt>
                <c:pt idx="770">
                  <c:v>30686</c:v>
                </c:pt>
                <c:pt idx="771">
                  <c:v>30716</c:v>
                </c:pt>
                <c:pt idx="772">
                  <c:v>30876</c:v>
                </c:pt>
                <c:pt idx="773">
                  <c:v>30871</c:v>
                </c:pt>
                <c:pt idx="774">
                  <c:v>30867</c:v>
                </c:pt>
                <c:pt idx="775">
                  <c:v>30867</c:v>
                </c:pt>
                <c:pt idx="776">
                  <c:v>30867</c:v>
                </c:pt>
                <c:pt idx="777">
                  <c:v>30867</c:v>
                </c:pt>
                <c:pt idx="778">
                  <c:v>30891</c:v>
                </c:pt>
                <c:pt idx="779">
                  <c:v>30922</c:v>
                </c:pt>
                <c:pt idx="780">
                  <c:v>30649</c:v>
                </c:pt>
                <c:pt idx="781">
                  <c:v>30587</c:v>
                </c:pt>
                <c:pt idx="782">
                  <c:v>30989</c:v>
                </c:pt>
                <c:pt idx="783">
                  <c:v>30715</c:v>
                </c:pt>
                <c:pt idx="784">
                  <c:v>30630</c:v>
                </c:pt>
                <c:pt idx="785">
                  <c:v>30630</c:v>
                </c:pt>
                <c:pt idx="786">
                  <c:v>30867</c:v>
                </c:pt>
                <c:pt idx="787">
                  <c:v>30867</c:v>
                </c:pt>
                <c:pt idx="788">
                  <c:v>30174</c:v>
                </c:pt>
                <c:pt idx="789">
                  <c:v>30385</c:v>
                </c:pt>
                <c:pt idx="790">
                  <c:v>30235</c:v>
                </c:pt>
                <c:pt idx="791">
                  <c:v>30458</c:v>
                </c:pt>
                <c:pt idx="792">
                  <c:v>30174</c:v>
                </c:pt>
                <c:pt idx="793">
                  <c:v>30129</c:v>
                </c:pt>
                <c:pt idx="794">
                  <c:v>29928</c:v>
                </c:pt>
                <c:pt idx="795">
                  <c:v>29773</c:v>
                </c:pt>
                <c:pt idx="796">
                  <c:v>30120</c:v>
                </c:pt>
                <c:pt idx="797">
                  <c:v>30099</c:v>
                </c:pt>
                <c:pt idx="798">
                  <c:v>29997</c:v>
                </c:pt>
                <c:pt idx="799">
                  <c:v>30302</c:v>
                </c:pt>
                <c:pt idx="800">
                  <c:v>30339</c:v>
                </c:pt>
                <c:pt idx="801">
                  <c:v>30539</c:v>
                </c:pt>
                <c:pt idx="802">
                  <c:v>30573</c:v>
                </c:pt>
                <c:pt idx="803">
                  <c:v>30746</c:v>
                </c:pt>
                <c:pt idx="804">
                  <c:v>31031</c:v>
                </c:pt>
                <c:pt idx="805">
                  <c:v>31271</c:v>
                </c:pt>
                <c:pt idx="806">
                  <c:v>31469</c:v>
                </c:pt>
                <c:pt idx="807">
                  <c:v>31644</c:v>
                </c:pt>
                <c:pt idx="808">
                  <c:v>31684</c:v>
                </c:pt>
                <c:pt idx="809">
                  <c:v>31703</c:v>
                </c:pt>
                <c:pt idx="810">
                  <c:v>31484</c:v>
                </c:pt>
                <c:pt idx="811">
                  <c:v>31409</c:v>
                </c:pt>
                <c:pt idx="812">
                  <c:v>31348</c:v>
                </c:pt>
                <c:pt idx="813">
                  <c:v>31124</c:v>
                </c:pt>
                <c:pt idx="814">
                  <c:v>30927</c:v>
                </c:pt>
                <c:pt idx="815">
                  <c:v>30771</c:v>
                </c:pt>
                <c:pt idx="816">
                  <c:v>30080</c:v>
                </c:pt>
                <c:pt idx="817">
                  <c:v>30052</c:v>
                </c:pt>
                <c:pt idx="818">
                  <c:v>29875</c:v>
                </c:pt>
                <c:pt idx="819">
                  <c:v>29701</c:v>
                </c:pt>
                <c:pt idx="820">
                  <c:v>29502</c:v>
                </c:pt>
                <c:pt idx="821">
                  <c:v>29983</c:v>
                </c:pt>
                <c:pt idx="822">
                  <c:v>29989</c:v>
                </c:pt>
                <c:pt idx="823">
                  <c:v>30012</c:v>
                </c:pt>
                <c:pt idx="824">
                  <c:v>30266</c:v>
                </c:pt>
                <c:pt idx="825">
                  <c:v>29903</c:v>
                </c:pt>
                <c:pt idx="826">
                  <c:v>30108</c:v>
                </c:pt>
                <c:pt idx="827">
                  <c:v>30267</c:v>
                </c:pt>
                <c:pt idx="828">
                  <c:v>29647</c:v>
                </c:pt>
                <c:pt idx="829">
                  <c:v>29984</c:v>
                </c:pt>
                <c:pt idx="830">
                  <c:v>30339</c:v>
                </c:pt>
                <c:pt idx="831">
                  <c:v>30230</c:v>
                </c:pt>
                <c:pt idx="832">
                  <c:v>30109</c:v>
                </c:pt>
                <c:pt idx="833">
                  <c:v>29699</c:v>
                </c:pt>
                <c:pt idx="834">
                  <c:v>29489</c:v>
                </c:pt>
                <c:pt idx="835">
                  <c:v>29272</c:v>
                </c:pt>
                <c:pt idx="836">
                  <c:v>28998</c:v>
                </c:pt>
                <c:pt idx="837">
                  <c:v>29029</c:v>
                </c:pt>
                <c:pt idx="838">
                  <c:v>29137</c:v>
                </c:pt>
                <c:pt idx="839">
                  <c:v>29229</c:v>
                </c:pt>
                <c:pt idx="840">
                  <c:v>29335</c:v>
                </c:pt>
                <c:pt idx="841">
                  <c:v>29267</c:v>
                </c:pt>
                <c:pt idx="842">
                  <c:v>29321</c:v>
                </c:pt>
                <c:pt idx="843">
                  <c:v>29337</c:v>
                </c:pt>
                <c:pt idx="844">
                  <c:v>29170</c:v>
                </c:pt>
                <c:pt idx="845">
                  <c:v>29256</c:v>
                </c:pt>
                <c:pt idx="846">
                  <c:v>29228</c:v>
                </c:pt>
                <c:pt idx="847">
                  <c:v>29241</c:v>
                </c:pt>
                <c:pt idx="848">
                  <c:v>29287</c:v>
                </c:pt>
                <c:pt idx="849">
                  <c:v>29286</c:v>
                </c:pt>
                <c:pt idx="850">
                  <c:v>29301</c:v>
                </c:pt>
                <c:pt idx="851">
                  <c:v>29318</c:v>
                </c:pt>
                <c:pt idx="852">
                  <c:v>29294</c:v>
                </c:pt>
                <c:pt idx="853">
                  <c:v>29194</c:v>
                </c:pt>
                <c:pt idx="854">
                  <c:v>29277</c:v>
                </c:pt>
                <c:pt idx="855">
                  <c:v>29289</c:v>
                </c:pt>
                <c:pt idx="856">
                  <c:v>29383</c:v>
                </c:pt>
                <c:pt idx="857">
                  <c:v>29372</c:v>
                </c:pt>
                <c:pt idx="858">
                  <c:v>29467</c:v>
                </c:pt>
                <c:pt idx="859">
                  <c:v>29450</c:v>
                </c:pt>
                <c:pt idx="860">
                  <c:v>29655</c:v>
                </c:pt>
                <c:pt idx="861">
                  <c:v>29775</c:v>
                </c:pt>
                <c:pt idx="862">
                  <c:v>29811</c:v>
                </c:pt>
                <c:pt idx="863">
                  <c:v>30267</c:v>
                </c:pt>
                <c:pt idx="864">
                  <c:v>30596</c:v>
                </c:pt>
                <c:pt idx="865">
                  <c:v>30620</c:v>
                </c:pt>
                <c:pt idx="866">
                  <c:v>30677</c:v>
                </c:pt>
                <c:pt idx="867">
                  <c:v>31013</c:v>
                </c:pt>
                <c:pt idx="868">
                  <c:v>31066</c:v>
                </c:pt>
                <c:pt idx="869">
                  <c:v>30994</c:v>
                </c:pt>
                <c:pt idx="870">
                  <c:v>31021</c:v>
                </c:pt>
                <c:pt idx="871">
                  <c:v>31144</c:v>
                </c:pt>
                <c:pt idx="872">
                  <c:v>31323</c:v>
                </c:pt>
                <c:pt idx="873">
                  <c:v>31422</c:v>
                </c:pt>
                <c:pt idx="874">
                  <c:v>31441</c:v>
                </c:pt>
                <c:pt idx="875">
                  <c:v>31525</c:v>
                </c:pt>
                <c:pt idx="876">
                  <c:v>31527</c:v>
                </c:pt>
                <c:pt idx="877">
                  <c:v>31557</c:v>
                </c:pt>
                <c:pt idx="878">
                  <c:v>31610</c:v>
                </c:pt>
                <c:pt idx="879">
                  <c:v>31682</c:v>
                </c:pt>
                <c:pt idx="880">
                  <c:v>31557</c:v>
                </c:pt>
                <c:pt idx="881">
                  <c:v>31535</c:v>
                </c:pt>
                <c:pt idx="882">
                  <c:v>31723</c:v>
                </c:pt>
                <c:pt idx="883">
                  <c:v>31693</c:v>
                </c:pt>
                <c:pt idx="884">
                  <c:v>31875</c:v>
                </c:pt>
                <c:pt idx="885">
                  <c:v>31950</c:v>
                </c:pt>
                <c:pt idx="886">
                  <c:v>31863</c:v>
                </c:pt>
                <c:pt idx="887">
                  <c:v>31763</c:v>
                </c:pt>
                <c:pt idx="888">
                  <c:v>31700</c:v>
                </c:pt>
                <c:pt idx="889">
                  <c:v>31452</c:v>
                </c:pt>
                <c:pt idx="890">
                  <c:v>31171</c:v>
                </c:pt>
                <c:pt idx="891">
                  <c:v>31171</c:v>
                </c:pt>
                <c:pt idx="892">
                  <c:v>31048</c:v>
                </c:pt>
                <c:pt idx="893">
                  <c:v>31091</c:v>
                </c:pt>
                <c:pt idx="894">
                  <c:v>31097</c:v>
                </c:pt>
                <c:pt idx="895">
                  <c:v>31101</c:v>
                </c:pt>
                <c:pt idx="896">
                  <c:v>31103</c:v>
                </c:pt>
                <c:pt idx="897">
                  <c:v>31575</c:v>
                </c:pt>
                <c:pt idx="898">
                  <c:v>31631</c:v>
                </c:pt>
                <c:pt idx="899">
                  <c:v>31796</c:v>
                </c:pt>
                <c:pt idx="900">
                  <c:v>31832</c:v>
                </c:pt>
                <c:pt idx="901">
                  <c:v>31796</c:v>
                </c:pt>
                <c:pt idx="902">
                  <c:v>31940</c:v>
                </c:pt>
                <c:pt idx="903">
                  <c:v>32030</c:v>
                </c:pt>
                <c:pt idx="904">
                  <c:v>32175</c:v>
                </c:pt>
                <c:pt idx="905">
                  <c:v>32071</c:v>
                </c:pt>
                <c:pt idx="906">
                  <c:v>32262</c:v>
                </c:pt>
                <c:pt idx="907">
                  <c:v>32520</c:v>
                </c:pt>
                <c:pt idx="908">
                  <c:v>32544</c:v>
                </c:pt>
                <c:pt idx="909">
                  <c:v>32506</c:v>
                </c:pt>
                <c:pt idx="910">
                  <c:v>32525</c:v>
                </c:pt>
                <c:pt idx="911">
                  <c:v>32333</c:v>
                </c:pt>
                <c:pt idx="912">
                  <c:v>32049</c:v>
                </c:pt>
                <c:pt idx="913">
                  <c:v>31634</c:v>
                </c:pt>
                <c:pt idx="914">
                  <c:v>31464</c:v>
                </c:pt>
                <c:pt idx="915">
                  <c:v>31310</c:v>
                </c:pt>
                <c:pt idx="916">
                  <c:v>31832</c:v>
                </c:pt>
                <c:pt idx="917">
                  <c:v>31525</c:v>
                </c:pt>
                <c:pt idx="918">
                  <c:v>31580</c:v>
                </c:pt>
                <c:pt idx="919">
                  <c:v>31912</c:v>
                </c:pt>
                <c:pt idx="920">
                  <c:v>31648</c:v>
                </c:pt>
                <c:pt idx="921">
                  <c:v>31653</c:v>
                </c:pt>
                <c:pt idx="922">
                  <c:v>31493</c:v>
                </c:pt>
                <c:pt idx="923">
                  <c:v>31871</c:v>
                </c:pt>
                <c:pt idx="924">
                  <c:v>32080</c:v>
                </c:pt>
                <c:pt idx="925">
                  <c:v>32080</c:v>
                </c:pt>
                <c:pt idx="926">
                  <c:v>32209</c:v>
                </c:pt>
                <c:pt idx="927">
                  <c:v>31601</c:v>
                </c:pt>
                <c:pt idx="928">
                  <c:v>31675</c:v>
                </c:pt>
                <c:pt idx="929">
                  <c:v>31780</c:v>
                </c:pt>
                <c:pt idx="930">
                  <c:v>31630</c:v>
                </c:pt>
                <c:pt idx="931">
                  <c:v>31473</c:v>
                </c:pt>
                <c:pt idx="932">
                  <c:v>31368</c:v>
                </c:pt>
                <c:pt idx="933">
                  <c:v>31424</c:v>
                </c:pt>
                <c:pt idx="934">
                  <c:v>31614</c:v>
                </c:pt>
                <c:pt idx="935">
                  <c:v>31349</c:v>
                </c:pt>
                <c:pt idx="936">
                  <c:v>31705</c:v>
                </c:pt>
                <c:pt idx="937">
                  <c:v>31405</c:v>
                </c:pt>
                <c:pt idx="938">
                  <c:v>31492</c:v>
                </c:pt>
                <c:pt idx="939">
                  <c:v>31491</c:v>
                </c:pt>
                <c:pt idx="940">
                  <c:v>32466</c:v>
                </c:pt>
                <c:pt idx="941">
                  <c:v>31737</c:v>
                </c:pt>
                <c:pt idx="942">
                  <c:v>32387</c:v>
                </c:pt>
                <c:pt idx="943">
                  <c:v>31714</c:v>
                </c:pt>
                <c:pt idx="944">
                  <c:v>31629</c:v>
                </c:pt>
                <c:pt idx="945">
                  <c:v>31760</c:v>
                </c:pt>
                <c:pt idx="946">
                  <c:v>31864</c:v>
                </c:pt>
                <c:pt idx="947">
                  <c:v>31888</c:v>
                </c:pt>
                <c:pt idx="948">
                  <c:v>31888</c:v>
                </c:pt>
                <c:pt idx="949">
                  <c:v>32030</c:v>
                </c:pt>
                <c:pt idx="950">
                  <c:v>31830</c:v>
                </c:pt>
                <c:pt idx="951">
                  <c:v>31854</c:v>
                </c:pt>
                <c:pt idx="952">
                  <c:v>33062</c:v>
                </c:pt>
                <c:pt idx="953">
                  <c:v>32575</c:v>
                </c:pt>
                <c:pt idx="954">
                  <c:v>31809</c:v>
                </c:pt>
                <c:pt idx="955">
                  <c:v>32213</c:v>
                </c:pt>
                <c:pt idx="956">
                  <c:v>31990</c:v>
                </c:pt>
                <c:pt idx="957">
                  <c:v>32216</c:v>
                </c:pt>
                <c:pt idx="958">
                  <c:v>31844</c:v>
                </c:pt>
                <c:pt idx="959">
                  <c:v>32753</c:v>
                </c:pt>
                <c:pt idx="960">
                  <c:v>31846</c:v>
                </c:pt>
                <c:pt idx="961">
                  <c:v>32741</c:v>
                </c:pt>
                <c:pt idx="962">
                  <c:v>31342</c:v>
                </c:pt>
                <c:pt idx="963">
                  <c:v>31389</c:v>
                </c:pt>
                <c:pt idx="964">
                  <c:v>31441</c:v>
                </c:pt>
                <c:pt idx="965">
                  <c:v>31479</c:v>
                </c:pt>
                <c:pt idx="966">
                  <c:v>31543</c:v>
                </c:pt>
                <c:pt idx="967">
                  <c:v>31575</c:v>
                </c:pt>
                <c:pt idx="968">
                  <c:v>31616</c:v>
                </c:pt>
                <c:pt idx="969">
                  <c:v>31760</c:v>
                </c:pt>
                <c:pt idx="970">
                  <c:v>31593</c:v>
                </c:pt>
                <c:pt idx="971">
                  <c:v>31554</c:v>
                </c:pt>
                <c:pt idx="972">
                  <c:v>31743</c:v>
                </c:pt>
                <c:pt idx="973">
                  <c:v>31591</c:v>
                </c:pt>
                <c:pt idx="974">
                  <c:v>31798</c:v>
                </c:pt>
                <c:pt idx="975">
                  <c:v>31695</c:v>
                </c:pt>
                <c:pt idx="976">
                  <c:v>31798</c:v>
                </c:pt>
                <c:pt idx="977">
                  <c:v>31763</c:v>
                </c:pt>
                <c:pt idx="978">
                  <c:v>31162</c:v>
                </c:pt>
                <c:pt idx="979">
                  <c:v>30968</c:v>
                </c:pt>
                <c:pt idx="980">
                  <c:v>31253</c:v>
                </c:pt>
                <c:pt idx="981">
                  <c:v>31673</c:v>
                </c:pt>
                <c:pt idx="982">
                  <c:v>31321</c:v>
                </c:pt>
                <c:pt idx="983">
                  <c:v>30914</c:v>
                </c:pt>
                <c:pt idx="984">
                  <c:v>30967</c:v>
                </c:pt>
                <c:pt idx="985">
                  <c:v>30906</c:v>
                </c:pt>
                <c:pt idx="986">
                  <c:v>30863</c:v>
                </c:pt>
                <c:pt idx="987">
                  <c:v>31121</c:v>
                </c:pt>
                <c:pt idx="988">
                  <c:v>31537</c:v>
                </c:pt>
                <c:pt idx="989">
                  <c:v>30666</c:v>
                </c:pt>
                <c:pt idx="990">
                  <c:v>30676</c:v>
                </c:pt>
                <c:pt idx="991">
                  <c:v>30700</c:v>
                </c:pt>
                <c:pt idx="992">
                  <c:v>29985</c:v>
                </c:pt>
                <c:pt idx="993">
                  <c:v>29853</c:v>
                </c:pt>
                <c:pt idx="994">
                  <c:v>30412</c:v>
                </c:pt>
                <c:pt idx="995">
                  <c:v>30135</c:v>
                </c:pt>
                <c:pt idx="996">
                  <c:v>30535</c:v>
                </c:pt>
                <c:pt idx="997">
                  <c:v>30262</c:v>
                </c:pt>
                <c:pt idx="998">
                  <c:v>30634</c:v>
                </c:pt>
                <c:pt idx="999">
                  <c:v>30152</c:v>
                </c:pt>
                <c:pt idx="1000">
                  <c:v>30331</c:v>
                </c:pt>
                <c:pt idx="1001">
                  <c:v>31525</c:v>
                </c:pt>
                <c:pt idx="1002">
                  <c:v>30557</c:v>
                </c:pt>
                <c:pt idx="1003">
                  <c:v>30625</c:v>
                </c:pt>
                <c:pt idx="1004">
                  <c:v>30713</c:v>
                </c:pt>
                <c:pt idx="1005">
                  <c:v>31242</c:v>
                </c:pt>
                <c:pt idx="1006">
                  <c:v>30848</c:v>
                </c:pt>
                <c:pt idx="1007">
                  <c:v>31246</c:v>
                </c:pt>
                <c:pt idx="1008">
                  <c:v>31519</c:v>
                </c:pt>
                <c:pt idx="1009">
                  <c:v>30977</c:v>
                </c:pt>
                <c:pt idx="1010">
                  <c:v>30842</c:v>
                </c:pt>
                <c:pt idx="1011">
                  <c:v>30855</c:v>
                </c:pt>
                <c:pt idx="1012">
                  <c:v>30627</c:v>
                </c:pt>
                <c:pt idx="1013">
                  <c:v>30546</c:v>
                </c:pt>
                <c:pt idx="1014">
                  <c:v>30678</c:v>
                </c:pt>
                <c:pt idx="1015">
                  <c:v>30703</c:v>
                </c:pt>
                <c:pt idx="1016">
                  <c:v>30854</c:v>
                </c:pt>
                <c:pt idx="1017">
                  <c:v>30912</c:v>
                </c:pt>
                <c:pt idx="1018">
                  <c:v>31055</c:v>
                </c:pt>
                <c:pt idx="1019">
                  <c:v>31252</c:v>
                </c:pt>
                <c:pt idx="1020">
                  <c:v>31537</c:v>
                </c:pt>
                <c:pt idx="1021">
                  <c:v>31543</c:v>
                </c:pt>
                <c:pt idx="1022">
                  <c:v>31792</c:v>
                </c:pt>
                <c:pt idx="1023">
                  <c:v>31766</c:v>
                </c:pt>
                <c:pt idx="1024">
                  <c:v>32387</c:v>
                </c:pt>
                <c:pt idx="1025">
                  <c:v>32510</c:v>
                </c:pt>
                <c:pt idx="1026">
                  <c:v>32826</c:v>
                </c:pt>
                <c:pt idx="1027">
                  <c:v>33266</c:v>
                </c:pt>
                <c:pt idx="1028">
                  <c:v>33210</c:v>
                </c:pt>
                <c:pt idx="1029">
                  <c:v>33075</c:v>
                </c:pt>
                <c:pt idx="1030">
                  <c:v>33025</c:v>
                </c:pt>
                <c:pt idx="1031">
                  <c:v>32797</c:v>
                </c:pt>
                <c:pt idx="1032">
                  <c:v>32685</c:v>
                </c:pt>
                <c:pt idx="1033">
                  <c:v>32741</c:v>
                </c:pt>
                <c:pt idx="1034">
                  <c:v>32630</c:v>
                </c:pt>
                <c:pt idx="1035">
                  <c:v>32760</c:v>
                </c:pt>
                <c:pt idx="1036">
                  <c:v>32578</c:v>
                </c:pt>
                <c:pt idx="1037">
                  <c:v>32517</c:v>
                </c:pt>
                <c:pt idx="1038">
                  <c:v>32560</c:v>
                </c:pt>
                <c:pt idx="1039">
                  <c:v>32601</c:v>
                </c:pt>
                <c:pt idx="1040">
                  <c:v>32552</c:v>
                </c:pt>
                <c:pt idx="1041">
                  <c:v>32664</c:v>
                </c:pt>
                <c:pt idx="1042">
                  <c:v>32724</c:v>
                </c:pt>
                <c:pt idx="1043">
                  <c:v>33029</c:v>
                </c:pt>
                <c:pt idx="1044">
                  <c:v>33008</c:v>
                </c:pt>
                <c:pt idx="1045">
                  <c:v>33036</c:v>
                </c:pt>
                <c:pt idx="1046">
                  <c:v>32641</c:v>
                </c:pt>
                <c:pt idx="1047">
                  <c:v>32766</c:v>
                </c:pt>
                <c:pt idx="1048">
                  <c:v>32918</c:v>
                </c:pt>
                <c:pt idx="1049">
                  <c:v>32998</c:v>
                </c:pt>
                <c:pt idx="1050">
                  <c:v>32966</c:v>
                </c:pt>
                <c:pt idx="1051">
                  <c:v>32949</c:v>
                </c:pt>
                <c:pt idx="1052">
                  <c:v>32852</c:v>
                </c:pt>
                <c:pt idx="1053">
                  <c:v>32814</c:v>
                </c:pt>
                <c:pt idx="1054">
                  <c:v>32862</c:v>
                </c:pt>
                <c:pt idx="1055">
                  <c:v>32780</c:v>
                </c:pt>
                <c:pt idx="1056">
                  <c:v>32806</c:v>
                </c:pt>
                <c:pt idx="1057">
                  <c:v>32765</c:v>
                </c:pt>
                <c:pt idx="1058">
                  <c:v>32786</c:v>
                </c:pt>
                <c:pt idx="1059">
                  <c:v>32738</c:v>
                </c:pt>
                <c:pt idx="1060">
                  <c:v>32727</c:v>
                </c:pt>
                <c:pt idx="1061">
                  <c:v>32756</c:v>
                </c:pt>
                <c:pt idx="1062">
                  <c:v>32833</c:v>
                </c:pt>
                <c:pt idx="1063">
                  <c:v>32937</c:v>
                </c:pt>
                <c:pt idx="1064">
                  <c:v>33075</c:v>
                </c:pt>
                <c:pt idx="1065">
                  <c:v>33132</c:v>
                </c:pt>
                <c:pt idx="1066">
                  <c:v>33172</c:v>
                </c:pt>
                <c:pt idx="1067">
                  <c:v>33064</c:v>
                </c:pt>
                <c:pt idx="1068">
                  <c:v>33186</c:v>
                </c:pt>
                <c:pt idx="1069">
                  <c:v>33156</c:v>
                </c:pt>
                <c:pt idx="1070">
                  <c:v>33246</c:v>
                </c:pt>
                <c:pt idx="1071">
                  <c:v>33242</c:v>
                </c:pt>
                <c:pt idx="1072">
                  <c:v>33180</c:v>
                </c:pt>
                <c:pt idx="1073">
                  <c:v>33233</c:v>
                </c:pt>
                <c:pt idx="1074">
                  <c:v>33265</c:v>
                </c:pt>
                <c:pt idx="1075">
                  <c:v>33398</c:v>
                </c:pt>
                <c:pt idx="1076">
                  <c:v>33427</c:v>
                </c:pt>
                <c:pt idx="1077">
                  <c:v>33278</c:v>
                </c:pt>
                <c:pt idx="1078">
                  <c:v>33194</c:v>
                </c:pt>
                <c:pt idx="1079">
                  <c:v>33123</c:v>
                </c:pt>
                <c:pt idx="1080">
                  <c:v>33193</c:v>
                </c:pt>
                <c:pt idx="1081">
                  <c:v>33089</c:v>
                </c:pt>
                <c:pt idx="1082">
                  <c:v>32927</c:v>
                </c:pt>
                <c:pt idx="1083">
                  <c:v>32948</c:v>
                </c:pt>
                <c:pt idx="1084">
                  <c:v>33020</c:v>
                </c:pt>
                <c:pt idx="1085">
                  <c:v>32881</c:v>
                </c:pt>
                <c:pt idx="1086">
                  <c:v>32832</c:v>
                </c:pt>
                <c:pt idx="1087">
                  <c:v>32769</c:v>
                </c:pt>
                <c:pt idx="1088">
                  <c:v>32779</c:v>
                </c:pt>
                <c:pt idx="1089">
                  <c:v>32262</c:v>
                </c:pt>
                <c:pt idx="1090">
                  <c:v>32120</c:v>
                </c:pt>
                <c:pt idx="1091">
                  <c:v>32523</c:v>
                </c:pt>
                <c:pt idx="1092">
                  <c:v>32428</c:v>
                </c:pt>
                <c:pt idx="1093">
                  <c:v>32393</c:v>
                </c:pt>
                <c:pt idx="1094">
                  <c:v>32240</c:v>
                </c:pt>
                <c:pt idx="1095">
                  <c:v>32299</c:v>
                </c:pt>
                <c:pt idx="1096">
                  <c:v>32460</c:v>
                </c:pt>
                <c:pt idx="1097">
                  <c:v>32681</c:v>
                </c:pt>
                <c:pt idx="1098">
                  <c:v>32940</c:v>
                </c:pt>
                <c:pt idx="1099">
                  <c:v>32962</c:v>
                </c:pt>
                <c:pt idx="1100">
                  <c:v>32936</c:v>
                </c:pt>
                <c:pt idx="1101">
                  <c:v>32752</c:v>
                </c:pt>
                <c:pt idx="1102">
                  <c:v>32754</c:v>
                </c:pt>
                <c:pt idx="1103">
                  <c:v>32853</c:v>
                </c:pt>
                <c:pt idx="1104">
                  <c:v>33006</c:v>
                </c:pt>
                <c:pt idx="1105">
                  <c:v>32871</c:v>
                </c:pt>
                <c:pt idx="1106">
                  <c:v>32894</c:v>
                </c:pt>
                <c:pt idx="1107">
                  <c:v>32732</c:v>
                </c:pt>
                <c:pt idx="1108">
                  <c:v>32521</c:v>
                </c:pt>
                <c:pt idx="1109">
                  <c:v>32667</c:v>
                </c:pt>
                <c:pt idx="1110">
                  <c:v>32733</c:v>
                </c:pt>
                <c:pt idx="1111">
                  <c:v>32735</c:v>
                </c:pt>
                <c:pt idx="1112">
                  <c:v>32437</c:v>
                </c:pt>
                <c:pt idx="1113">
                  <c:v>32168</c:v>
                </c:pt>
                <c:pt idx="1114">
                  <c:v>31916</c:v>
                </c:pt>
                <c:pt idx="1115">
                  <c:v>31746</c:v>
                </c:pt>
                <c:pt idx="1116">
                  <c:v>31771</c:v>
                </c:pt>
                <c:pt idx="1117">
                  <c:v>31911</c:v>
                </c:pt>
                <c:pt idx="1118">
                  <c:v>31862</c:v>
                </c:pt>
                <c:pt idx="1119">
                  <c:v>31922</c:v>
                </c:pt>
                <c:pt idx="1120">
                  <c:v>31887</c:v>
                </c:pt>
                <c:pt idx="1121">
                  <c:v>31895</c:v>
                </c:pt>
                <c:pt idx="1122">
                  <c:v>31889</c:v>
                </c:pt>
                <c:pt idx="1123">
                  <c:v>31845</c:v>
                </c:pt>
                <c:pt idx="1124">
                  <c:v>31974</c:v>
                </c:pt>
                <c:pt idx="1125">
                  <c:v>31935</c:v>
                </c:pt>
                <c:pt idx="1126">
                  <c:v>32105</c:v>
                </c:pt>
                <c:pt idx="1127">
                  <c:v>32070</c:v>
                </c:pt>
                <c:pt idx="1128">
                  <c:v>32132</c:v>
                </c:pt>
                <c:pt idx="1129">
                  <c:v>32207</c:v>
                </c:pt>
                <c:pt idx="1130">
                  <c:v>32192</c:v>
                </c:pt>
                <c:pt idx="1131">
                  <c:v>31959</c:v>
                </c:pt>
                <c:pt idx="1132">
                  <c:v>32185</c:v>
                </c:pt>
                <c:pt idx="1133">
                  <c:v>32077</c:v>
                </c:pt>
                <c:pt idx="1134">
                  <c:v>31973</c:v>
                </c:pt>
                <c:pt idx="1135">
                  <c:v>32003</c:v>
                </c:pt>
                <c:pt idx="1136">
                  <c:v>32041</c:v>
                </c:pt>
                <c:pt idx="1137">
                  <c:v>31958</c:v>
                </c:pt>
                <c:pt idx="1138">
                  <c:v>32060</c:v>
                </c:pt>
                <c:pt idx="1139">
                  <c:v>32002</c:v>
                </c:pt>
                <c:pt idx="1140">
                  <c:v>31995</c:v>
                </c:pt>
                <c:pt idx="1141">
                  <c:v>32122</c:v>
                </c:pt>
                <c:pt idx="1142">
                  <c:v>32167</c:v>
                </c:pt>
                <c:pt idx="1143">
                  <c:v>32159</c:v>
                </c:pt>
                <c:pt idx="1144">
                  <c:v>32070</c:v>
                </c:pt>
                <c:pt idx="1145">
                  <c:v>32065</c:v>
                </c:pt>
                <c:pt idx="1146">
                  <c:v>32129</c:v>
                </c:pt>
                <c:pt idx="1147">
                  <c:v>32193</c:v>
                </c:pt>
                <c:pt idx="1148">
                  <c:v>32505</c:v>
                </c:pt>
                <c:pt idx="1149">
                  <c:v>32577</c:v>
                </c:pt>
                <c:pt idx="1150">
                  <c:v>32663</c:v>
                </c:pt>
                <c:pt idx="1151">
                  <c:v>32648</c:v>
                </c:pt>
                <c:pt idx="1152">
                  <c:v>32722</c:v>
                </c:pt>
                <c:pt idx="1153">
                  <c:v>32653</c:v>
                </c:pt>
                <c:pt idx="1154">
                  <c:v>32835</c:v>
                </c:pt>
                <c:pt idx="1155">
                  <c:v>32771</c:v>
                </c:pt>
                <c:pt idx="1156">
                  <c:v>32766</c:v>
                </c:pt>
                <c:pt idx="1157">
                  <c:v>32752</c:v>
                </c:pt>
                <c:pt idx="1158">
                  <c:v>32617</c:v>
                </c:pt>
                <c:pt idx="1159">
                  <c:v>32640</c:v>
                </c:pt>
                <c:pt idx="1160">
                  <c:v>32596</c:v>
                </c:pt>
                <c:pt idx="1161">
                  <c:v>32610</c:v>
                </c:pt>
                <c:pt idx="1162">
                  <c:v>32637</c:v>
                </c:pt>
                <c:pt idx="1163">
                  <c:v>32578</c:v>
                </c:pt>
                <c:pt idx="1164">
                  <c:v>32609</c:v>
                </c:pt>
                <c:pt idx="1165">
                  <c:v>32605</c:v>
                </c:pt>
                <c:pt idx="1166">
                  <c:v>32802</c:v>
                </c:pt>
                <c:pt idx="1167">
                  <c:v>32834</c:v>
                </c:pt>
                <c:pt idx="1168">
                  <c:v>32942</c:v>
                </c:pt>
                <c:pt idx="1169">
                  <c:v>32930</c:v>
                </c:pt>
                <c:pt idx="1170">
                  <c:v>33208</c:v>
                </c:pt>
                <c:pt idx="1171">
                  <c:v>33226</c:v>
                </c:pt>
                <c:pt idx="1172">
                  <c:v>32880</c:v>
                </c:pt>
                <c:pt idx="1173">
                  <c:v>32866</c:v>
                </c:pt>
                <c:pt idx="1174">
                  <c:v>32944</c:v>
                </c:pt>
                <c:pt idx="1175">
                  <c:v>32982</c:v>
                </c:pt>
                <c:pt idx="1176">
                  <c:v>32759</c:v>
                </c:pt>
                <c:pt idx="1177">
                  <c:v>32624</c:v>
                </c:pt>
                <c:pt idx="1178">
                  <c:v>32548</c:v>
                </c:pt>
                <c:pt idx="1179">
                  <c:v>32628</c:v>
                </c:pt>
                <c:pt idx="1180">
                  <c:v>32463</c:v>
                </c:pt>
                <c:pt idx="1181">
                  <c:v>32427</c:v>
                </c:pt>
                <c:pt idx="1182">
                  <c:v>32466</c:v>
                </c:pt>
                <c:pt idx="1183">
                  <c:v>32482</c:v>
                </c:pt>
                <c:pt idx="1184">
                  <c:v>32660</c:v>
                </c:pt>
                <c:pt idx="1185">
                  <c:v>32539</c:v>
                </c:pt>
                <c:pt idx="1186">
                  <c:v>32313</c:v>
                </c:pt>
                <c:pt idx="1187">
                  <c:v>32097</c:v>
                </c:pt>
                <c:pt idx="1188">
                  <c:v>31969</c:v>
                </c:pt>
                <c:pt idx="1189">
                  <c:v>31597</c:v>
                </c:pt>
                <c:pt idx="1190">
                  <c:v>31504</c:v>
                </c:pt>
                <c:pt idx="1191">
                  <c:v>31615</c:v>
                </c:pt>
                <c:pt idx="1192">
                  <c:v>31829</c:v>
                </c:pt>
                <c:pt idx="1193">
                  <c:v>31812</c:v>
                </c:pt>
                <c:pt idx="1194">
                  <c:v>31745</c:v>
                </c:pt>
                <c:pt idx="1195">
                  <c:v>31978</c:v>
                </c:pt>
                <c:pt idx="1196">
                  <c:v>31922</c:v>
                </c:pt>
                <c:pt idx="1197">
                  <c:v>31687</c:v>
                </c:pt>
                <c:pt idx="1198">
                  <c:v>31687</c:v>
                </c:pt>
                <c:pt idx="1199">
                  <c:v>31763</c:v>
                </c:pt>
                <c:pt idx="1200">
                  <c:v>31565</c:v>
                </c:pt>
                <c:pt idx="1201">
                  <c:v>31727</c:v>
                </c:pt>
                <c:pt idx="1202">
                  <c:v>31978</c:v>
                </c:pt>
                <c:pt idx="1203">
                  <c:v>31922</c:v>
                </c:pt>
                <c:pt idx="1204">
                  <c:v>31687</c:v>
                </c:pt>
                <c:pt idx="1205">
                  <c:v>31687</c:v>
                </c:pt>
                <c:pt idx="1206">
                  <c:v>31763</c:v>
                </c:pt>
                <c:pt idx="1207">
                  <c:v>31565</c:v>
                </c:pt>
                <c:pt idx="1208">
                  <c:v>31416</c:v>
                </c:pt>
                <c:pt idx="1209">
                  <c:v>31207</c:v>
                </c:pt>
                <c:pt idx="1210">
                  <c:v>31176</c:v>
                </c:pt>
                <c:pt idx="1211">
                  <c:v>31743</c:v>
                </c:pt>
                <c:pt idx="1212">
                  <c:v>31021</c:v>
                </c:pt>
                <c:pt idx="1213">
                  <c:v>31569</c:v>
                </c:pt>
                <c:pt idx="1214">
                  <c:v>309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673216"/>
        <c:axId val="629064832"/>
      </c:lineChart>
      <c:lineChart>
        <c:grouping val="standard"/>
        <c:varyColors val="0"/>
        <c:ser>
          <c:idx val="1"/>
          <c:order val="0"/>
          <c:tx>
            <c:strRef>
              <c:f>'[Графики мировых индексов, индексов СПбМТСБ, расчетных цен_22.12.2014.xls]Индексы_Мир_СПбМТСБ'!$B$2</c:f>
              <c:strCache>
                <c:ptCount val="1"/>
                <c:pt idx="0">
                  <c:v>BRENT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'[Графики мировых индексов, индексов СПбМТСБ, расчетных цен_22.12.2014.xls]Индексы_Мир_СПбМТСБ'!$F$218:$F$1432</c:f>
              <c:numCache>
                <c:formatCode>m/d/yyyy</c:formatCode>
                <c:ptCount val="121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</c:numCache>
            </c:numRef>
          </c:cat>
          <c:val>
            <c:numRef>
              <c:f>'[Графики мировых индексов, индексов СПбМТСБ, расчетных цен_22.12.2014.xls]Индексы_Мир_СПбМТСБ'!$B$218:$B$1432</c:f>
              <c:numCache>
                <c:formatCode>General</c:formatCode>
                <c:ptCount val="1215"/>
                <c:pt idx="0">
                  <c:v>81.290000000000006</c:v>
                </c:pt>
                <c:pt idx="1">
                  <c:v>79.63</c:v>
                </c:pt>
                <c:pt idx="2">
                  <c:v>78.8</c:v>
                </c:pt>
                <c:pt idx="3">
                  <c:v>78.42</c:v>
                </c:pt>
                <c:pt idx="4">
                  <c:v>77.150000000000006</c:v>
                </c:pt>
                <c:pt idx="5">
                  <c:v>77.2</c:v>
                </c:pt>
                <c:pt idx="6">
                  <c:v>77.08</c:v>
                </c:pt>
                <c:pt idx="7">
                  <c:v>77.72</c:v>
                </c:pt>
                <c:pt idx="8">
                  <c:v>74.62</c:v>
                </c:pt>
                <c:pt idx="9">
                  <c:v>72.42</c:v>
                </c:pt>
                <c:pt idx="10">
                  <c:v>72.38</c:v>
                </c:pt>
                <c:pt idx="11">
                  <c:v>73.14</c:v>
                </c:pt>
                <c:pt idx="12">
                  <c:v>72.28</c:v>
                </c:pt>
                <c:pt idx="13">
                  <c:v>72.260000000000005</c:v>
                </c:pt>
                <c:pt idx="14">
                  <c:v>71.37</c:v>
                </c:pt>
                <c:pt idx="15">
                  <c:v>73.61</c:v>
                </c:pt>
                <c:pt idx="16">
                  <c:v>76.16</c:v>
                </c:pt>
                <c:pt idx="17">
                  <c:v>75.849999999999994</c:v>
                </c:pt>
                <c:pt idx="18">
                  <c:v>71.86</c:v>
                </c:pt>
                <c:pt idx="19">
                  <c:v>70.28</c:v>
                </c:pt>
                <c:pt idx="20">
                  <c:v>69.88</c:v>
                </c:pt>
                <c:pt idx="21">
                  <c:v>72.16</c:v>
                </c:pt>
                <c:pt idx="22">
                  <c:v>73.13</c:v>
                </c:pt>
                <c:pt idx="23">
                  <c:v>73.94</c:v>
                </c:pt>
                <c:pt idx="24">
                  <c:v>73.099999999999994</c:v>
                </c:pt>
                <c:pt idx="25">
                  <c:v>72.63</c:v>
                </c:pt>
                <c:pt idx="26">
                  <c:v>75.739999999999995</c:v>
                </c:pt>
                <c:pt idx="27">
                  <c:v>76.430000000000007</c:v>
                </c:pt>
                <c:pt idx="28">
                  <c:v>77.86</c:v>
                </c:pt>
                <c:pt idx="29">
                  <c:v>76.45</c:v>
                </c:pt>
                <c:pt idx="30">
                  <c:v>77.650000000000006</c:v>
                </c:pt>
                <c:pt idx="31">
                  <c:v>78.03</c:v>
                </c:pt>
                <c:pt idx="32">
                  <c:v>77.069999999999993</c:v>
                </c:pt>
                <c:pt idx="33">
                  <c:v>78.239999999999995</c:v>
                </c:pt>
                <c:pt idx="34">
                  <c:v>79.5</c:v>
                </c:pt>
                <c:pt idx="35">
                  <c:v>79.02</c:v>
                </c:pt>
                <c:pt idx="36">
                  <c:v>80.08</c:v>
                </c:pt>
                <c:pt idx="37">
                  <c:v>80.180000000000007</c:v>
                </c:pt>
                <c:pt idx="38">
                  <c:v>80.58</c:v>
                </c:pt>
                <c:pt idx="39">
                  <c:v>80.900000000000006</c:v>
                </c:pt>
                <c:pt idx="40">
                  <c:v>79.94</c:v>
                </c:pt>
                <c:pt idx="41">
                  <c:v>79.98</c:v>
                </c:pt>
                <c:pt idx="42">
                  <c:v>78.78</c:v>
                </c:pt>
                <c:pt idx="43">
                  <c:v>80.81</c:v>
                </c:pt>
                <c:pt idx="44">
                  <c:v>81.8</c:v>
                </c:pt>
                <c:pt idx="45">
                  <c:v>79.790000000000006</c:v>
                </c:pt>
                <c:pt idx="46">
                  <c:v>79.8</c:v>
                </c:pt>
                <c:pt idx="47">
                  <c:v>80.790000000000006</c:v>
                </c:pt>
                <c:pt idx="48">
                  <c:v>79.36</c:v>
                </c:pt>
                <c:pt idx="49">
                  <c:v>79.3</c:v>
                </c:pt>
                <c:pt idx="50">
                  <c:v>79.41</c:v>
                </c:pt>
                <c:pt idx="51">
                  <c:v>81.47</c:v>
                </c:pt>
                <c:pt idx="52">
                  <c:v>81.34</c:v>
                </c:pt>
                <c:pt idx="53">
                  <c:v>82.17</c:v>
                </c:pt>
                <c:pt idx="54">
                  <c:v>84.22</c:v>
                </c:pt>
                <c:pt idx="55">
                  <c:v>84.42</c:v>
                </c:pt>
                <c:pt idx="56">
                  <c:v>85.97</c:v>
                </c:pt>
                <c:pt idx="57">
                  <c:v>86.11</c:v>
                </c:pt>
                <c:pt idx="58">
                  <c:v>85.37</c:v>
                </c:pt>
                <c:pt idx="59">
                  <c:v>85.07</c:v>
                </c:pt>
                <c:pt idx="60">
                  <c:v>84.78</c:v>
                </c:pt>
                <c:pt idx="61">
                  <c:v>85.73</c:v>
                </c:pt>
                <c:pt idx="62">
                  <c:v>85.53</c:v>
                </c:pt>
                <c:pt idx="63">
                  <c:v>86.94</c:v>
                </c:pt>
                <c:pt idx="64">
                  <c:v>87.64</c:v>
                </c:pt>
                <c:pt idx="65">
                  <c:v>85.89</c:v>
                </c:pt>
                <c:pt idx="66">
                  <c:v>85.66</c:v>
                </c:pt>
                <c:pt idx="67">
                  <c:v>84.77</c:v>
                </c:pt>
                <c:pt idx="68">
                  <c:v>85.93</c:v>
                </c:pt>
                <c:pt idx="69">
                  <c:v>85.75</c:v>
                </c:pt>
                <c:pt idx="70">
                  <c:v>87.24</c:v>
                </c:pt>
                <c:pt idx="71">
                  <c:v>87.21</c:v>
                </c:pt>
                <c:pt idx="72">
                  <c:v>85.33</c:v>
                </c:pt>
                <c:pt idx="73">
                  <c:v>85.97</c:v>
                </c:pt>
                <c:pt idx="74">
                  <c:v>86.95</c:v>
                </c:pt>
                <c:pt idx="75">
                  <c:v>87.35</c:v>
                </c:pt>
                <c:pt idx="76">
                  <c:v>87.47</c:v>
                </c:pt>
                <c:pt idx="77">
                  <c:v>82.51</c:v>
                </c:pt>
                <c:pt idx="78">
                  <c:v>79.569999999999993</c:v>
                </c:pt>
                <c:pt idx="79">
                  <c:v>78.569999999999993</c:v>
                </c:pt>
                <c:pt idx="80">
                  <c:v>78.58</c:v>
                </c:pt>
                <c:pt idx="81">
                  <c:v>81.69</c:v>
                </c:pt>
                <c:pt idx="82">
                  <c:v>81.150000000000006</c:v>
                </c:pt>
                <c:pt idx="83">
                  <c:v>78.11</c:v>
                </c:pt>
                <c:pt idx="84">
                  <c:v>78.5</c:v>
                </c:pt>
                <c:pt idx="85">
                  <c:v>74.58</c:v>
                </c:pt>
                <c:pt idx="86">
                  <c:v>73.88</c:v>
                </c:pt>
                <c:pt idx="87">
                  <c:v>71.14</c:v>
                </c:pt>
                <c:pt idx="88">
                  <c:v>71.8</c:v>
                </c:pt>
                <c:pt idx="89">
                  <c:v>71.11</c:v>
                </c:pt>
                <c:pt idx="90">
                  <c:v>69.959999999999994</c:v>
                </c:pt>
                <c:pt idx="91">
                  <c:v>71.41</c:v>
                </c:pt>
                <c:pt idx="92">
                  <c:v>74.819999999999993</c:v>
                </c:pt>
                <c:pt idx="93">
                  <c:v>74.12</c:v>
                </c:pt>
                <c:pt idx="94">
                  <c:v>74.2</c:v>
                </c:pt>
                <c:pt idx="95">
                  <c:v>74.599999999999994</c:v>
                </c:pt>
                <c:pt idx="96">
                  <c:v>72.31</c:v>
                </c:pt>
                <c:pt idx="97">
                  <c:v>74.45</c:v>
                </c:pt>
                <c:pt idx="98">
                  <c:v>75.400000000000006</c:v>
                </c:pt>
                <c:pt idx="99">
                  <c:v>71.66</c:v>
                </c:pt>
                <c:pt idx="100">
                  <c:v>72.39</c:v>
                </c:pt>
                <c:pt idx="101">
                  <c:v>73.92</c:v>
                </c:pt>
                <c:pt idx="102">
                  <c:v>76.319999999999993</c:v>
                </c:pt>
                <c:pt idx="103">
                  <c:v>75.52</c:v>
                </c:pt>
                <c:pt idx="104">
                  <c:v>75.59</c:v>
                </c:pt>
                <c:pt idx="105">
                  <c:v>75.31</c:v>
                </c:pt>
                <c:pt idx="106">
                  <c:v>77.31</c:v>
                </c:pt>
                <c:pt idx="107">
                  <c:v>78.400000000000006</c:v>
                </c:pt>
                <c:pt idx="108">
                  <c:v>78.42</c:v>
                </c:pt>
                <c:pt idx="109">
                  <c:v>77.849999999999994</c:v>
                </c:pt>
                <c:pt idx="110">
                  <c:v>75.8</c:v>
                </c:pt>
                <c:pt idx="111">
                  <c:v>76.260000000000005</c:v>
                </c:pt>
                <c:pt idx="112">
                  <c:v>78.45</c:v>
                </c:pt>
                <c:pt idx="113">
                  <c:v>78.41</c:v>
                </c:pt>
                <c:pt idx="114">
                  <c:v>75.069999999999993</c:v>
                </c:pt>
                <c:pt idx="115">
                  <c:v>74.66</c:v>
                </c:pt>
                <c:pt idx="116">
                  <c:v>72.17</c:v>
                </c:pt>
                <c:pt idx="117">
                  <c:v>71.760000000000005</c:v>
                </c:pt>
                <c:pt idx="118">
                  <c:v>71.930000000000007</c:v>
                </c:pt>
                <c:pt idx="119">
                  <c:v>71.75</c:v>
                </c:pt>
                <c:pt idx="120">
                  <c:v>73.94</c:v>
                </c:pt>
                <c:pt idx="121">
                  <c:v>75.2</c:v>
                </c:pt>
                <c:pt idx="122">
                  <c:v>75.5</c:v>
                </c:pt>
                <c:pt idx="123">
                  <c:v>75.16</c:v>
                </c:pt>
                <c:pt idx="124">
                  <c:v>76.77</c:v>
                </c:pt>
                <c:pt idx="125">
                  <c:v>76.540000000000006</c:v>
                </c:pt>
                <c:pt idx="126">
                  <c:v>76.290000000000006</c:v>
                </c:pt>
                <c:pt idx="127">
                  <c:v>75.34</c:v>
                </c:pt>
                <c:pt idx="128">
                  <c:v>75.349999999999994</c:v>
                </c:pt>
                <c:pt idx="129">
                  <c:v>76.44</c:v>
                </c:pt>
                <c:pt idx="130">
                  <c:v>75.19</c:v>
                </c:pt>
                <c:pt idx="131">
                  <c:v>77.59</c:v>
                </c:pt>
                <c:pt idx="132">
                  <c:v>77.63</c:v>
                </c:pt>
                <c:pt idx="133">
                  <c:v>77.34</c:v>
                </c:pt>
                <c:pt idx="134">
                  <c:v>75.599999999999994</c:v>
                </c:pt>
                <c:pt idx="135">
                  <c:v>76</c:v>
                </c:pt>
                <c:pt idx="136">
                  <c:v>77.349999999999994</c:v>
                </c:pt>
                <c:pt idx="137">
                  <c:v>78.260000000000005</c:v>
                </c:pt>
                <c:pt idx="138">
                  <c:v>78.17</c:v>
                </c:pt>
                <c:pt idx="139">
                  <c:v>82.7</c:v>
                </c:pt>
                <c:pt idx="140">
                  <c:v>82.1</c:v>
                </c:pt>
                <c:pt idx="141">
                  <c:v>81.73</c:v>
                </c:pt>
                <c:pt idx="142">
                  <c:v>80.36</c:v>
                </c:pt>
                <c:pt idx="143">
                  <c:v>80.3</c:v>
                </c:pt>
                <c:pt idx="144">
                  <c:v>79.97</c:v>
                </c:pt>
                <c:pt idx="145">
                  <c:v>77.67</c:v>
                </c:pt>
                <c:pt idx="146">
                  <c:v>75.88</c:v>
                </c:pt>
                <c:pt idx="147">
                  <c:v>75.739999999999995</c:v>
                </c:pt>
                <c:pt idx="148">
                  <c:v>75.2</c:v>
                </c:pt>
                <c:pt idx="149">
                  <c:v>76.89</c:v>
                </c:pt>
                <c:pt idx="150">
                  <c:v>76.3</c:v>
                </c:pt>
                <c:pt idx="151">
                  <c:v>75.38</c:v>
                </c:pt>
                <c:pt idx="152">
                  <c:v>74.430000000000007</c:v>
                </c:pt>
                <c:pt idx="153">
                  <c:v>74.33</c:v>
                </c:pt>
                <c:pt idx="154">
                  <c:v>72.180000000000007</c:v>
                </c:pt>
                <c:pt idx="155">
                  <c:v>73.72</c:v>
                </c:pt>
                <c:pt idx="156">
                  <c:v>74.88</c:v>
                </c:pt>
                <c:pt idx="157">
                  <c:v>76.87</c:v>
                </c:pt>
                <c:pt idx="158">
                  <c:v>76.930000000000007</c:v>
                </c:pt>
                <c:pt idx="159">
                  <c:v>74.42</c:v>
                </c:pt>
                <c:pt idx="160">
                  <c:v>76.37</c:v>
                </c:pt>
                <c:pt idx="161">
                  <c:v>76.89</c:v>
                </c:pt>
                <c:pt idx="162">
                  <c:v>76.569999999999993</c:v>
                </c:pt>
                <c:pt idx="163">
                  <c:v>76.62</c:v>
                </c:pt>
                <c:pt idx="164">
                  <c:v>77.260000000000005</c:v>
                </c:pt>
                <c:pt idx="165">
                  <c:v>77.930000000000007</c:v>
                </c:pt>
                <c:pt idx="166">
                  <c:v>77.209999999999994</c:v>
                </c:pt>
                <c:pt idx="167">
                  <c:v>78.41</c:v>
                </c:pt>
                <c:pt idx="168">
                  <c:v>78.36</c:v>
                </c:pt>
                <c:pt idx="169">
                  <c:v>79.099999999999994</c:v>
                </c:pt>
                <c:pt idx="170">
                  <c:v>79.2</c:v>
                </c:pt>
                <c:pt idx="171">
                  <c:v>78.47</c:v>
                </c:pt>
                <c:pt idx="172">
                  <c:v>77.97</c:v>
                </c:pt>
                <c:pt idx="173">
                  <c:v>78.23</c:v>
                </c:pt>
                <c:pt idx="174">
                  <c:v>78.099999999999994</c:v>
                </c:pt>
                <c:pt idx="175">
                  <c:v>77.98</c:v>
                </c:pt>
                <c:pt idx="176">
                  <c:v>77.930000000000007</c:v>
                </c:pt>
                <c:pt idx="177">
                  <c:v>78.8</c:v>
                </c:pt>
                <c:pt idx="178">
                  <c:v>78.94</c:v>
                </c:pt>
                <c:pt idx="179">
                  <c:v>78.849999999999994</c:v>
                </c:pt>
                <c:pt idx="180">
                  <c:v>80.67</c:v>
                </c:pt>
                <c:pt idx="181">
                  <c:v>82.11</c:v>
                </c:pt>
                <c:pt idx="182">
                  <c:v>83.81</c:v>
                </c:pt>
                <c:pt idx="183">
                  <c:v>83.69</c:v>
                </c:pt>
                <c:pt idx="184">
                  <c:v>84.65</c:v>
                </c:pt>
                <c:pt idx="185">
                  <c:v>85.3</c:v>
                </c:pt>
                <c:pt idx="186">
                  <c:v>83.11</c:v>
                </c:pt>
                <c:pt idx="187">
                  <c:v>84.19</c:v>
                </c:pt>
                <c:pt idx="188">
                  <c:v>84.33</c:v>
                </c:pt>
                <c:pt idx="189">
                  <c:v>83.39</c:v>
                </c:pt>
                <c:pt idx="190">
                  <c:v>84.84</c:v>
                </c:pt>
                <c:pt idx="191">
                  <c:v>84.02</c:v>
                </c:pt>
                <c:pt idx="192">
                  <c:v>82.76</c:v>
                </c:pt>
                <c:pt idx="193">
                  <c:v>82.52</c:v>
                </c:pt>
                <c:pt idx="194">
                  <c:v>80.89</c:v>
                </c:pt>
                <c:pt idx="195">
                  <c:v>83.65</c:v>
                </c:pt>
                <c:pt idx="196">
                  <c:v>82.04</c:v>
                </c:pt>
                <c:pt idx="197">
                  <c:v>82.9</c:v>
                </c:pt>
                <c:pt idx="198">
                  <c:v>82.95</c:v>
                </c:pt>
                <c:pt idx="199">
                  <c:v>83.5</c:v>
                </c:pt>
                <c:pt idx="200">
                  <c:v>83.34</c:v>
                </c:pt>
                <c:pt idx="201">
                  <c:v>83.55</c:v>
                </c:pt>
                <c:pt idx="202">
                  <c:v>83.14</c:v>
                </c:pt>
                <c:pt idx="203">
                  <c:v>83.26</c:v>
                </c:pt>
                <c:pt idx="204">
                  <c:v>85.65</c:v>
                </c:pt>
                <c:pt idx="205">
                  <c:v>86.57</c:v>
                </c:pt>
                <c:pt idx="206">
                  <c:v>88.13</c:v>
                </c:pt>
                <c:pt idx="207">
                  <c:v>88.47</c:v>
                </c:pt>
                <c:pt idx="208">
                  <c:v>89</c:v>
                </c:pt>
                <c:pt idx="209">
                  <c:v>88.72</c:v>
                </c:pt>
                <c:pt idx="210">
                  <c:v>86.21</c:v>
                </c:pt>
                <c:pt idx="211">
                  <c:v>86.54</c:v>
                </c:pt>
                <c:pt idx="212">
                  <c:v>86.54</c:v>
                </c:pt>
                <c:pt idx="213">
                  <c:v>84.75</c:v>
                </c:pt>
                <c:pt idx="214">
                  <c:v>83.16</c:v>
                </c:pt>
                <c:pt idx="215">
                  <c:v>85.35</c:v>
                </c:pt>
                <c:pt idx="216">
                  <c:v>84.13</c:v>
                </c:pt>
                <c:pt idx="217">
                  <c:v>84.68</c:v>
                </c:pt>
                <c:pt idx="218">
                  <c:v>83</c:v>
                </c:pt>
                <c:pt idx="219">
                  <c:v>86.21</c:v>
                </c:pt>
                <c:pt idx="220">
                  <c:v>85.91</c:v>
                </c:pt>
                <c:pt idx="221">
                  <c:v>85.8</c:v>
                </c:pt>
                <c:pt idx="222">
                  <c:v>85.79</c:v>
                </c:pt>
                <c:pt idx="223">
                  <c:v>85.45</c:v>
                </c:pt>
                <c:pt idx="224">
                  <c:v>88.92</c:v>
                </c:pt>
                <c:pt idx="225">
                  <c:v>90.64</c:v>
                </c:pt>
                <c:pt idx="226">
                  <c:v>91.68</c:v>
                </c:pt>
                <c:pt idx="227">
                  <c:v>91.73</c:v>
                </c:pt>
                <c:pt idx="228">
                  <c:v>90.9</c:v>
                </c:pt>
                <c:pt idx="229">
                  <c:v>91.18</c:v>
                </c:pt>
                <c:pt idx="230">
                  <c:v>90.97</c:v>
                </c:pt>
                <c:pt idx="231">
                  <c:v>90.73</c:v>
                </c:pt>
                <c:pt idx="232">
                  <c:v>90.95</c:v>
                </c:pt>
                <c:pt idx="233">
                  <c:v>91.48</c:v>
                </c:pt>
                <c:pt idx="234">
                  <c:v>91.9</c:v>
                </c:pt>
                <c:pt idx="235">
                  <c:v>91.81</c:v>
                </c:pt>
                <c:pt idx="236">
                  <c:v>91.75</c:v>
                </c:pt>
                <c:pt idx="237">
                  <c:v>91.93</c:v>
                </c:pt>
                <c:pt idx="238">
                  <c:v>92.6</c:v>
                </c:pt>
                <c:pt idx="239">
                  <c:v>93.8</c:v>
                </c:pt>
                <c:pt idx="240">
                  <c:v>94.32</c:v>
                </c:pt>
                <c:pt idx="241">
                  <c:v>93.46</c:v>
                </c:pt>
                <c:pt idx="242">
                  <c:v>93.55</c:v>
                </c:pt>
                <c:pt idx="243">
                  <c:v>94.21</c:v>
                </c:pt>
                <c:pt idx="244">
                  <c:v>94.03</c:v>
                </c:pt>
                <c:pt idx="245">
                  <c:v>92.71</c:v>
                </c:pt>
                <c:pt idx="246">
                  <c:v>97.51</c:v>
                </c:pt>
                <c:pt idx="247">
                  <c:v>98.33</c:v>
                </c:pt>
                <c:pt idx="248">
                  <c:v>98.4</c:v>
                </c:pt>
                <c:pt idx="249">
                  <c:v>98.68</c:v>
                </c:pt>
                <c:pt idx="250">
                  <c:v>98.42</c:v>
                </c:pt>
                <c:pt idx="251">
                  <c:v>97.53</c:v>
                </c:pt>
                <c:pt idx="252">
                  <c:v>97.95</c:v>
                </c:pt>
                <c:pt idx="253">
                  <c:v>96.42</c:v>
                </c:pt>
                <c:pt idx="254">
                  <c:v>97.59</c:v>
                </c:pt>
                <c:pt idx="255">
                  <c:v>97.55</c:v>
                </c:pt>
                <c:pt idx="256">
                  <c:v>95.27</c:v>
                </c:pt>
                <c:pt idx="257">
                  <c:v>98.2</c:v>
                </c:pt>
                <c:pt idx="258">
                  <c:v>97.15</c:v>
                </c:pt>
                <c:pt idx="259">
                  <c:v>99.33</c:v>
                </c:pt>
                <c:pt idx="260">
                  <c:v>99.81</c:v>
                </c:pt>
                <c:pt idx="261">
                  <c:v>101.62</c:v>
                </c:pt>
                <c:pt idx="262">
                  <c:v>102.35</c:v>
                </c:pt>
                <c:pt idx="263">
                  <c:v>101.75</c:v>
                </c:pt>
                <c:pt idx="264">
                  <c:v>100.1</c:v>
                </c:pt>
                <c:pt idx="265">
                  <c:v>100.35</c:v>
                </c:pt>
                <c:pt idx="266">
                  <c:v>100.23</c:v>
                </c:pt>
                <c:pt idx="267">
                  <c:v>102.02</c:v>
                </c:pt>
                <c:pt idx="268">
                  <c:v>101.73</c:v>
                </c:pt>
                <c:pt idx="269">
                  <c:v>101.43</c:v>
                </c:pt>
                <c:pt idx="270">
                  <c:v>101.55</c:v>
                </c:pt>
                <c:pt idx="271">
                  <c:v>101.83</c:v>
                </c:pt>
                <c:pt idx="272">
                  <c:v>104.29</c:v>
                </c:pt>
                <c:pt idx="273">
                  <c:v>102.97</c:v>
                </c:pt>
                <c:pt idx="274">
                  <c:v>102.82</c:v>
                </c:pt>
                <c:pt idx="275">
                  <c:v>103.35</c:v>
                </c:pt>
                <c:pt idx="276">
                  <c:v>106.37</c:v>
                </c:pt>
                <c:pt idx="277">
                  <c:v>112.21</c:v>
                </c:pt>
                <c:pt idx="278">
                  <c:v>112.43</c:v>
                </c:pt>
                <c:pt idx="279">
                  <c:v>113.88</c:v>
                </c:pt>
                <c:pt idx="280">
                  <c:v>116.32</c:v>
                </c:pt>
                <c:pt idx="281">
                  <c:v>116.48</c:v>
                </c:pt>
                <c:pt idx="282">
                  <c:v>114.59</c:v>
                </c:pt>
                <c:pt idx="283">
                  <c:v>115.99</c:v>
                </c:pt>
                <c:pt idx="284">
                  <c:v>116.35</c:v>
                </c:pt>
                <c:pt idx="285">
                  <c:v>114.7</c:v>
                </c:pt>
                <c:pt idx="286">
                  <c:v>115.14</c:v>
                </c:pt>
                <c:pt idx="287">
                  <c:v>113.44</c:v>
                </c:pt>
                <c:pt idx="288">
                  <c:v>113.86</c:v>
                </c:pt>
                <c:pt idx="289">
                  <c:v>108.19</c:v>
                </c:pt>
                <c:pt idx="290">
                  <c:v>110.4</c:v>
                </c:pt>
                <c:pt idx="291">
                  <c:v>115</c:v>
                </c:pt>
                <c:pt idx="292">
                  <c:v>114.49</c:v>
                </c:pt>
                <c:pt idx="293">
                  <c:v>115.65</c:v>
                </c:pt>
                <c:pt idx="294">
                  <c:v>116.09</c:v>
                </c:pt>
                <c:pt idx="295">
                  <c:v>115.27</c:v>
                </c:pt>
                <c:pt idx="296">
                  <c:v>115.75</c:v>
                </c:pt>
                <c:pt idx="297">
                  <c:v>116.02</c:v>
                </c:pt>
                <c:pt idx="298">
                  <c:v>115.66</c:v>
                </c:pt>
                <c:pt idx="299">
                  <c:v>115.09</c:v>
                </c:pt>
                <c:pt idx="300">
                  <c:v>115.12</c:v>
                </c:pt>
                <c:pt idx="301">
                  <c:v>117.17</c:v>
                </c:pt>
                <c:pt idx="302">
                  <c:v>119.1</c:v>
                </c:pt>
                <c:pt idx="303">
                  <c:v>120.86</c:v>
                </c:pt>
                <c:pt idx="304">
                  <c:v>121.6</c:v>
                </c:pt>
                <c:pt idx="305">
                  <c:v>122.1</c:v>
                </c:pt>
                <c:pt idx="306">
                  <c:v>122.56</c:v>
                </c:pt>
                <c:pt idx="307">
                  <c:v>126.9</c:v>
                </c:pt>
                <c:pt idx="308">
                  <c:v>126.28</c:v>
                </c:pt>
                <c:pt idx="309">
                  <c:v>120.7</c:v>
                </c:pt>
                <c:pt idx="310">
                  <c:v>122.62</c:v>
                </c:pt>
                <c:pt idx="311">
                  <c:v>122.2</c:v>
                </c:pt>
                <c:pt idx="312">
                  <c:v>123.73</c:v>
                </c:pt>
                <c:pt idx="313">
                  <c:v>123.51</c:v>
                </c:pt>
                <c:pt idx="314">
                  <c:v>121.29</c:v>
                </c:pt>
                <c:pt idx="315">
                  <c:v>123.9</c:v>
                </c:pt>
                <c:pt idx="316">
                  <c:v>124.04</c:v>
                </c:pt>
                <c:pt idx="317">
                  <c:v>124.23</c:v>
                </c:pt>
                <c:pt idx="318">
                  <c:v>123.55</c:v>
                </c:pt>
                <c:pt idx="319">
                  <c:v>123.7</c:v>
                </c:pt>
                <c:pt idx="320">
                  <c:v>125.47</c:v>
                </c:pt>
                <c:pt idx="321">
                  <c:v>124.59</c:v>
                </c:pt>
                <c:pt idx="322">
                  <c:v>126.03</c:v>
                </c:pt>
                <c:pt idx="323">
                  <c:v>122.15</c:v>
                </c:pt>
                <c:pt idx="324">
                  <c:v>120.64</c:v>
                </c:pt>
                <c:pt idx="325">
                  <c:v>110.74</c:v>
                </c:pt>
                <c:pt idx="326">
                  <c:v>109.24</c:v>
                </c:pt>
                <c:pt idx="327">
                  <c:v>109.65</c:v>
                </c:pt>
                <c:pt idx="328">
                  <c:v>115.52</c:v>
                </c:pt>
                <c:pt idx="329">
                  <c:v>117.24</c:v>
                </c:pt>
                <c:pt idx="330">
                  <c:v>113.26</c:v>
                </c:pt>
                <c:pt idx="331">
                  <c:v>112.57</c:v>
                </c:pt>
                <c:pt idx="332">
                  <c:v>110.58</c:v>
                </c:pt>
                <c:pt idx="333">
                  <c:v>112.3</c:v>
                </c:pt>
                <c:pt idx="334">
                  <c:v>111.4</c:v>
                </c:pt>
                <c:pt idx="335">
                  <c:v>112.42</c:v>
                </c:pt>
                <c:pt idx="336">
                  <c:v>111.9</c:v>
                </c:pt>
                <c:pt idx="337">
                  <c:v>109.9</c:v>
                </c:pt>
                <c:pt idx="338">
                  <c:v>112.3</c:v>
                </c:pt>
                <c:pt idx="339">
                  <c:v>115</c:v>
                </c:pt>
                <c:pt idx="340">
                  <c:v>114.99</c:v>
                </c:pt>
                <c:pt idx="341">
                  <c:v>115</c:v>
                </c:pt>
                <c:pt idx="342">
                  <c:v>114.54</c:v>
                </c:pt>
                <c:pt idx="343">
                  <c:v>114.03</c:v>
                </c:pt>
                <c:pt idx="344">
                  <c:v>115.89</c:v>
                </c:pt>
                <c:pt idx="345">
                  <c:v>116.05</c:v>
                </c:pt>
                <c:pt idx="346">
                  <c:v>116.1</c:v>
                </c:pt>
                <c:pt idx="347">
                  <c:v>119.1</c:v>
                </c:pt>
                <c:pt idx="348">
                  <c:v>117.97</c:v>
                </c:pt>
                <c:pt idx="349">
                  <c:v>117.92</c:v>
                </c:pt>
                <c:pt idx="350">
                  <c:v>118.08</c:v>
                </c:pt>
                <c:pt idx="351">
                  <c:v>119.11</c:v>
                </c:pt>
                <c:pt idx="352">
                  <c:v>113.2</c:v>
                </c:pt>
                <c:pt idx="353">
                  <c:v>113.06</c:v>
                </c:pt>
                <c:pt idx="354">
                  <c:v>111.58</c:v>
                </c:pt>
                <c:pt idx="355">
                  <c:v>110.7</c:v>
                </c:pt>
                <c:pt idx="356">
                  <c:v>113.25</c:v>
                </c:pt>
                <c:pt idx="357">
                  <c:v>105.67</c:v>
                </c:pt>
                <c:pt idx="358">
                  <c:v>105.05</c:v>
                </c:pt>
                <c:pt idx="359">
                  <c:v>106.67</c:v>
                </c:pt>
                <c:pt idx="360">
                  <c:v>108.87</c:v>
                </c:pt>
                <c:pt idx="361">
                  <c:v>112.6</c:v>
                </c:pt>
                <c:pt idx="362">
                  <c:v>111.24</c:v>
                </c:pt>
                <c:pt idx="363">
                  <c:v>111.89</c:v>
                </c:pt>
                <c:pt idx="364">
                  <c:v>113.83</c:v>
                </c:pt>
                <c:pt idx="365">
                  <c:v>114.3</c:v>
                </c:pt>
                <c:pt idx="366">
                  <c:v>118.3</c:v>
                </c:pt>
                <c:pt idx="367">
                  <c:v>118.3</c:v>
                </c:pt>
                <c:pt idx="368">
                  <c:v>117.25</c:v>
                </c:pt>
                <c:pt idx="369">
                  <c:v>116.07</c:v>
                </c:pt>
                <c:pt idx="370">
                  <c:v>117.55</c:v>
                </c:pt>
                <c:pt idx="371">
                  <c:v>116.6</c:v>
                </c:pt>
                <c:pt idx="372">
                  <c:v>117.66</c:v>
                </c:pt>
                <c:pt idx="373">
                  <c:v>117.64</c:v>
                </c:pt>
                <c:pt idx="374">
                  <c:v>117.37</c:v>
                </c:pt>
                <c:pt idx="375">
                  <c:v>118.15</c:v>
                </c:pt>
                <c:pt idx="376">
                  <c:v>117.78</c:v>
                </c:pt>
                <c:pt idx="377">
                  <c:v>118.51</c:v>
                </c:pt>
                <c:pt idx="378">
                  <c:v>118.12</c:v>
                </c:pt>
                <c:pt idx="379">
                  <c:v>118</c:v>
                </c:pt>
                <c:pt idx="380">
                  <c:v>117.32</c:v>
                </c:pt>
                <c:pt idx="381">
                  <c:v>117.21</c:v>
                </c:pt>
                <c:pt idx="382">
                  <c:v>116.85</c:v>
                </c:pt>
                <c:pt idx="383">
                  <c:v>117.54</c:v>
                </c:pt>
                <c:pt idx="384">
                  <c:v>115.94</c:v>
                </c:pt>
                <c:pt idx="385">
                  <c:v>113.44</c:v>
                </c:pt>
                <c:pt idx="386">
                  <c:v>107.66</c:v>
                </c:pt>
                <c:pt idx="387">
                  <c:v>109.85</c:v>
                </c:pt>
                <c:pt idx="388">
                  <c:v>106.74</c:v>
                </c:pt>
                <c:pt idx="389">
                  <c:v>104.45</c:v>
                </c:pt>
                <c:pt idx="390">
                  <c:v>105.67</c:v>
                </c:pt>
                <c:pt idx="391">
                  <c:v>107.85</c:v>
                </c:pt>
                <c:pt idx="392">
                  <c:v>107.52</c:v>
                </c:pt>
                <c:pt idx="393">
                  <c:v>107.74</c:v>
                </c:pt>
                <c:pt idx="394">
                  <c:v>109.56</c:v>
                </c:pt>
                <c:pt idx="395">
                  <c:v>110.57</c:v>
                </c:pt>
                <c:pt idx="396">
                  <c:v>106.69</c:v>
                </c:pt>
                <c:pt idx="397">
                  <c:v>109.22</c:v>
                </c:pt>
                <c:pt idx="398">
                  <c:v>110</c:v>
                </c:pt>
                <c:pt idx="399">
                  <c:v>110.48</c:v>
                </c:pt>
                <c:pt idx="400">
                  <c:v>111.25</c:v>
                </c:pt>
                <c:pt idx="401">
                  <c:v>111.2</c:v>
                </c:pt>
                <c:pt idx="402">
                  <c:v>114</c:v>
                </c:pt>
                <c:pt idx="403">
                  <c:v>114.49</c:v>
                </c:pt>
                <c:pt idx="404">
                  <c:v>114.2</c:v>
                </c:pt>
                <c:pt idx="405">
                  <c:v>112.52</c:v>
                </c:pt>
                <c:pt idx="406">
                  <c:v>112.23</c:v>
                </c:pt>
                <c:pt idx="407">
                  <c:v>113.35</c:v>
                </c:pt>
                <c:pt idx="408">
                  <c:v>116.22</c:v>
                </c:pt>
                <c:pt idx="409">
                  <c:v>114.1</c:v>
                </c:pt>
                <c:pt idx="410">
                  <c:v>110.52</c:v>
                </c:pt>
                <c:pt idx="411">
                  <c:v>109.93</c:v>
                </c:pt>
                <c:pt idx="412">
                  <c:v>109.51</c:v>
                </c:pt>
                <c:pt idx="413">
                  <c:v>109.65</c:v>
                </c:pt>
                <c:pt idx="414">
                  <c:v>112.25</c:v>
                </c:pt>
                <c:pt idx="415">
                  <c:v>111.9</c:v>
                </c:pt>
                <c:pt idx="416">
                  <c:v>111.63</c:v>
                </c:pt>
                <c:pt idx="417">
                  <c:v>110.33</c:v>
                </c:pt>
                <c:pt idx="418">
                  <c:v>108.92</c:v>
                </c:pt>
                <c:pt idx="419">
                  <c:v>105.19</c:v>
                </c:pt>
                <c:pt idx="420">
                  <c:v>104.36</c:v>
                </c:pt>
                <c:pt idx="421">
                  <c:v>104.29</c:v>
                </c:pt>
                <c:pt idx="422">
                  <c:v>107.12</c:v>
                </c:pt>
                <c:pt idx="423">
                  <c:v>103.4</c:v>
                </c:pt>
                <c:pt idx="424">
                  <c:v>104.26</c:v>
                </c:pt>
                <c:pt idx="425">
                  <c:v>102.15</c:v>
                </c:pt>
                <c:pt idx="426">
                  <c:v>101.4</c:v>
                </c:pt>
                <c:pt idx="427">
                  <c:v>101.96</c:v>
                </c:pt>
                <c:pt idx="428">
                  <c:v>102.77</c:v>
                </c:pt>
                <c:pt idx="429">
                  <c:v>105.4</c:v>
                </c:pt>
                <c:pt idx="430">
                  <c:v>105.91</c:v>
                </c:pt>
                <c:pt idx="431">
                  <c:v>104.13</c:v>
                </c:pt>
                <c:pt idx="432">
                  <c:v>107.76</c:v>
                </c:pt>
                <c:pt idx="433">
                  <c:v>108.63</c:v>
                </c:pt>
                <c:pt idx="434">
                  <c:v>109.3</c:v>
                </c:pt>
                <c:pt idx="435">
                  <c:v>112.62</c:v>
                </c:pt>
                <c:pt idx="436">
                  <c:v>112.76</c:v>
                </c:pt>
                <c:pt idx="437">
                  <c:v>111.13</c:v>
                </c:pt>
                <c:pt idx="438">
                  <c:v>108.5</c:v>
                </c:pt>
                <c:pt idx="439">
                  <c:v>109.93</c:v>
                </c:pt>
                <c:pt idx="440">
                  <c:v>109.79</c:v>
                </c:pt>
                <c:pt idx="441">
                  <c:v>109.55</c:v>
                </c:pt>
                <c:pt idx="442">
                  <c:v>111.2</c:v>
                </c:pt>
                <c:pt idx="443">
                  <c:v>111.02</c:v>
                </c:pt>
                <c:pt idx="444">
                  <c:v>109.5</c:v>
                </c:pt>
                <c:pt idx="445">
                  <c:v>110.16</c:v>
                </c:pt>
                <c:pt idx="446">
                  <c:v>109.85</c:v>
                </c:pt>
                <c:pt idx="447">
                  <c:v>109.19</c:v>
                </c:pt>
                <c:pt idx="448">
                  <c:v>109.54</c:v>
                </c:pt>
                <c:pt idx="449">
                  <c:v>109.73</c:v>
                </c:pt>
                <c:pt idx="450">
                  <c:v>110.83</c:v>
                </c:pt>
                <c:pt idx="451">
                  <c:v>112.48</c:v>
                </c:pt>
                <c:pt idx="452">
                  <c:v>111.9</c:v>
                </c:pt>
                <c:pt idx="453">
                  <c:v>112.96</c:v>
                </c:pt>
                <c:pt idx="454">
                  <c:v>113.3</c:v>
                </c:pt>
                <c:pt idx="455">
                  <c:v>111.27</c:v>
                </c:pt>
                <c:pt idx="456">
                  <c:v>112.2</c:v>
                </c:pt>
                <c:pt idx="457">
                  <c:v>110.89</c:v>
                </c:pt>
                <c:pt idx="458">
                  <c:v>107.81</c:v>
                </c:pt>
                <c:pt idx="459">
                  <c:v>107.48</c:v>
                </c:pt>
                <c:pt idx="460">
                  <c:v>108.62</c:v>
                </c:pt>
                <c:pt idx="461">
                  <c:v>106.94</c:v>
                </c:pt>
                <c:pt idx="462">
                  <c:v>107.76</c:v>
                </c:pt>
                <c:pt idx="463">
                  <c:v>106.64</c:v>
                </c:pt>
                <c:pt idx="464">
                  <c:v>107.39</c:v>
                </c:pt>
                <c:pt idx="465">
                  <c:v>110.44</c:v>
                </c:pt>
                <c:pt idx="466">
                  <c:v>110.37</c:v>
                </c:pt>
                <c:pt idx="467">
                  <c:v>109.05</c:v>
                </c:pt>
                <c:pt idx="468">
                  <c:v>110.3</c:v>
                </c:pt>
                <c:pt idx="469">
                  <c:v>110.64</c:v>
                </c:pt>
                <c:pt idx="470">
                  <c:v>110.51</c:v>
                </c:pt>
                <c:pt idx="471">
                  <c:v>109.5</c:v>
                </c:pt>
                <c:pt idx="472">
                  <c:v>107.55</c:v>
                </c:pt>
                <c:pt idx="473">
                  <c:v>108.88</c:v>
                </c:pt>
                <c:pt idx="474">
                  <c:v>106.93</c:v>
                </c:pt>
                <c:pt idx="475">
                  <c:v>109.07</c:v>
                </c:pt>
                <c:pt idx="476">
                  <c:v>103.9</c:v>
                </c:pt>
                <c:pt idx="477">
                  <c:v>103.44</c:v>
                </c:pt>
                <c:pt idx="478">
                  <c:v>103.65</c:v>
                </c:pt>
                <c:pt idx="479">
                  <c:v>103.1</c:v>
                </c:pt>
                <c:pt idx="480">
                  <c:v>103.84</c:v>
                </c:pt>
                <c:pt idx="481">
                  <c:v>107</c:v>
                </c:pt>
                <c:pt idx="482">
                  <c:v>107.9</c:v>
                </c:pt>
                <c:pt idx="483">
                  <c:v>107.62</c:v>
                </c:pt>
                <c:pt idx="484">
                  <c:v>108</c:v>
                </c:pt>
                <c:pt idx="485">
                  <c:v>108.96</c:v>
                </c:pt>
                <c:pt idx="486">
                  <c:v>107.41</c:v>
                </c:pt>
                <c:pt idx="487">
                  <c:v>108</c:v>
                </c:pt>
                <c:pt idx="488">
                  <c:v>107.22</c:v>
                </c:pt>
                <c:pt idx="489">
                  <c:v>112.07</c:v>
                </c:pt>
                <c:pt idx="490">
                  <c:v>113.46</c:v>
                </c:pt>
                <c:pt idx="491">
                  <c:v>112.26</c:v>
                </c:pt>
                <c:pt idx="492">
                  <c:v>113.52</c:v>
                </c:pt>
                <c:pt idx="493">
                  <c:v>113.56</c:v>
                </c:pt>
                <c:pt idx="494">
                  <c:v>112.1</c:v>
                </c:pt>
                <c:pt idx="495">
                  <c:v>112.49</c:v>
                </c:pt>
                <c:pt idx="496">
                  <c:v>110.97</c:v>
                </c:pt>
                <c:pt idx="497">
                  <c:v>110.91</c:v>
                </c:pt>
                <c:pt idx="498">
                  <c:v>110.64</c:v>
                </c:pt>
                <c:pt idx="499">
                  <c:v>111.57</c:v>
                </c:pt>
                <c:pt idx="500">
                  <c:v>110.97</c:v>
                </c:pt>
                <c:pt idx="501">
                  <c:v>111.42</c:v>
                </c:pt>
                <c:pt idx="502">
                  <c:v>110.23</c:v>
                </c:pt>
                <c:pt idx="503">
                  <c:v>109.54</c:v>
                </c:pt>
                <c:pt idx="504">
                  <c:v>110.94</c:v>
                </c:pt>
                <c:pt idx="505">
                  <c:v>110.33</c:v>
                </c:pt>
                <c:pt idx="506">
                  <c:v>110.55</c:v>
                </c:pt>
                <c:pt idx="507">
                  <c:v>111.1</c:v>
                </c:pt>
                <c:pt idx="508">
                  <c:v>111.3</c:v>
                </c:pt>
                <c:pt idx="509">
                  <c:v>111.16</c:v>
                </c:pt>
                <c:pt idx="510">
                  <c:v>111.3</c:v>
                </c:pt>
                <c:pt idx="511">
                  <c:v>112.48</c:v>
                </c:pt>
                <c:pt idx="512">
                  <c:v>114.71</c:v>
                </c:pt>
                <c:pt idx="513">
                  <c:v>114.91</c:v>
                </c:pt>
                <c:pt idx="514">
                  <c:v>116.47</c:v>
                </c:pt>
                <c:pt idx="515">
                  <c:v>116.01</c:v>
                </c:pt>
                <c:pt idx="516">
                  <c:v>117.85</c:v>
                </c:pt>
                <c:pt idx="517">
                  <c:v>118.18</c:v>
                </c:pt>
                <c:pt idx="518">
                  <c:v>117.07</c:v>
                </c:pt>
                <c:pt idx="519">
                  <c:v>117.54</c:v>
                </c:pt>
                <c:pt idx="520">
                  <c:v>119.04</c:v>
                </c:pt>
                <c:pt idx="521">
                  <c:v>120.05</c:v>
                </c:pt>
                <c:pt idx="522">
                  <c:v>119.83</c:v>
                </c:pt>
                <c:pt idx="523">
                  <c:v>120.74</c:v>
                </c:pt>
                <c:pt idx="524">
                  <c:v>120</c:v>
                </c:pt>
                <c:pt idx="525">
                  <c:v>122.64</c:v>
                </c:pt>
                <c:pt idx="526">
                  <c:v>124.2</c:v>
                </c:pt>
                <c:pt idx="527">
                  <c:v>125.07</c:v>
                </c:pt>
                <c:pt idx="528">
                  <c:v>125.28</c:v>
                </c:pt>
                <c:pt idx="529">
                  <c:v>123.3</c:v>
                </c:pt>
                <c:pt idx="530">
                  <c:v>125.86</c:v>
                </c:pt>
                <c:pt idx="531">
                  <c:v>123.32</c:v>
                </c:pt>
                <c:pt idx="532">
                  <c:v>123.55</c:v>
                </c:pt>
                <c:pt idx="533">
                  <c:v>122.32</c:v>
                </c:pt>
                <c:pt idx="534">
                  <c:v>124.2</c:v>
                </c:pt>
                <c:pt idx="535">
                  <c:v>125.48</c:v>
                </c:pt>
                <c:pt idx="536">
                  <c:v>125.12</c:v>
                </c:pt>
                <c:pt idx="537">
                  <c:v>125.59</c:v>
                </c:pt>
                <c:pt idx="538">
                  <c:v>124.43</c:v>
                </c:pt>
                <c:pt idx="539">
                  <c:v>122.78</c:v>
                </c:pt>
                <c:pt idx="540">
                  <c:v>126.16</c:v>
                </c:pt>
                <c:pt idx="541">
                  <c:v>125.96</c:v>
                </c:pt>
                <c:pt idx="542">
                  <c:v>124.07</c:v>
                </c:pt>
                <c:pt idx="543">
                  <c:v>124.13</c:v>
                </c:pt>
                <c:pt idx="544">
                  <c:v>123.38</c:v>
                </c:pt>
                <c:pt idx="545">
                  <c:v>125.21</c:v>
                </c:pt>
                <c:pt idx="546">
                  <c:v>125</c:v>
                </c:pt>
                <c:pt idx="547">
                  <c:v>125.26</c:v>
                </c:pt>
                <c:pt idx="548">
                  <c:v>124.3</c:v>
                </c:pt>
                <c:pt idx="549">
                  <c:v>122.55</c:v>
                </c:pt>
                <c:pt idx="550">
                  <c:v>122.8</c:v>
                </c:pt>
                <c:pt idx="551">
                  <c:v>122.75</c:v>
                </c:pt>
                <c:pt idx="552">
                  <c:v>124.45</c:v>
                </c:pt>
                <c:pt idx="553">
                  <c:v>122.23</c:v>
                </c:pt>
                <c:pt idx="554">
                  <c:v>122.72</c:v>
                </c:pt>
                <c:pt idx="555">
                  <c:v>121.75</c:v>
                </c:pt>
                <c:pt idx="556">
                  <c:v>122.1</c:v>
                </c:pt>
                <c:pt idx="557">
                  <c:v>119.51</c:v>
                </c:pt>
                <c:pt idx="558">
                  <c:v>119.88</c:v>
                </c:pt>
                <c:pt idx="559">
                  <c:v>121.55</c:v>
                </c:pt>
                <c:pt idx="560">
                  <c:v>121.48</c:v>
                </c:pt>
                <c:pt idx="561">
                  <c:v>120.46</c:v>
                </c:pt>
                <c:pt idx="562">
                  <c:v>118.75</c:v>
                </c:pt>
                <c:pt idx="563">
                  <c:v>118.15</c:v>
                </c:pt>
                <c:pt idx="564">
                  <c:v>118.09</c:v>
                </c:pt>
                <c:pt idx="565">
                  <c:v>118.85</c:v>
                </c:pt>
                <c:pt idx="566">
                  <c:v>118.71</c:v>
                </c:pt>
                <c:pt idx="567">
                  <c:v>118.42</c:v>
                </c:pt>
                <c:pt idx="568">
                  <c:v>119.15</c:v>
                </c:pt>
                <c:pt idx="569">
                  <c:v>119.56</c:v>
                </c:pt>
                <c:pt idx="570">
                  <c:v>119.75</c:v>
                </c:pt>
                <c:pt idx="571">
                  <c:v>119.65</c:v>
                </c:pt>
                <c:pt idx="572">
                  <c:v>119.47</c:v>
                </c:pt>
                <c:pt idx="573">
                  <c:v>115.7</c:v>
                </c:pt>
                <c:pt idx="574">
                  <c:v>113.09</c:v>
                </c:pt>
                <c:pt idx="575">
                  <c:v>111</c:v>
                </c:pt>
                <c:pt idx="576">
                  <c:v>113.04</c:v>
                </c:pt>
                <c:pt idx="577">
                  <c:v>112.94</c:v>
                </c:pt>
                <c:pt idx="578">
                  <c:v>112.26</c:v>
                </c:pt>
                <c:pt idx="579">
                  <c:v>111.69</c:v>
                </c:pt>
                <c:pt idx="580">
                  <c:v>111.3</c:v>
                </c:pt>
                <c:pt idx="581">
                  <c:v>110.35</c:v>
                </c:pt>
                <c:pt idx="582">
                  <c:v>110.99</c:v>
                </c:pt>
                <c:pt idx="583">
                  <c:v>109.39</c:v>
                </c:pt>
                <c:pt idx="584">
                  <c:v>106.8</c:v>
                </c:pt>
                <c:pt idx="585">
                  <c:v>107.31</c:v>
                </c:pt>
                <c:pt idx="586">
                  <c:v>106.82</c:v>
                </c:pt>
                <c:pt idx="587">
                  <c:v>108.25</c:v>
                </c:pt>
                <c:pt idx="588">
                  <c:v>106.16</c:v>
                </c:pt>
                <c:pt idx="589">
                  <c:v>106.75</c:v>
                </c:pt>
                <c:pt idx="590">
                  <c:v>106.9</c:v>
                </c:pt>
                <c:pt idx="591">
                  <c:v>106.85</c:v>
                </c:pt>
                <c:pt idx="592">
                  <c:v>106.85</c:v>
                </c:pt>
                <c:pt idx="593">
                  <c:v>103.25</c:v>
                </c:pt>
                <c:pt idx="594">
                  <c:v>101.62</c:v>
                </c:pt>
                <c:pt idx="595">
                  <c:v>98.33</c:v>
                </c:pt>
                <c:pt idx="596">
                  <c:v>97.83</c:v>
                </c:pt>
                <c:pt idx="597">
                  <c:v>98.58</c:v>
                </c:pt>
                <c:pt idx="598">
                  <c:v>98.12</c:v>
                </c:pt>
                <c:pt idx="599">
                  <c:v>100.46</c:v>
                </c:pt>
                <c:pt idx="600">
                  <c:v>98.72</c:v>
                </c:pt>
                <c:pt idx="601">
                  <c:v>99.45</c:v>
                </c:pt>
                <c:pt idx="602">
                  <c:v>101.21</c:v>
                </c:pt>
                <c:pt idx="603">
                  <c:v>97.88</c:v>
                </c:pt>
                <c:pt idx="604">
                  <c:v>97.31</c:v>
                </c:pt>
                <c:pt idx="605">
                  <c:v>98.5</c:v>
                </c:pt>
                <c:pt idx="606">
                  <c:v>95.69</c:v>
                </c:pt>
                <c:pt idx="607">
                  <c:v>95.84</c:v>
                </c:pt>
                <c:pt idx="608">
                  <c:v>92.55</c:v>
                </c:pt>
                <c:pt idx="609">
                  <c:v>89.25</c:v>
                </c:pt>
                <c:pt idx="610">
                  <c:v>91.33</c:v>
                </c:pt>
                <c:pt idx="611">
                  <c:v>91.47</c:v>
                </c:pt>
                <c:pt idx="612">
                  <c:v>93.79</c:v>
                </c:pt>
                <c:pt idx="613">
                  <c:v>92.04</c:v>
                </c:pt>
                <c:pt idx="614">
                  <c:v>97.57</c:v>
                </c:pt>
                <c:pt idx="615">
                  <c:v>97.63</c:v>
                </c:pt>
                <c:pt idx="616">
                  <c:v>97.15</c:v>
                </c:pt>
                <c:pt idx="617">
                  <c:v>99.51</c:v>
                </c:pt>
                <c:pt idx="618">
                  <c:v>99.61</c:v>
                </c:pt>
                <c:pt idx="619">
                  <c:v>97.39</c:v>
                </c:pt>
                <c:pt idx="620">
                  <c:v>97.78</c:v>
                </c:pt>
                <c:pt idx="621">
                  <c:v>99.87</c:v>
                </c:pt>
                <c:pt idx="622">
                  <c:v>100.07</c:v>
                </c:pt>
                <c:pt idx="623">
                  <c:v>99.8</c:v>
                </c:pt>
                <c:pt idx="624">
                  <c:v>101.66</c:v>
                </c:pt>
                <c:pt idx="625">
                  <c:v>101.78</c:v>
                </c:pt>
                <c:pt idx="626">
                  <c:v>103.08</c:v>
                </c:pt>
                <c:pt idx="627">
                  <c:v>105.48</c:v>
                </c:pt>
                <c:pt idx="628">
                  <c:v>107.59</c:v>
                </c:pt>
                <c:pt idx="629">
                  <c:v>106.74</c:v>
                </c:pt>
                <c:pt idx="630">
                  <c:v>106.42</c:v>
                </c:pt>
                <c:pt idx="631">
                  <c:v>103.18</c:v>
                </c:pt>
                <c:pt idx="632">
                  <c:v>103.07</c:v>
                </c:pt>
                <c:pt idx="633">
                  <c:v>105.31</c:v>
                </c:pt>
                <c:pt idx="634">
                  <c:v>106.65</c:v>
                </c:pt>
                <c:pt idx="635">
                  <c:v>106.52</c:v>
                </c:pt>
                <c:pt idx="636">
                  <c:v>104.62</c:v>
                </c:pt>
                <c:pt idx="637">
                  <c:v>104.49</c:v>
                </c:pt>
                <c:pt idx="638">
                  <c:v>104.48</c:v>
                </c:pt>
                <c:pt idx="639">
                  <c:v>107.22</c:v>
                </c:pt>
                <c:pt idx="640">
                  <c:v>107</c:v>
                </c:pt>
                <c:pt idx="641">
                  <c:v>110.02</c:v>
                </c:pt>
                <c:pt idx="642">
                  <c:v>110.39</c:v>
                </c:pt>
                <c:pt idx="643">
                  <c:v>111.79</c:v>
                </c:pt>
                <c:pt idx="644">
                  <c:v>111.55</c:v>
                </c:pt>
                <c:pt idx="645">
                  <c:v>111.45</c:v>
                </c:pt>
                <c:pt idx="646">
                  <c:v>111.63</c:v>
                </c:pt>
                <c:pt idx="647">
                  <c:v>114.45</c:v>
                </c:pt>
                <c:pt idx="648">
                  <c:v>114.3</c:v>
                </c:pt>
                <c:pt idx="649">
                  <c:v>113.76</c:v>
                </c:pt>
                <c:pt idx="650">
                  <c:v>114.05</c:v>
                </c:pt>
                <c:pt idx="651">
                  <c:v>113.62</c:v>
                </c:pt>
                <c:pt idx="652">
                  <c:v>114.98</c:v>
                </c:pt>
                <c:pt idx="653">
                  <c:v>114.37</c:v>
                </c:pt>
                <c:pt idx="654">
                  <c:v>113.51</c:v>
                </c:pt>
                <c:pt idx="655">
                  <c:v>114.18</c:v>
                </c:pt>
                <c:pt idx="656">
                  <c:v>112.58</c:v>
                </c:pt>
                <c:pt idx="657">
                  <c:v>112.35</c:v>
                </c:pt>
                <c:pt idx="658">
                  <c:v>112.72</c:v>
                </c:pt>
                <c:pt idx="659">
                  <c:v>114.92</c:v>
                </c:pt>
                <c:pt idx="660">
                  <c:v>115.23</c:v>
                </c:pt>
                <c:pt idx="661">
                  <c:v>113.6</c:v>
                </c:pt>
                <c:pt idx="662">
                  <c:v>113.4</c:v>
                </c:pt>
                <c:pt idx="663">
                  <c:v>112.17</c:v>
                </c:pt>
                <c:pt idx="664">
                  <c:v>113.82</c:v>
                </c:pt>
                <c:pt idx="665">
                  <c:v>113.9</c:v>
                </c:pt>
                <c:pt idx="666">
                  <c:v>114.4</c:v>
                </c:pt>
                <c:pt idx="667">
                  <c:v>115.23</c:v>
                </c:pt>
                <c:pt idx="668">
                  <c:v>115.72</c:v>
                </c:pt>
                <c:pt idx="669">
                  <c:v>116.92</c:v>
                </c:pt>
                <c:pt idx="670">
                  <c:v>116.75</c:v>
                </c:pt>
                <c:pt idx="671">
                  <c:v>113.5</c:v>
                </c:pt>
                <c:pt idx="672">
                  <c:v>108.35</c:v>
                </c:pt>
                <c:pt idx="673">
                  <c:v>110.61</c:v>
                </c:pt>
                <c:pt idx="674">
                  <c:v>111.42</c:v>
                </c:pt>
                <c:pt idx="675">
                  <c:v>111.31</c:v>
                </c:pt>
                <c:pt idx="676">
                  <c:v>109.87</c:v>
                </c:pt>
                <c:pt idx="677">
                  <c:v>110.1</c:v>
                </c:pt>
                <c:pt idx="678">
                  <c:v>112.41</c:v>
                </c:pt>
                <c:pt idx="679">
                  <c:v>112.22</c:v>
                </c:pt>
                <c:pt idx="680">
                  <c:v>112.14</c:v>
                </c:pt>
                <c:pt idx="681">
                  <c:v>110.55</c:v>
                </c:pt>
                <c:pt idx="682">
                  <c:v>107.34</c:v>
                </c:pt>
                <c:pt idx="683">
                  <c:v>111.36</c:v>
                </c:pt>
                <c:pt idx="684">
                  <c:v>111.13</c:v>
                </c:pt>
                <c:pt idx="685">
                  <c:v>111.02</c:v>
                </c:pt>
                <c:pt idx="686">
                  <c:v>113.35</c:v>
                </c:pt>
                <c:pt idx="687">
                  <c:v>113.28</c:v>
                </c:pt>
                <c:pt idx="688">
                  <c:v>114.77</c:v>
                </c:pt>
                <c:pt idx="689">
                  <c:v>113.38</c:v>
                </c:pt>
                <c:pt idx="690">
                  <c:v>113.12</c:v>
                </c:pt>
                <c:pt idx="691">
                  <c:v>114.48</c:v>
                </c:pt>
                <c:pt idx="692">
                  <c:v>113.21</c:v>
                </c:pt>
                <c:pt idx="693">
                  <c:v>112.44</c:v>
                </c:pt>
                <c:pt idx="694">
                  <c:v>110.32</c:v>
                </c:pt>
                <c:pt idx="695">
                  <c:v>109.77</c:v>
                </c:pt>
                <c:pt idx="696">
                  <c:v>109.79</c:v>
                </c:pt>
                <c:pt idx="697">
                  <c:v>108.3</c:v>
                </c:pt>
                <c:pt idx="698">
                  <c:v>108.5</c:v>
                </c:pt>
                <c:pt idx="699">
                  <c:v>109.7</c:v>
                </c:pt>
                <c:pt idx="700">
                  <c:v>109.19</c:v>
                </c:pt>
                <c:pt idx="701">
                  <c:v>109.33</c:v>
                </c:pt>
                <c:pt idx="702">
                  <c:v>108.4</c:v>
                </c:pt>
                <c:pt idx="703">
                  <c:v>107.5</c:v>
                </c:pt>
                <c:pt idx="704">
                  <c:v>104.88</c:v>
                </c:pt>
                <c:pt idx="705">
                  <c:v>104.7</c:v>
                </c:pt>
                <c:pt idx="706">
                  <c:v>106.05</c:v>
                </c:pt>
                <c:pt idx="707">
                  <c:v>106.18</c:v>
                </c:pt>
                <c:pt idx="708">
                  <c:v>108.79</c:v>
                </c:pt>
                <c:pt idx="709">
                  <c:v>108.3</c:v>
                </c:pt>
                <c:pt idx="710">
                  <c:v>107.82</c:v>
                </c:pt>
                <c:pt idx="711">
                  <c:v>108.75</c:v>
                </c:pt>
                <c:pt idx="712">
                  <c:v>107.69</c:v>
                </c:pt>
                <c:pt idx="713">
                  <c:v>109.02</c:v>
                </c:pt>
                <c:pt idx="714">
                  <c:v>109.5</c:v>
                </c:pt>
                <c:pt idx="715">
                  <c:v>111.59</c:v>
                </c:pt>
                <c:pt idx="716">
                  <c:v>110.46</c:v>
                </c:pt>
                <c:pt idx="717">
                  <c:v>111.03</c:v>
                </c:pt>
                <c:pt idx="718">
                  <c:v>111.39</c:v>
                </c:pt>
                <c:pt idx="719">
                  <c:v>111.35</c:v>
                </c:pt>
                <c:pt idx="720">
                  <c:v>110</c:v>
                </c:pt>
                <c:pt idx="721">
                  <c:v>109.69</c:v>
                </c:pt>
                <c:pt idx="722">
                  <c:v>110.4</c:v>
                </c:pt>
                <c:pt idx="723">
                  <c:v>111.17</c:v>
                </c:pt>
                <c:pt idx="724">
                  <c:v>110.35</c:v>
                </c:pt>
                <c:pt idx="725">
                  <c:v>108.87</c:v>
                </c:pt>
                <c:pt idx="726">
                  <c:v>107.97</c:v>
                </c:pt>
                <c:pt idx="727">
                  <c:v>106.25</c:v>
                </c:pt>
                <c:pt idx="728">
                  <c:v>106.3</c:v>
                </c:pt>
                <c:pt idx="729">
                  <c:v>106.42</c:v>
                </c:pt>
                <c:pt idx="730">
                  <c:v>106.22</c:v>
                </c:pt>
                <c:pt idx="731">
                  <c:v>108.01</c:v>
                </c:pt>
                <c:pt idx="732">
                  <c:v>106.53</c:v>
                </c:pt>
                <c:pt idx="733">
                  <c:v>108.4</c:v>
                </c:pt>
                <c:pt idx="734">
                  <c:v>108.27</c:v>
                </c:pt>
                <c:pt idx="735">
                  <c:v>108.94</c:v>
                </c:pt>
                <c:pt idx="736">
                  <c:v>110.05</c:v>
                </c:pt>
                <c:pt idx="737">
                  <c:v>110.25</c:v>
                </c:pt>
                <c:pt idx="738">
                  <c:v>109.15</c:v>
                </c:pt>
                <c:pt idx="739">
                  <c:v>109.02</c:v>
                </c:pt>
                <c:pt idx="740">
                  <c:v>108.8</c:v>
                </c:pt>
                <c:pt idx="741">
                  <c:v>110.71</c:v>
                </c:pt>
                <c:pt idx="742">
                  <c:v>110.92</c:v>
                </c:pt>
                <c:pt idx="743">
                  <c:v>110.35</c:v>
                </c:pt>
                <c:pt idx="744">
                  <c:v>111.11</c:v>
                </c:pt>
                <c:pt idx="745">
                  <c:v>110.99</c:v>
                </c:pt>
                <c:pt idx="746">
                  <c:v>109.84</c:v>
                </c:pt>
                <c:pt idx="747">
                  <c:v>109.82</c:v>
                </c:pt>
                <c:pt idx="748">
                  <c:v>111.14</c:v>
                </c:pt>
                <c:pt idx="749">
                  <c:v>109.62</c:v>
                </c:pt>
                <c:pt idx="750">
                  <c:v>110.92</c:v>
                </c:pt>
                <c:pt idx="751">
                  <c:v>111.67</c:v>
                </c:pt>
                <c:pt idx="752">
                  <c:v>111.76</c:v>
                </c:pt>
                <c:pt idx="753">
                  <c:v>112.46</c:v>
                </c:pt>
                <c:pt idx="754">
                  <c:v>112.79</c:v>
                </c:pt>
                <c:pt idx="755">
                  <c:v>113.36</c:v>
                </c:pt>
                <c:pt idx="756">
                  <c:v>113.4</c:v>
                </c:pt>
                <c:pt idx="757">
                  <c:v>113.32</c:v>
                </c:pt>
                <c:pt idx="758">
                  <c:v>113.4</c:v>
                </c:pt>
                <c:pt idx="759">
                  <c:v>114.95</c:v>
                </c:pt>
                <c:pt idx="760">
                  <c:v>114.56</c:v>
                </c:pt>
                <c:pt idx="761">
                  <c:v>115.63</c:v>
                </c:pt>
                <c:pt idx="762">
                  <c:v>114.72</c:v>
                </c:pt>
                <c:pt idx="763">
                  <c:v>115.59</c:v>
                </c:pt>
                <c:pt idx="764">
                  <c:v>115.97</c:v>
                </c:pt>
                <c:pt idx="765">
                  <c:v>116.7</c:v>
                </c:pt>
                <c:pt idx="766">
                  <c:v>117.81</c:v>
                </c:pt>
                <c:pt idx="767">
                  <c:v>117.2</c:v>
                </c:pt>
                <c:pt idx="768">
                  <c:v>117.8</c:v>
                </c:pt>
                <c:pt idx="769">
                  <c:v>118</c:v>
                </c:pt>
                <c:pt idx="770">
                  <c:v>118.04</c:v>
                </c:pt>
                <c:pt idx="771">
                  <c:v>117.97</c:v>
                </c:pt>
                <c:pt idx="772">
                  <c:v>117.76</c:v>
                </c:pt>
                <c:pt idx="773">
                  <c:v>117.4</c:v>
                </c:pt>
                <c:pt idx="774">
                  <c:v>115.1</c:v>
                </c:pt>
                <c:pt idx="775">
                  <c:v>113.65</c:v>
                </c:pt>
                <c:pt idx="776">
                  <c:v>114.3</c:v>
                </c:pt>
                <c:pt idx="777">
                  <c:v>113.34</c:v>
                </c:pt>
                <c:pt idx="778">
                  <c:v>112.99</c:v>
                </c:pt>
                <c:pt idx="779">
                  <c:v>112</c:v>
                </c:pt>
                <c:pt idx="780">
                  <c:v>111</c:v>
                </c:pt>
                <c:pt idx="781">
                  <c:v>109.59</c:v>
                </c:pt>
                <c:pt idx="782">
                  <c:v>109.02</c:v>
                </c:pt>
                <c:pt idx="783">
                  <c:v>110.94</c:v>
                </c:pt>
                <c:pt idx="784">
                  <c:v>109.98</c:v>
                </c:pt>
                <c:pt idx="785">
                  <c:v>110.07</c:v>
                </c:pt>
                <c:pt idx="786">
                  <c:v>109.48</c:v>
                </c:pt>
                <c:pt idx="787">
                  <c:v>109.13</c:v>
                </c:pt>
                <c:pt idx="788">
                  <c:v>108.18</c:v>
                </c:pt>
                <c:pt idx="789">
                  <c:v>109.34</c:v>
                </c:pt>
                <c:pt idx="790">
                  <c:v>110.05</c:v>
                </c:pt>
                <c:pt idx="791">
                  <c:v>109.4</c:v>
                </c:pt>
                <c:pt idx="792">
                  <c:v>107.46</c:v>
                </c:pt>
                <c:pt idx="793">
                  <c:v>108.58</c:v>
                </c:pt>
                <c:pt idx="794">
                  <c:v>107.2</c:v>
                </c:pt>
                <c:pt idx="795">
                  <c:v>107.5</c:v>
                </c:pt>
                <c:pt idx="796">
                  <c:v>108.18</c:v>
                </c:pt>
                <c:pt idx="797">
                  <c:v>109.4</c:v>
                </c:pt>
                <c:pt idx="798">
                  <c:v>109.84</c:v>
                </c:pt>
                <c:pt idx="799">
                  <c:v>109.77</c:v>
                </c:pt>
                <c:pt idx="800">
                  <c:v>109.89</c:v>
                </c:pt>
                <c:pt idx="801">
                  <c:v>110.76</c:v>
                </c:pt>
                <c:pt idx="802">
                  <c:v>110.34</c:v>
                </c:pt>
                <c:pt idx="803">
                  <c:v>106.89</c:v>
                </c:pt>
                <c:pt idx="804">
                  <c:v>106.27</c:v>
                </c:pt>
                <c:pt idx="805">
                  <c:v>104.38</c:v>
                </c:pt>
                <c:pt idx="806">
                  <c:v>104.9</c:v>
                </c:pt>
                <c:pt idx="807">
                  <c:v>106.15</c:v>
                </c:pt>
                <c:pt idx="808">
                  <c:v>105.65</c:v>
                </c:pt>
                <c:pt idx="809">
                  <c:v>104.41</c:v>
                </c:pt>
                <c:pt idx="810">
                  <c:v>102.85</c:v>
                </c:pt>
                <c:pt idx="811">
                  <c:v>99.31</c:v>
                </c:pt>
                <c:pt idx="812">
                  <c:v>100.1</c:v>
                </c:pt>
                <c:pt idx="813">
                  <c:v>97.4</c:v>
                </c:pt>
                <c:pt idx="814">
                  <c:v>99.6</c:v>
                </c:pt>
                <c:pt idx="815">
                  <c:v>99.53</c:v>
                </c:pt>
                <c:pt idx="816">
                  <c:v>100.37</c:v>
                </c:pt>
                <c:pt idx="817">
                  <c:v>100.5</c:v>
                </c:pt>
                <c:pt idx="818">
                  <c:v>101.82</c:v>
                </c:pt>
                <c:pt idx="819">
                  <c:v>103.11</c:v>
                </c:pt>
                <c:pt idx="820">
                  <c:v>102.85</c:v>
                </c:pt>
                <c:pt idx="821">
                  <c:v>103.76</c:v>
                </c:pt>
                <c:pt idx="822">
                  <c:v>101.74</c:v>
                </c:pt>
                <c:pt idx="823">
                  <c:v>104.99</c:v>
                </c:pt>
                <c:pt idx="824">
                  <c:v>103.75</c:v>
                </c:pt>
                <c:pt idx="825">
                  <c:v>104.02</c:v>
                </c:pt>
                <c:pt idx="826">
                  <c:v>102.64</c:v>
                </c:pt>
                <c:pt idx="827">
                  <c:v>102.53</c:v>
                </c:pt>
                <c:pt idx="828">
                  <c:v>103.65</c:v>
                </c:pt>
                <c:pt idx="829">
                  <c:v>103.84</c:v>
                </c:pt>
                <c:pt idx="830">
                  <c:v>104.72</c:v>
                </c:pt>
                <c:pt idx="831">
                  <c:v>104.79</c:v>
                </c:pt>
                <c:pt idx="832">
                  <c:v>103.63</c:v>
                </c:pt>
                <c:pt idx="833">
                  <c:v>102.32</c:v>
                </c:pt>
                <c:pt idx="834">
                  <c:v>102.66</c:v>
                </c:pt>
                <c:pt idx="835">
                  <c:v>102.78</c:v>
                </c:pt>
                <c:pt idx="836">
                  <c:v>102.5</c:v>
                </c:pt>
                <c:pt idx="837">
                  <c:v>104.35</c:v>
                </c:pt>
                <c:pt idx="838">
                  <c:v>102.18</c:v>
                </c:pt>
                <c:pt idx="839">
                  <c:v>102.24</c:v>
                </c:pt>
                <c:pt idx="840">
                  <c:v>100.15</c:v>
                </c:pt>
                <c:pt idx="841">
                  <c:v>101.9</c:v>
                </c:pt>
                <c:pt idx="842">
                  <c:v>103.18</c:v>
                </c:pt>
                <c:pt idx="843">
                  <c:v>102.63</c:v>
                </c:pt>
                <c:pt idx="844">
                  <c:v>103.19</c:v>
                </c:pt>
                <c:pt idx="845">
                  <c:v>104.48</c:v>
                </c:pt>
                <c:pt idx="846">
                  <c:v>103.74</c:v>
                </c:pt>
                <c:pt idx="847">
                  <c:v>102.64</c:v>
                </c:pt>
                <c:pt idx="848">
                  <c:v>104.95</c:v>
                </c:pt>
                <c:pt idx="849">
                  <c:v>105.84</c:v>
                </c:pt>
                <c:pt idx="850">
                  <c:v>105.62</c:v>
                </c:pt>
                <c:pt idx="851">
                  <c:v>106.1</c:v>
                </c:pt>
                <c:pt idx="852">
                  <c:v>105.87</c:v>
                </c:pt>
                <c:pt idx="853">
                  <c:v>102.06</c:v>
                </c:pt>
                <c:pt idx="854">
                  <c:v>101.09</c:v>
                </c:pt>
                <c:pt idx="855">
                  <c:v>101.07</c:v>
                </c:pt>
                <c:pt idx="856">
                  <c:v>101.17</c:v>
                </c:pt>
                <c:pt idx="857">
                  <c:v>101.8</c:v>
                </c:pt>
                <c:pt idx="858">
                  <c:v>102.65</c:v>
                </c:pt>
                <c:pt idx="859">
                  <c:v>101.99</c:v>
                </c:pt>
                <c:pt idx="860">
                  <c:v>102.52</c:v>
                </c:pt>
                <c:pt idx="861">
                  <c:v>103.41</c:v>
                </c:pt>
                <c:pt idx="862">
                  <c:v>105.21</c:v>
                </c:pt>
                <c:pt idx="863">
                  <c:v>104.84</c:v>
                </c:pt>
                <c:pt idx="864">
                  <c:v>107.06</c:v>
                </c:pt>
                <c:pt idx="865">
                  <c:v>106.49</c:v>
                </c:pt>
                <c:pt idx="866">
                  <c:v>107.35</c:v>
                </c:pt>
                <c:pt idx="867">
                  <c:v>107.34</c:v>
                </c:pt>
                <c:pt idx="868">
                  <c:v>106.64</c:v>
                </c:pt>
                <c:pt idx="869">
                  <c:v>108.2</c:v>
                </c:pt>
                <c:pt idx="870">
                  <c:v>108.08</c:v>
                </c:pt>
                <c:pt idx="871">
                  <c:v>107.93</c:v>
                </c:pt>
                <c:pt idx="872">
                  <c:v>108.74</c:v>
                </c:pt>
                <c:pt idx="873">
                  <c:v>108.83</c:v>
                </c:pt>
                <c:pt idx="874">
                  <c:v>108.3</c:v>
                </c:pt>
                <c:pt idx="875">
                  <c:v>108.16</c:v>
                </c:pt>
                <c:pt idx="876">
                  <c:v>108.41</c:v>
                </c:pt>
                <c:pt idx="877">
                  <c:v>107.05</c:v>
                </c:pt>
                <c:pt idx="878">
                  <c:v>107.65</c:v>
                </c:pt>
                <c:pt idx="879">
                  <c:v>107.19</c:v>
                </c:pt>
                <c:pt idx="880">
                  <c:v>107.51</c:v>
                </c:pt>
                <c:pt idx="881">
                  <c:v>106.84</c:v>
                </c:pt>
                <c:pt idx="882">
                  <c:v>107.7</c:v>
                </c:pt>
                <c:pt idx="883">
                  <c:v>108.51</c:v>
                </c:pt>
                <c:pt idx="884">
                  <c:v>108.07</c:v>
                </c:pt>
                <c:pt idx="885">
                  <c:v>107.71</c:v>
                </c:pt>
                <c:pt idx="886">
                  <c:v>107.19</c:v>
                </c:pt>
                <c:pt idx="887">
                  <c:v>106.08</c:v>
                </c:pt>
                <c:pt idx="888">
                  <c:v>105.5</c:v>
                </c:pt>
                <c:pt idx="889">
                  <c:v>106.87</c:v>
                </c:pt>
                <c:pt idx="890">
                  <c:v>107.86</c:v>
                </c:pt>
                <c:pt idx="891">
                  <c:v>108.1</c:v>
                </c:pt>
                <c:pt idx="892">
                  <c:v>108.96</c:v>
                </c:pt>
                <c:pt idx="893">
                  <c:v>109.32</c:v>
                </c:pt>
                <c:pt idx="894">
                  <c:v>110.42</c:v>
                </c:pt>
                <c:pt idx="895">
                  <c:v>109.59</c:v>
                </c:pt>
                <c:pt idx="896">
                  <c:v>110.15</c:v>
                </c:pt>
                <c:pt idx="897">
                  <c:v>109.73</c:v>
                </c:pt>
                <c:pt idx="898">
                  <c:v>110</c:v>
                </c:pt>
                <c:pt idx="899">
                  <c:v>111.05</c:v>
                </c:pt>
                <c:pt idx="900">
                  <c:v>110.93</c:v>
                </c:pt>
                <c:pt idx="901">
                  <c:v>115.29</c:v>
                </c:pt>
                <c:pt idx="902">
                  <c:v>116.33</c:v>
                </c:pt>
                <c:pt idx="903">
                  <c:v>114.44</c:v>
                </c:pt>
                <c:pt idx="904">
                  <c:v>114.45</c:v>
                </c:pt>
                <c:pt idx="905">
                  <c:v>112.44</c:v>
                </c:pt>
                <c:pt idx="906">
                  <c:v>113.7</c:v>
                </c:pt>
                <c:pt idx="907">
                  <c:v>113.23</c:v>
                </c:pt>
                <c:pt idx="908">
                  <c:v>113.7</c:v>
                </c:pt>
                <c:pt idx="909">
                  <c:v>114.1</c:v>
                </c:pt>
                <c:pt idx="910">
                  <c:v>111.77</c:v>
                </c:pt>
                <c:pt idx="911" formatCode="#,##0.0">
                  <c:v>109.96</c:v>
                </c:pt>
                <c:pt idx="912" formatCode="#,##0.0">
                  <c:v>110.29</c:v>
                </c:pt>
                <c:pt idx="913" formatCode="#,##0.0">
                  <c:v>111.89</c:v>
                </c:pt>
                <c:pt idx="914" formatCode="#,##0.0">
                  <c:v>111.79</c:v>
                </c:pt>
                <c:pt idx="915" formatCode="#,##0.0">
                  <c:v>109.82</c:v>
                </c:pt>
                <c:pt idx="916" formatCode="#,##0.0">
                  <c:v>107.75</c:v>
                </c:pt>
                <c:pt idx="917" formatCode="#,##0.0">
                  <c:v>110.74</c:v>
                </c:pt>
                <c:pt idx="918" formatCode="#,##0.0">
                  <c:v>108.82</c:v>
                </c:pt>
                <c:pt idx="919" formatCode="#,##0.0">
                  <c:v>109.35</c:v>
                </c:pt>
                <c:pt idx="920" formatCode="#,##0.0">
                  <c:v>108</c:v>
                </c:pt>
                <c:pt idx="921" formatCode="#,##0.0">
                  <c:v>108.77</c:v>
                </c:pt>
                <c:pt idx="922" formatCode="#,##0.0">
                  <c:v>108.06</c:v>
                </c:pt>
                <c:pt idx="923" formatCode="#,##0.0">
                  <c:v>109.22</c:v>
                </c:pt>
                <c:pt idx="924" formatCode="#,##0.0">
                  <c:v>108.43</c:v>
                </c:pt>
                <c:pt idx="925" formatCode="#,##0.0">
                  <c:v>108.2</c:v>
                </c:pt>
                <c:pt idx="926" formatCode="#,##0.0">
                  <c:v>106.92</c:v>
                </c:pt>
                <c:pt idx="927" formatCode="#,##0.0">
                  <c:v>108.03</c:v>
                </c:pt>
                <c:pt idx="928" formatCode="#,##0.0">
                  <c:v>107.69</c:v>
                </c:pt>
                <c:pt idx="929" formatCode="#,##0.0">
                  <c:v>108.46</c:v>
                </c:pt>
                <c:pt idx="930" formatCode="#,##0.0">
                  <c:v>108.74</c:v>
                </c:pt>
                <c:pt idx="931" formatCode="#,##0.0">
                  <c:v>109.42</c:v>
                </c:pt>
                <c:pt idx="932" formatCode="#,##0.0">
                  <c:v>108.25</c:v>
                </c:pt>
                <c:pt idx="933" formatCode="#,##0.0">
                  <c:v>110.87</c:v>
                </c:pt>
                <c:pt idx="934" formatCode="#,##0.0">
                  <c:v>110.29</c:v>
                </c:pt>
                <c:pt idx="935" formatCode="#,##0.0">
                  <c:v>110.18</c:v>
                </c:pt>
                <c:pt idx="936" formatCode="#,##0.0">
                  <c:v>109</c:v>
                </c:pt>
                <c:pt idx="937" formatCode="#,##0.0">
                  <c:v>110.49</c:v>
                </c:pt>
                <c:pt idx="938" formatCode="#,##0.0">
                  <c:v>109</c:v>
                </c:pt>
                <c:pt idx="939" formatCode="#,##0.0">
                  <c:v>109.94</c:v>
                </c:pt>
                <c:pt idx="940" formatCode="#,##0.0">
                  <c:v>109.77</c:v>
                </c:pt>
                <c:pt idx="941" formatCode="#,##0.0">
                  <c:v>110.06</c:v>
                </c:pt>
                <c:pt idx="942" formatCode="#,##0.0">
                  <c:v>107.65</c:v>
                </c:pt>
                <c:pt idx="943" formatCode="#,##0.0">
                  <c:v>106.99</c:v>
                </c:pt>
                <c:pt idx="944" formatCode="#,##0.0">
                  <c:v>107.06</c:v>
                </c:pt>
                <c:pt idx="945" formatCode="#,##0.0">
                  <c:v>109.42</c:v>
                </c:pt>
                <c:pt idx="946" formatCode="#,##0.0">
                  <c:v>108.81</c:v>
                </c:pt>
                <c:pt idx="947" formatCode="#,##0.0">
                  <c:v>109.77</c:v>
                </c:pt>
                <c:pt idx="948" formatCode="#,##0.0">
                  <c:v>108.9</c:v>
                </c:pt>
                <c:pt idx="949">
                  <c:v>106.05</c:v>
                </c:pt>
                <c:pt idx="950">
                  <c:v>105.65</c:v>
                </c:pt>
                <c:pt idx="951">
                  <c:v>104.99</c:v>
                </c:pt>
                <c:pt idx="952">
                  <c:v>103.55</c:v>
                </c:pt>
                <c:pt idx="953">
                  <c:v>105.04</c:v>
                </c:pt>
                <c:pt idx="954">
                  <c:v>106.34</c:v>
                </c:pt>
                <c:pt idx="955">
                  <c:v>105.82</c:v>
                </c:pt>
                <c:pt idx="956">
                  <c:v>106.92</c:v>
                </c:pt>
                <c:pt idx="957">
                  <c:v>108.4</c:v>
                </c:pt>
                <c:pt idx="958">
                  <c:v>108.5</c:v>
                </c:pt>
                <c:pt idx="959">
                  <c:v>108.3</c:v>
                </c:pt>
                <c:pt idx="960">
                  <c:v>107.07</c:v>
                </c:pt>
                <c:pt idx="961">
                  <c:v>107.92</c:v>
                </c:pt>
                <c:pt idx="962">
                  <c:v>110.15</c:v>
                </c:pt>
                <c:pt idx="963">
                  <c:v>110.49</c:v>
                </c:pt>
                <c:pt idx="964">
                  <c:v>111.05</c:v>
                </c:pt>
                <c:pt idx="965">
                  <c:v>111.04</c:v>
                </c:pt>
                <c:pt idx="966">
                  <c:v>111.59</c:v>
                </c:pt>
                <c:pt idx="967">
                  <c:v>110.95</c:v>
                </c:pt>
                <c:pt idx="968">
                  <c:v>110.11</c:v>
                </c:pt>
                <c:pt idx="969">
                  <c:v>111.01</c:v>
                </c:pt>
                <c:pt idx="970">
                  <c:v>112.24</c:v>
                </c:pt>
                <c:pt idx="971">
                  <c:v>111.17</c:v>
                </c:pt>
                <c:pt idx="972">
                  <c:v>110.76</c:v>
                </c:pt>
                <c:pt idx="973">
                  <c:v>111.36</c:v>
                </c:pt>
                <c:pt idx="974">
                  <c:v>108.93</c:v>
                </c:pt>
                <c:pt idx="975">
                  <c:v>109.25</c:v>
                </c:pt>
                <c:pt idx="976">
                  <c:v>109.32</c:v>
                </c:pt>
                <c:pt idx="977">
                  <c:v>108.34</c:v>
                </c:pt>
                <c:pt idx="978">
                  <c:v>108.3</c:v>
                </c:pt>
                <c:pt idx="979">
                  <c:v>109.04</c:v>
                </c:pt>
                <c:pt idx="980">
                  <c:v>108.21</c:v>
                </c:pt>
                <c:pt idx="981">
                  <c:v>109.28</c:v>
                </c:pt>
                <c:pt idx="982">
                  <c:v>110.06</c:v>
                </c:pt>
                <c:pt idx="983">
                  <c:v>111.84</c:v>
                </c:pt>
                <c:pt idx="984">
                  <c:v>111.57</c:v>
                </c:pt>
                <c:pt idx="985">
                  <c:v>112</c:v>
                </c:pt>
                <c:pt idx="987">
                  <c:v>112</c:v>
                </c:pt>
                <c:pt idx="988">
                  <c:v>112.14</c:v>
                </c:pt>
                <c:pt idx="989">
                  <c:v>106</c:v>
                </c:pt>
                <c:pt idx="990">
                  <c:v>106.83</c:v>
                </c:pt>
                <c:pt idx="991">
                  <c:v>105.59</c:v>
                </c:pt>
                <c:pt idx="992">
                  <c:v>105.25</c:v>
                </c:pt>
                <c:pt idx="993">
                  <c:v>105.97</c:v>
                </c:pt>
                <c:pt idx="994">
                  <c:v>105.48</c:v>
                </c:pt>
                <c:pt idx="995">
                  <c:v>106.32</c:v>
                </c:pt>
                <c:pt idx="996">
                  <c:v>106.2</c:v>
                </c:pt>
                <c:pt idx="997">
                  <c:v>106.8</c:v>
                </c:pt>
                <c:pt idx="998">
                  <c:v>108.08</c:v>
                </c:pt>
                <c:pt idx="999">
                  <c:v>107.58</c:v>
                </c:pt>
                <c:pt idx="1000">
                  <c:v>107.89</c:v>
                </c:pt>
                <c:pt idx="1001">
                  <c:v>106.94</c:v>
                </c:pt>
                <c:pt idx="1002">
                  <c:v>107.41</c:v>
                </c:pt>
                <c:pt idx="1003">
                  <c:v>107.75</c:v>
                </c:pt>
                <c:pt idx="1004">
                  <c:v>107.7</c:v>
                </c:pt>
                <c:pt idx="1005">
                  <c:v>105.79</c:v>
                </c:pt>
                <c:pt idx="1006">
                  <c:v>105.27</c:v>
                </c:pt>
                <c:pt idx="1007">
                  <c:v>105.38</c:v>
                </c:pt>
                <c:pt idx="1008">
                  <c:v>105.56</c:v>
                </c:pt>
                <c:pt idx="1009">
                  <c:v>106.75</c:v>
                </c:pt>
                <c:pt idx="1010">
                  <c:v>108.83</c:v>
                </c:pt>
                <c:pt idx="1011">
                  <c:v>107.78</c:v>
                </c:pt>
                <c:pt idx="1012">
                  <c:v>108.2</c:v>
                </c:pt>
                <c:pt idx="1013">
                  <c:v>108.27</c:v>
                </c:pt>
                <c:pt idx="1014">
                  <c:v>108.58</c:v>
                </c:pt>
                <c:pt idx="1015">
                  <c:v>109.05</c:v>
                </c:pt>
                <c:pt idx="1016">
                  <c:v>109.1</c:v>
                </c:pt>
                <c:pt idx="1017">
                  <c:v>110.63</c:v>
                </c:pt>
                <c:pt idx="1018">
                  <c:v>110.42</c:v>
                </c:pt>
                <c:pt idx="1019">
                  <c:v>110.49</c:v>
                </c:pt>
                <c:pt idx="1020">
                  <c:v>109.84</c:v>
                </c:pt>
                <c:pt idx="1021">
                  <c:v>110.71</c:v>
                </c:pt>
                <c:pt idx="1022">
                  <c:v>109.59</c:v>
                </c:pt>
                <c:pt idx="1023">
                  <c:v>109.51</c:v>
                </c:pt>
                <c:pt idx="1024">
                  <c:v>108.77</c:v>
                </c:pt>
                <c:pt idx="1025">
                  <c:v>108.65</c:v>
                </c:pt>
                <c:pt idx="1026">
                  <c:v>110.78</c:v>
                </c:pt>
                <c:pt idx="1027">
                  <c:v>108.62</c:v>
                </c:pt>
                <c:pt idx="1028">
                  <c:v>107.29</c:v>
                </c:pt>
                <c:pt idx="1029">
                  <c:v>107.8</c:v>
                </c:pt>
                <c:pt idx="1030">
                  <c:v>108.23</c:v>
                </c:pt>
                <c:pt idx="1031">
                  <c:v>107.77</c:v>
                </c:pt>
                <c:pt idx="1032">
                  <c:v>107.6</c:v>
                </c:pt>
                <c:pt idx="1033">
                  <c:v>106.99</c:v>
                </c:pt>
                <c:pt idx="1034">
                  <c:v>108.5</c:v>
                </c:pt>
                <c:pt idx="1035">
                  <c:v>106.4</c:v>
                </c:pt>
                <c:pt idx="1036">
                  <c:v>106.65</c:v>
                </c:pt>
                <c:pt idx="1037">
                  <c:v>105.84</c:v>
                </c:pt>
                <c:pt idx="1038">
                  <c:v>106.23</c:v>
                </c:pt>
                <c:pt idx="1039">
                  <c:v>107.2</c:v>
                </c:pt>
                <c:pt idx="1040">
                  <c:v>106.59</c:v>
                </c:pt>
                <c:pt idx="1041">
                  <c:v>106.93</c:v>
                </c:pt>
                <c:pt idx="1042">
                  <c:v>107</c:v>
                </c:pt>
                <c:pt idx="1043">
                  <c:v>107.69</c:v>
                </c:pt>
                <c:pt idx="1044">
                  <c:v>107.97</c:v>
                </c:pt>
                <c:pt idx="1045">
                  <c:v>107.7</c:v>
                </c:pt>
                <c:pt idx="1046">
                  <c:v>105.31</c:v>
                </c:pt>
                <c:pt idx="1047">
                  <c:v>104.7</c:v>
                </c:pt>
                <c:pt idx="1048">
                  <c:v>106.14</c:v>
                </c:pt>
                <c:pt idx="1049">
                  <c:v>106.57</c:v>
                </c:pt>
                <c:pt idx="1050">
                  <c:v>105.98</c:v>
                </c:pt>
                <c:pt idx="1051">
                  <c:v>107.48</c:v>
                </c:pt>
                <c:pt idx="1052">
                  <c:v>107.9</c:v>
                </c:pt>
                <c:pt idx="1053">
                  <c:v>107.39</c:v>
                </c:pt>
                <c:pt idx="1054">
                  <c:v>107.15</c:v>
                </c:pt>
                <c:pt idx="1055">
                  <c:v>108.96</c:v>
                </c:pt>
                <c:pt idx="1056">
                  <c:v>109.18</c:v>
                </c:pt>
                <c:pt idx="1057">
                  <c:v>109.71</c:v>
                </c:pt>
                <c:pt idx="1058">
                  <c:v>109.76</c:v>
                </c:pt>
                <c:pt idx="1059">
                  <c:v>109.72</c:v>
                </c:pt>
                <c:pt idx="1060">
                  <c:v>109.96</c:v>
                </c:pt>
                <c:pt idx="1061">
                  <c:v>109.37</c:v>
                </c:pt>
                <c:pt idx="1062">
                  <c:v>109.14</c:v>
                </c:pt>
                <c:pt idx="1063">
                  <c:v>110.41</c:v>
                </c:pt>
                <c:pt idx="1064">
                  <c:v>109.39</c:v>
                </c:pt>
                <c:pt idx="1065">
                  <c:v>108.12</c:v>
                </c:pt>
                <c:pt idx="1066">
                  <c:v>108.91</c:v>
                </c:pt>
                <c:pt idx="1067">
                  <c:v>108.14</c:v>
                </c:pt>
                <c:pt idx="1068">
                  <c:v>106.98</c:v>
                </c:pt>
                <c:pt idx="1069">
                  <c:v>107.22</c:v>
                </c:pt>
                <c:pt idx="1070">
                  <c:v>107.53</c:v>
                </c:pt>
                <c:pt idx="1071">
                  <c:v>107.49</c:v>
                </c:pt>
                <c:pt idx="1072">
                  <c:v>107.77</c:v>
                </c:pt>
                <c:pt idx="1073">
                  <c:v>108.65</c:v>
                </c:pt>
                <c:pt idx="1074">
                  <c:v>109.2</c:v>
                </c:pt>
                <c:pt idx="1075">
                  <c:v>109.02</c:v>
                </c:pt>
                <c:pt idx="1076">
                  <c:v>109.68</c:v>
                </c:pt>
                <c:pt idx="1077">
                  <c:v>109.36</c:v>
                </c:pt>
                <c:pt idx="1078">
                  <c:v>109.84</c:v>
                </c:pt>
                <c:pt idx="1079">
                  <c:v>110.54</c:v>
                </c:pt>
                <c:pt idx="1080">
                  <c:v>110.39</c:v>
                </c:pt>
                <c:pt idx="1081">
                  <c:v>110.44</c:v>
                </c:pt>
                <c:pt idx="1082">
                  <c:v>110.39</c:v>
                </c:pt>
                <c:pt idx="1083">
                  <c:v>110.19</c:v>
                </c:pt>
                <c:pt idx="1084">
                  <c:v>110.06</c:v>
                </c:pt>
                <c:pt idx="1085">
                  <c:v>110.07</c:v>
                </c:pt>
                <c:pt idx="1086">
                  <c:v>109.49</c:v>
                </c:pt>
                <c:pt idx="1087">
                  <c:v>108.17</c:v>
                </c:pt>
                <c:pt idx="1088">
                  <c:v>108.18</c:v>
                </c:pt>
                <c:pt idx="1089">
                  <c:v>107.43</c:v>
                </c:pt>
                <c:pt idx="1090">
                  <c:v>108.19</c:v>
                </c:pt>
                <c:pt idx="1091">
                  <c:v>108.01</c:v>
                </c:pt>
                <c:pt idx="1092">
                  <c:v>109.1</c:v>
                </c:pt>
                <c:pt idx="1093">
                  <c:v>108.98</c:v>
                </c:pt>
                <c:pt idx="1094">
                  <c:v>109.51</c:v>
                </c:pt>
                <c:pt idx="1095">
                  <c:v>112.83</c:v>
                </c:pt>
                <c:pt idx="1096">
                  <c:v>113.31</c:v>
                </c:pt>
                <c:pt idx="1097">
                  <c:v>114.14</c:v>
                </c:pt>
                <c:pt idx="1098">
                  <c:v>114.92</c:v>
                </c:pt>
                <c:pt idx="1099">
                  <c:v>114.68</c:v>
                </c:pt>
                <c:pt idx="1100">
                  <c:v>113.97</c:v>
                </c:pt>
                <c:pt idx="1101">
                  <c:v>114.13</c:v>
                </c:pt>
                <c:pt idx="1102">
                  <c:v>114.22</c:v>
                </c:pt>
                <c:pt idx="1103">
                  <c:v>113.02</c:v>
                </c:pt>
                <c:pt idx="1104">
                  <c:v>113.18</c:v>
                </c:pt>
                <c:pt idx="1105">
                  <c:v>112.4</c:v>
                </c:pt>
                <c:pt idx="1106">
                  <c:v>111.85</c:v>
                </c:pt>
                <c:pt idx="1107">
                  <c:v>111</c:v>
                </c:pt>
                <c:pt idx="1108">
                  <c:v>110.89</c:v>
                </c:pt>
                <c:pt idx="1109">
                  <c:v>110.49</c:v>
                </c:pt>
                <c:pt idx="1110">
                  <c:v>109.85</c:v>
                </c:pt>
                <c:pt idx="1111">
                  <c:v>109.01</c:v>
                </c:pt>
                <c:pt idx="1112">
                  <c:v>108.32</c:v>
                </c:pt>
                <c:pt idx="1113">
                  <c:v>108.85</c:v>
                </c:pt>
                <c:pt idx="1114">
                  <c:v>107.26</c:v>
                </c:pt>
                <c:pt idx="1115">
                  <c:v>107.6</c:v>
                </c:pt>
                <c:pt idx="1116">
                  <c:v>106.75</c:v>
                </c:pt>
                <c:pt idx="1117">
                  <c:v>107.08</c:v>
                </c:pt>
                <c:pt idx="1118">
                  <c:v>108.45</c:v>
                </c:pt>
                <c:pt idx="1119">
                  <c:v>107.14</c:v>
                </c:pt>
                <c:pt idx="1120">
                  <c:v>107.68</c:v>
                </c:pt>
                <c:pt idx="1121">
                  <c:v>106.89</c:v>
                </c:pt>
                <c:pt idx="1122">
                  <c:v>108.18</c:v>
                </c:pt>
                <c:pt idx="1123">
                  <c:v>107.13</c:v>
                </c:pt>
                <c:pt idx="1124">
                  <c:v>108.13</c:v>
                </c:pt>
                <c:pt idx="1125">
                  <c:v>107.5</c:v>
                </c:pt>
                <c:pt idx="1126">
                  <c:v>107.5</c:v>
                </c:pt>
                <c:pt idx="1127">
                  <c:v>106.03</c:v>
                </c:pt>
                <c:pt idx="1128">
                  <c:v>105.52</c:v>
                </c:pt>
                <c:pt idx="1129">
                  <c:v>105.33</c:v>
                </c:pt>
                <c:pt idx="1130">
                  <c:v>106.17</c:v>
                </c:pt>
                <c:pt idx="1131">
                  <c:v>105.59</c:v>
                </c:pt>
                <c:pt idx="1132">
                  <c:v>105.27</c:v>
                </c:pt>
                <c:pt idx="1133">
                  <c:v>106.37</c:v>
                </c:pt>
                <c:pt idx="1134">
                  <c:v>105.31</c:v>
                </c:pt>
                <c:pt idx="1135">
                  <c:v>105.09</c:v>
                </c:pt>
                <c:pt idx="1136">
                  <c:v>103.8</c:v>
                </c:pt>
                <c:pt idx="1137">
                  <c:v>104.68</c:v>
                </c:pt>
                <c:pt idx="1138">
                  <c:v>102.08</c:v>
                </c:pt>
                <c:pt idx="1139">
                  <c:v>103.4</c:v>
                </c:pt>
                <c:pt idx="1140">
                  <c:v>101.79</c:v>
                </c:pt>
                <c:pt idx="1141">
                  <c:v>101.6</c:v>
                </c:pt>
                <c:pt idx="1142">
                  <c:v>102.29</c:v>
                </c:pt>
                <c:pt idx="1143">
                  <c:v>102.69</c:v>
                </c:pt>
                <c:pt idx="1144">
                  <c:v>102.1</c:v>
                </c:pt>
                <c:pt idx="1145">
                  <c:v>102.66</c:v>
                </c:pt>
                <c:pt idx="1146">
                  <c:v>102.58</c:v>
                </c:pt>
                <c:pt idx="1147">
                  <c:v>102.6</c:v>
                </c:pt>
                <c:pt idx="1148">
                  <c:v>102.47</c:v>
                </c:pt>
                <c:pt idx="1149">
                  <c:v>103.04</c:v>
                </c:pt>
                <c:pt idx="1150">
                  <c:v>103.1</c:v>
                </c:pt>
                <c:pt idx="1151">
                  <c:v>101.24</c:v>
                </c:pt>
                <c:pt idx="1152">
                  <c:v>102.91</c:v>
                </c:pt>
                <c:pt idx="1153">
                  <c:v>102.3</c:v>
                </c:pt>
                <c:pt idx="1154">
                  <c:v>101.53</c:v>
                </c:pt>
                <c:pt idx="1155">
                  <c:v>100.89</c:v>
                </c:pt>
                <c:pt idx="1156">
                  <c:v>100</c:v>
                </c:pt>
                <c:pt idx="1157">
                  <c:v>98.75</c:v>
                </c:pt>
                <c:pt idx="1158">
                  <c:v>98.95</c:v>
                </c:pt>
                <c:pt idx="1159">
                  <c:v>97.8</c:v>
                </c:pt>
                <c:pt idx="1160">
                  <c:v>98</c:v>
                </c:pt>
                <c:pt idx="1161">
                  <c:v>99</c:v>
                </c:pt>
                <c:pt idx="1162">
                  <c:v>98.72</c:v>
                </c:pt>
                <c:pt idx="1163">
                  <c:v>97.62</c:v>
                </c:pt>
                <c:pt idx="1164">
                  <c:v>98.38</c:v>
                </c:pt>
                <c:pt idx="1165">
                  <c:v>96.85</c:v>
                </c:pt>
                <c:pt idx="1166">
                  <c:v>96.94</c:v>
                </c:pt>
                <c:pt idx="1167">
                  <c:v>97.09</c:v>
                </c:pt>
                <c:pt idx="1168">
                  <c:v>97.05</c:v>
                </c:pt>
                <c:pt idx="1169">
                  <c:v>96.9</c:v>
                </c:pt>
                <c:pt idx="1170">
                  <c:v>97.07</c:v>
                </c:pt>
                <c:pt idx="1171">
                  <c:v>94.8</c:v>
                </c:pt>
                <c:pt idx="1172">
                  <c:v>94.9</c:v>
                </c:pt>
                <c:pt idx="1173">
                  <c:v>94.32</c:v>
                </c:pt>
                <c:pt idx="1174">
                  <c:v>92.82</c:v>
                </c:pt>
                <c:pt idx="1175">
                  <c:v>93.35</c:v>
                </c:pt>
                <c:pt idx="1176">
                  <c:v>92.2</c:v>
                </c:pt>
                <c:pt idx="1177">
                  <c:v>92.14</c:v>
                </c:pt>
                <c:pt idx="1178">
                  <c:v>89.23</c:v>
                </c:pt>
                <c:pt idx="1179">
                  <c:v>90.27</c:v>
                </c:pt>
                <c:pt idx="1180">
                  <c:v>88.61</c:v>
                </c:pt>
                <c:pt idx="1181">
                  <c:v>86</c:v>
                </c:pt>
                <c:pt idx="1182">
                  <c:v>83.75</c:v>
                </c:pt>
                <c:pt idx="1183">
                  <c:v>86.76</c:v>
                </c:pt>
                <c:pt idx="1184">
                  <c:v>86.1</c:v>
                </c:pt>
                <c:pt idx="1185">
                  <c:v>85.34</c:v>
                </c:pt>
                <c:pt idx="1186">
                  <c:v>86.43</c:v>
                </c:pt>
                <c:pt idx="1187">
                  <c:v>84.68</c:v>
                </c:pt>
                <c:pt idx="1188">
                  <c:v>86.7</c:v>
                </c:pt>
                <c:pt idx="1189">
                  <c:v>86.25</c:v>
                </c:pt>
                <c:pt idx="1190">
                  <c:v>85.43</c:v>
                </c:pt>
                <c:pt idx="1191">
                  <c:v>86.23</c:v>
                </c:pt>
                <c:pt idx="1192">
                  <c:v>86.76</c:v>
                </c:pt>
                <c:pt idx="1193">
                  <c:v>86.1</c:v>
                </c:pt>
                <c:pt idx="1194">
                  <c:v>85.96</c:v>
                </c:pt>
                <c:pt idx="1195">
                  <c:v>83.89</c:v>
                </c:pt>
                <c:pt idx="1196">
                  <c:v>83.31</c:v>
                </c:pt>
                <c:pt idx="1197">
                  <c:v>83.6</c:v>
                </c:pt>
                <c:pt idx="1198">
                  <c:v>82.5</c:v>
                </c:pt>
                <c:pt idx="1199">
                  <c:v>82</c:v>
                </c:pt>
                <c:pt idx="1200">
                  <c:v>80.67</c:v>
                </c:pt>
                <c:pt idx="1201">
                  <c:v>77.53</c:v>
                </c:pt>
                <c:pt idx="1202">
                  <c:v>79.599999999999994</c:v>
                </c:pt>
                <c:pt idx="1203">
                  <c:v>79.08</c:v>
                </c:pt>
                <c:pt idx="1204">
                  <c:v>78.41</c:v>
                </c:pt>
                <c:pt idx="1205">
                  <c:v>78.05</c:v>
                </c:pt>
                <c:pt idx="1206">
                  <c:v>79.790000000000006</c:v>
                </c:pt>
                <c:pt idx="1207">
                  <c:v>80.36</c:v>
                </c:pt>
                <c:pt idx="1208">
                  <c:v>79.400000000000006</c:v>
                </c:pt>
                <c:pt idx="1209">
                  <c:v>78.17</c:v>
                </c:pt>
                <c:pt idx="1210">
                  <c:v>77.53</c:v>
                </c:pt>
                <c:pt idx="1211">
                  <c:v>72.819999999999993</c:v>
                </c:pt>
                <c:pt idx="1212">
                  <c:v>70.02</c:v>
                </c:pt>
                <c:pt idx="1213">
                  <c:v>73.31</c:v>
                </c:pt>
                <c:pt idx="1214">
                  <c:v>72.260000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674240"/>
        <c:axId val="629065408"/>
      </c:lineChart>
      <c:catAx>
        <c:axId val="633673216"/>
        <c:scaling>
          <c:orientation val="minMax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7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9064832"/>
        <c:crosses val="autoZero"/>
        <c:auto val="0"/>
        <c:lblAlgn val="ctr"/>
        <c:lblOffset val="100"/>
        <c:tickLblSkip val="100"/>
        <c:tickMarkSkip val="100"/>
        <c:noMultiLvlLbl val="0"/>
      </c:catAx>
      <c:valAx>
        <c:axId val="629064832"/>
        <c:scaling>
          <c:orientation val="minMax"/>
          <c:max val="34000"/>
          <c:min val="14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9645504009731E-4"/>
              <c:y val="0.2417549293941563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3673216"/>
        <c:crosses val="autoZero"/>
        <c:crossBetween val="between"/>
      </c:valAx>
      <c:catAx>
        <c:axId val="6336742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29065408"/>
        <c:crosses val="autoZero"/>
        <c:auto val="0"/>
        <c:lblAlgn val="ctr"/>
        <c:lblOffset val="100"/>
        <c:noMultiLvlLbl val="0"/>
      </c:catAx>
      <c:valAx>
        <c:axId val="629065408"/>
        <c:scaling>
          <c:orientation val="minMax"/>
          <c:max val="130"/>
          <c:min val="55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33674240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9.0886372200955995E-2"/>
          <c:y val="0.93030849656189674"/>
          <c:w val="0.80381549283669518"/>
          <c:h val="6.8509229734712962E-2"/>
        </c:manualLayout>
      </c:layout>
      <c:overlay val="0"/>
      <c:txPr>
        <a:bodyPr/>
        <a:lstStyle/>
        <a:p>
          <a:pPr>
            <a:defRPr sz="655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400" b="1" i="1" u="none" strike="noStrike" baseline="0" dirty="0">
                <a:solidFill>
                  <a:srgbClr val="000000"/>
                </a:solidFill>
                <a:latin typeface="Calibri"/>
              </a:rPr>
              <a:t>BRENT          - 53,7 %</a:t>
            </a:r>
          </a:p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400" b="1" i="1" u="none" strike="noStrike" baseline="0" dirty="0">
                <a:solidFill>
                  <a:srgbClr val="FF0000"/>
                </a:solidFill>
                <a:latin typeface="Calibri"/>
              </a:rPr>
              <a:t>ДТЛ              - </a:t>
            </a:r>
            <a:r>
              <a:rPr lang="ru-RU" sz="1400" b="1" i="1" u="none" strike="noStrike" baseline="0" dirty="0" smtClean="0">
                <a:solidFill>
                  <a:srgbClr val="FF0000"/>
                </a:solidFill>
                <a:latin typeface="Calibri"/>
              </a:rPr>
              <a:t>1,23 </a:t>
            </a:r>
            <a:r>
              <a:rPr lang="ru-RU" sz="1400" b="0" i="0" u="none" strike="noStrike" baseline="0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ru-RU" sz="1400" b="1" i="1" u="none" strike="noStrike" baseline="0" dirty="0">
                <a:solidFill>
                  <a:srgbClr val="FF0000"/>
                </a:solidFill>
                <a:latin typeface="Calibri"/>
              </a:rPr>
              <a:t>%</a:t>
            </a:r>
          </a:p>
        </c:rich>
      </c:tx>
      <c:layout>
        <c:manualLayout>
          <c:xMode val="edge"/>
          <c:yMode val="edge"/>
          <c:x val="0.49682011411042137"/>
          <c:y val="0.52604340148802697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8.8987088200876654E-2"/>
          <c:y val="2.8135962343550036E-2"/>
          <c:w val="0.83923494178612257"/>
          <c:h val="0.81172010548962459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K$2</c:f>
              <c:strCache>
                <c:ptCount val="1"/>
                <c:pt idx="0">
                  <c:v>Индекс СПбМТСБ-ДТ летнее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1014:$F$1462</c:f>
              <c:numCache>
                <c:formatCode>m/d/yyyy</c:formatCode>
                <c:ptCount val="449"/>
                <c:pt idx="0">
                  <c:v>41358</c:v>
                </c:pt>
                <c:pt idx="1">
                  <c:v>41359</c:v>
                </c:pt>
                <c:pt idx="2">
                  <c:v>41360</c:v>
                </c:pt>
                <c:pt idx="3">
                  <c:v>41361</c:v>
                </c:pt>
                <c:pt idx="4">
                  <c:v>41362</c:v>
                </c:pt>
                <c:pt idx="5">
                  <c:v>41365</c:v>
                </c:pt>
                <c:pt idx="6">
                  <c:v>41366</c:v>
                </c:pt>
                <c:pt idx="7">
                  <c:v>41367</c:v>
                </c:pt>
                <c:pt idx="8">
                  <c:v>41368</c:v>
                </c:pt>
                <c:pt idx="9">
                  <c:v>41369</c:v>
                </c:pt>
                <c:pt idx="10">
                  <c:v>41372</c:v>
                </c:pt>
                <c:pt idx="11">
                  <c:v>41373</c:v>
                </c:pt>
                <c:pt idx="12">
                  <c:v>41374</c:v>
                </c:pt>
                <c:pt idx="13">
                  <c:v>41375</c:v>
                </c:pt>
                <c:pt idx="14">
                  <c:v>41376</c:v>
                </c:pt>
                <c:pt idx="15">
                  <c:v>41379</c:v>
                </c:pt>
                <c:pt idx="16">
                  <c:v>41380</c:v>
                </c:pt>
                <c:pt idx="17">
                  <c:v>41381</c:v>
                </c:pt>
                <c:pt idx="18">
                  <c:v>41382</c:v>
                </c:pt>
                <c:pt idx="19">
                  <c:v>41383</c:v>
                </c:pt>
                <c:pt idx="20">
                  <c:v>41386</c:v>
                </c:pt>
                <c:pt idx="21">
                  <c:v>41387</c:v>
                </c:pt>
                <c:pt idx="22">
                  <c:v>41388</c:v>
                </c:pt>
                <c:pt idx="23">
                  <c:v>41389</c:v>
                </c:pt>
                <c:pt idx="24">
                  <c:v>41390</c:v>
                </c:pt>
                <c:pt idx="25">
                  <c:v>41393</c:v>
                </c:pt>
                <c:pt idx="26">
                  <c:v>41394</c:v>
                </c:pt>
                <c:pt idx="27">
                  <c:v>41400</c:v>
                </c:pt>
                <c:pt idx="28">
                  <c:v>41401</c:v>
                </c:pt>
                <c:pt idx="29">
                  <c:v>41402</c:v>
                </c:pt>
                <c:pt idx="30">
                  <c:v>41407</c:v>
                </c:pt>
                <c:pt idx="31">
                  <c:v>41408</c:v>
                </c:pt>
                <c:pt idx="32">
                  <c:v>41409</c:v>
                </c:pt>
                <c:pt idx="33">
                  <c:v>41410</c:v>
                </c:pt>
                <c:pt idx="34">
                  <c:v>41411</c:v>
                </c:pt>
                <c:pt idx="35">
                  <c:v>41414</c:v>
                </c:pt>
                <c:pt idx="36">
                  <c:v>41415</c:v>
                </c:pt>
                <c:pt idx="37">
                  <c:v>41416</c:v>
                </c:pt>
                <c:pt idx="38">
                  <c:v>41417</c:v>
                </c:pt>
                <c:pt idx="39">
                  <c:v>41418</c:v>
                </c:pt>
                <c:pt idx="40">
                  <c:v>41421</c:v>
                </c:pt>
                <c:pt idx="41">
                  <c:v>41422</c:v>
                </c:pt>
                <c:pt idx="42">
                  <c:v>41423</c:v>
                </c:pt>
                <c:pt idx="43">
                  <c:v>41424</c:v>
                </c:pt>
                <c:pt idx="44">
                  <c:v>41425</c:v>
                </c:pt>
                <c:pt idx="45">
                  <c:v>41428</c:v>
                </c:pt>
                <c:pt idx="46">
                  <c:v>41429</c:v>
                </c:pt>
                <c:pt idx="47">
                  <c:v>41430</c:v>
                </c:pt>
                <c:pt idx="48">
                  <c:v>41431</c:v>
                </c:pt>
                <c:pt idx="49">
                  <c:v>41432</c:v>
                </c:pt>
                <c:pt idx="50">
                  <c:v>41435</c:v>
                </c:pt>
                <c:pt idx="51">
                  <c:v>41436</c:v>
                </c:pt>
                <c:pt idx="52">
                  <c:v>41438</c:v>
                </c:pt>
                <c:pt idx="53">
                  <c:v>41439</c:v>
                </c:pt>
                <c:pt idx="54">
                  <c:v>41442</c:v>
                </c:pt>
                <c:pt idx="55">
                  <c:v>41443</c:v>
                </c:pt>
                <c:pt idx="56">
                  <c:v>41444</c:v>
                </c:pt>
                <c:pt idx="57">
                  <c:v>41445</c:v>
                </c:pt>
                <c:pt idx="58">
                  <c:v>41446</c:v>
                </c:pt>
                <c:pt idx="59">
                  <c:v>41449</c:v>
                </c:pt>
                <c:pt idx="60">
                  <c:v>41450</c:v>
                </c:pt>
                <c:pt idx="61">
                  <c:v>41451</c:v>
                </c:pt>
                <c:pt idx="62">
                  <c:v>41452</c:v>
                </c:pt>
                <c:pt idx="63">
                  <c:v>41453</c:v>
                </c:pt>
                <c:pt idx="64">
                  <c:v>41456</c:v>
                </c:pt>
                <c:pt idx="65">
                  <c:v>41457</c:v>
                </c:pt>
                <c:pt idx="66">
                  <c:v>41458</c:v>
                </c:pt>
                <c:pt idx="67">
                  <c:v>41459</c:v>
                </c:pt>
                <c:pt idx="68">
                  <c:v>41460</c:v>
                </c:pt>
                <c:pt idx="69">
                  <c:v>41463</c:v>
                </c:pt>
                <c:pt idx="70">
                  <c:v>41464</c:v>
                </c:pt>
                <c:pt idx="71">
                  <c:v>41465</c:v>
                </c:pt>
                <c:pt idx="72">
                  <c:v>41466</c:v>
                </c:pt>
                <c:pt idx="73">
                  <c:v>41467</c:v>
                </c:pt>
                <c:pt idx="74">
                  <c:v>41470</c:v>
                </c:pt>
                <c:pt idx="75">
                  <c:v>41471</c:v>
                </c:pt>
                <c:pt idx="76">
                  <c:v>41472</c:v>
                </c:pt>
                <c:pt idx="77">
                  <c:v>41473</c:v>
                </c:pt>
                <c:pt idx="78">
                  <c:v>41474</c:v>
                </c:pt>
                <c:pt idx="79">
                  <c:v>41477</c:v>
                </c:pt>
                <c:pt idx="80">
                  <c:v>41478</c:v>
                </c:pt>
                <c:pt idx="81">
                  <c:v>41479</c:v>
                </c:pt>
                <c:pt idx="82">
                  <c:v>41480</c:v>
                </c:pt>
                <c:pt idx="83">
                  <c:v>41481</c:v>
                </c:pt>
                <c:pt idx="84">
                  <c:v>41484</c:v>
                </c:pt>
                <c:pt idx="85">
                  <c:v>41485</c:v>
                </c:pt>
                <c:pt idx="86">
                  <c:v>41486</c:v>
                </c:pt>
                <c:pt idx="87">
                  <c:v>41487</c:v>
                </c:pt>
                <c:pt idx="88">
                  <c:v>41488</c:v>
                </c:pt>
                <c:pt idx="89">
                  <c:v>41491</c:v>
                </c:pt>
                <c:pt idx="90">
                  <c:v>41492</c:v>
                </c:pt>
                <c:pt idx="91">
                  <c:v>41493</c:v>
                </c:pt>
                <c:pt idx="92">
                  <c:v>41494</c:v>
                </c:pt>
                <c:pt idx="93">
                  <c:v>41495</c:v>
                </c:pt>
                <c:pt idx="94">
                  <c:v>41498</c:v>
                </c:pt>
                <c:pt idx="95">
                  <c:v>41499</c:v>
                </c:pt>
                <c:pt idx="96">
                  <c:v>41500</c:v>
                </c:pt>
                <c:pt idx="97">
                  <c:v>41501</c:v>
                </c:pt>
                <c:pt idx="98">
                  <c:v>41502</c:v>
                </c:pt>
                <c:pt idx="99">
                  <c:v>41505</c:v>
                </c:pt>
                <c:pt idx="100">
                  <c:v>41506</c:v>
                </c:pt>
                <c:pt idx="101">
                  <c:v>41507</c:v>
                </c:pt>
                <c:pt idx="102">
                  <c:v>41508</c:v>
                </c:pt>
                <c:pt idx="103">
                  <c:v>41509</c:v>
                </c:pt>
                <c:pt idx="104">
                  <c:v>41512</c:v>
                </c:pt>
                <c:pt idx="105">
                  <c:v>41513</c:v>
                </c:pt>
                <c:pt idx="106">
                  <c:v>41514</c:v>
                </c:pt>
                <c:pt idx="107">
                  <c:v>41515</c:v>
                </c:pt>
                <c:pt idx="108">
                  <c:v>41516</c:v>
                </c:pt>
                <c:pt idx="109">
                  <c:v>41519</c:v>
                </c:pt>
                <c:pt idx="110">
                  <c:v>41520</c:v>
                </c:pt>
                <c:pt idx="111">
                  <c:v>41521</c:v>
                </c:pt>
                <c:pt idx="112">
                  <c:v>41522</c:v>
                </c:pt>
                <c:pt idx="113">
                  <c:v>41523</c:v>
                </c:pt>
                <c:pt idx="114">
                  <c:v>41526</c:v>
                </c:pt>
                <c:pt idx="115">
                  <c:v>41527</c:v>
                </c:pt>
                <c:pt idx="116">
                  <c:v>41528</c:v>
                </c:pt>
                <c:pt idx="117">
                  <c:v>41529</c:v>
                </c:pt>
                <c:pt idx="118">
                  <c:v>41530</c:v>
                </c:pt>
                <c:pt idx="119">
                  <c:v>41533</c:v>
                </c:pt>
                <c:pt idx="120">
                  <c:v>41534</c:v>
                </c:pt>
                <c:pt idx="121">
                  <c:v>41535</c:v>
                </c:pt>
                <c:pt idx="122">
                  <c:v>41536</c:v>
                </c:pt>
                <c:pt idx="123">
                  <c:v>41537</c:v>
                </c:pt>
                <c:pt idx="124">
                  <c:v>41540</c:v>
                </c:pt>
                <c:pt idx="125">
                  <c:v>41541</c:v>
                </c:pt>
                <c:pt idx="126">
                  <c:v>41542</c:v>
                </c:pt>
                <c:pt idx="127">
                  <c:v>41543</c:v>
                </c:pt>
                <c:pt idx="128">
                  <c:v>41544</c:v>
                </c:pt>
                <c:pt idx="129">
                  <c:v>41547</c:v>
                </c:pt>
                <c:pt idx="130">
                  <c:v>41548</c:v>
                </c:pt>
                <c:pt idx="131">
                  <c:v>41549</c:v>
                </c:pt>
                <c:pt idx="132">
                  <c:v>41550</c:v>
                </c:pt>
                <c:pt idx="133">
                  <c:v>41551</c:v>
                </c:pt>
                <c:pt idx="134">
                  <c:v>41554</c:v>
                </c:pt>
                <c:pt idx="135">
                  <c:v>41555</c:v>
                </c:pt>
                <c:pt idx="136">
                  <c:v>41556</c:v>
                </c:pt>
                <c:pt idx="137">
                  <c:v>41557</c:v>
                </c:pt>
                <c:pt idx="138">
                  <c:v>41558</c:v>
                </c:pt>
                <c:pt idx="139">
                  <c:v>41561</c:v>
                </c:pt>
                <c:pt idx="140">
                  <c:v>41562</c:v>
                </c:pt>
                <c:pt idx="141">
                  <c:v>41563</c:v>
                </c:pt>
                <c:pt idx="142">
                  <c:v>41564</c:v>
                </c:pt>
                <c:pt idx="143">
                  <c:v>41565</c:v>
                </c:pt>
                <c:pt idx="144">
                  <c:v>41568</c:v>
                </c:pt>
                <c:pt idx="145">
                  <c:v>41569</c:v>
                </c:pt>
                <c:pt idx="146">
                  <c:v>41570</c:v>
                </c:pt>
                <c:pt idx="147">
                  <c:v>41571</c:v>
                </c:pt>
                <c:pt idx="148">
                  <c:v>41572</c:v>
                </c:pt>
                <c:pt idx="149">
                  <c:v>41575</c:v>
                </c:pt>
                <c:pt idx="150">
                  <c:v>41576</c:v>
                </c:pt>
                <c:pt idx="151">
                  <c:v>41577</c:v>
                </c:pt>
                <c:pt idx="152">
                  <c:v>41578</c:v>
                </c:pt>
                <c:pt idx="153">
                  <c:v>41579</c:v>
                </c:pt>
                <c:pt idx="154">
                  <c:v>41583</c:v>
                </c:pt>
                <c:pt idx="155">
                  <c:v>41584</c:v>
                </c:pt>
                <c:pt idx="156">
                  <c:v>41585</c:v>
                </c:pt>
                <c:pt idx="157">
                  <c:v>41586</c:v>
                </c:pt>
                <c:pt idx="158">
                  <c:v>41589</c:v>
                </c:pt>
                <c:pt idx="159">
                  <c:v>41590</c:v>
                </c:pt>
                <c:pt idx="160">
                  <c:v>41591</c:v>
                </c:pt>
                <c:pt idx="161">
                  <c:v>41592</c:v>
                </c:pt>
                <c:pt idx="162">
                  <c:v>41593</c:v>
                </c:pt>
                <c:pt idx="163">
                  <c:v>41596</c:v>
                </c:pt>
                <c:pt idx="164">
                  <c:v>41597</c:v>
                </c:pt>
                <c:pt idx="165">
                  <c:v>41598</c:v>
                </c:pt>
                <c:pt idx="166">
                  <c:v>41599</c:v>
                </c:pt>
                <c:pt idx="167">
                  <c:v>41600</c:v>
                </c:pt>
                <c:pt idx="168">
                  <c:v>41603</c:v>
                </c:pt>
                <c:pt idx="169">
                  <c:v>41604</c:v>
                </c:pt>
                <c:pt idx="170">
                  <c:v>41605</c:v>
                </c:pt>
                <c:pt idx="171">
                  <c:v>41606</c:v>
                </c:pt>
                <c:pt idx="172">
                  <c:v>41607</c:v>
                </c:pt>
                <c:pt idx="173">
                  <c:v>41610</c:v>
                </c:pt>
                <c:pt idx="174">
                  <c:v>41611</c:v>
                </c:pt>
                <c:pt idx="175">
                  <c:v>41612</c:v>
                </c:pt>
                <c:pt idx="176">
                  <c:v>41613</c:v>
                </c:pt>
                <c:pt idx="177">
                  <c:v>41614</c:v>
                </c:pt>
                <c:pt idx="178">
                  <c:v>41617</c:v>
                </c:pt>
                <c:pt idx="179">
                  <c:v>41618</c:v>
                </c:pt>
                <c:pt idx="180">
                  <c:v>41619</c:v>
                </c:pt>
                <c:pt idx="181">
                  <c:v>41620</c:v>
                </c:pt>
                <c:pt idx="182">
                  <c:v>41621</c:v>
                </c:pt>
                <c:pt idx="183">
                  <c:v>41624</c:v>
                </c:pt>
                <c:pt idx="184">
                  <c:v>41625</c:v>
                </c:pt>
                <c:pt idx="185">
                  <c:v>41626</c:v>
                </c:pt>
                <c:pt idx="186">
                  <c:v>41627</c:v>
                </c:pt>
                <c:pt idx="187">
                  <c:v>41628</c:v>
                </c:pt>
                <c:pt idx="188">
                  <c:v>41631</c:v>
                </c:pt>
                <c:pt idx="189">
                  <c:v>41632</c:v>
                </c:pt>
                <c:pt idx="190">
                  <c:v>41633</c:v>
                </c:pt>
                <c:pt idx="191">
                  <c:v>41634</c:v>
                </c:pt>
                <c:pt idx="192">
                  <c:v>41635</c:v>
                </c:pt>
                <c:pt idx="193">
                  <c:v>41648</c:v>
                </c:pt>
                <c:pt idx="194">
                  <c:v>41649</c:v>
                </c:pt>
                <c:pt idx="195">
                  <c:v>41652</c:v>
                </c:pt>
                <c:pt idx="196">
                  <c:v>41653</c:v>
                </c:pt>
                <c:pt idx="197">
                  <c:v>41654</c:v>
                </c:pt>
                <c:pt idx="198">
                  <c:v>41655</c:v>
                </c:pt>
                <c:pt idx="199">
                  <c:v>41656</c:v>
                </c:pt>
                <c:pt idx="200">
                  <c:v>41659</c:v>
                </c:pt>
                <c:pt idx="201">
                  <c:v>41660</c:v>
                </c:pt>
                <c:pt idx="202">
                  <c:v>41661</c:v>
                </c:pt>
                <c:pt idx="203">
                  <c:v>41662</c:v>
                </c:pt>
                <c:pt idx="204">
                  <c:v>41663</c:v>
                </c:pt>
                <c:pt idx="205">
                  <c:v>41666</c:v>
                </c:pt>
                <c:pt idx="206">
                  <c:v>41667</c:v>
                </c:pt>
                <c:pt idx="207">
                  <c:v>41668</c:v>
                </c:pt>
                <c:pt idx="208">
                  <c:v>41669</c:v>
                </c:pt>
                <c:pt idx="209">
                  <c:v>41670</c:v>
                </c:pt>
                <c:pt idx="210">
                  <c:v>41673</c:v>
                </c:pt>
                <c:pt idx="211">
                  <c:v>41674</c:v>
                </c:pt>
                <c:pt idx="212">
                  <c:v>41675</c:v>
                </c:pt>
                <c:pt idx="213">
                  <c:v>41676</c:v>
                </c:pt>
                <c:pt idx="214">
                  <c:v>41677</c:v>
                </c:pt>
                <c:pt idx="215">
                  <c:v>41680</c:v>
                </c:pt>
                <c:pt idx="216">
                  <c:v>41681</c:v>
                </c:pt>
                <c:pt idx="217">
                  <c:v>41682</c:v>
                </c:pt>
                <c:pt idx="218">
                  <c:v>41683</c:v>
                </c:pt>
                <c:pt idx="219">
                  <c:v>41684</c:v>
                </c:pt>
                <c:pt idx="220">
                  <c:v>41687</c:v>
                </c:pt>
                <c:pt idx="221">
                  <c:v>41688</c:v>
                </c:pt>
                <c:pt idx="222">
                  <c:v>41689</c:v>
                </c:pt>
                <c:pt idx="223">
                  <c:v>41690</c:v>
                </c:pt>
                <c:pt idx="224">
                  <c:v>41691</c:v>
                </c:pt>
                <c:pt idx="225">
                  <c:v>41694</c:v>
                </c:pt>
                <c:pt idx="226">
                  <c:v>41695</c:v>
                </c:pt>
                <c:pt idx="227">
                  <c:v>41696</c:v>
                </c:pt>
                <c:pt idx="228">
                  <c:v>41697</c:v>
                </c:pt>
                <c:pt idx="229">
                  <c:v>41698</c:v>
                </c:pt>
                <c:pt idx="230">
                  <c:v>41701</c:v>
                </c:pt>
                <c:pt idx="231">
                  <c:v>41702</c:v>
                </c:pt>
                <c:pt idx="232">
                  <c:v>41703</c:v>
                </c:pt>
                <c:pt idx="233">
                  <c:v>41704</c:v>
                </c:pt>
                <c:pt idx="234">
                  <c:v>41705</c:v>
                </c:pt>
                <c:pt idx="235">
                  <c:v>41709</c:v>
                </c:pt>
                <c:pt idx="236">
                  <c:v>41710</c:v>
                </c:pt>
                <c:pt idx="237">
                  <c:v>41711</c:v>
                </c:pt>
                <c:pt idx="238">
                  <c:v>41712</c:v>
                </c:pt>
                <c:pt idx="239">
                  <c:v>41715</c:v>
                </c:pt>
                <c:pt idx="240">
                  <c:v>41716</c:v>
                </c:pt>
                <c:pt idx="241">
                  <c:v>41717</c:v>
                </c:pt>
                <c:pt idx="242">
                  <c:v>41718</c:v>
                </c:pt>
                <c:pt idx="243">
                  <c:v>41719</c:v>
                </c:pt>
                <c:pt idx="244">
                  <c:v>41722</c:v>
                </c:pt>
                <c:pt idx="245">
                  <c:v>41723</c:v>
                </c:pt>
                <c:pt idx="246">
                  <c:v>41724</c:v>
                </c:pt>
                <c:pt idx="247">
                  <c:v>41725</c:v>
                </c:pt>
                <c:pt idx="248">
                  <c:v>41726</c:v>
                </c:pt>
                <c:pt idx="249">
                  <c:v>41729</c:v>
                </c:pt>
                <c:pt idx="250">
                  <c:v>41730</c:v>
                </c:pt>
                <c:pt idx="251">
                  <c:v>41731</c:v>
                </c:pt>
                <c:pt idx="252">
                  <c:v>41732</c:v>
                </c:pt>
                <c:pt idx="253">
                  <c:v>41733</c:v>
                </c:pt>
                <c:pt idx="254">
                  <c:v>41736</c:v>
                </c:pt>
                <c:pt idx="255">
                  <c:v>41737</c:v>
                </c:pt>
                <c:pt idx="256">
                  <c:v>41738</c:v>
                </c:pt>
                <c:pt idx="257">
                  <c:v>41739</c:v>
                </c:pt>
                <c:pt idx="258">
                  <c:v>41740</c:v>
                </c:pt>
                <c:pt idx="259">
                  <c:v>41743</c:v>
                </c:pt>
                <c:pt idx="260">
                  <c:v>41744</c:v>
                </c:pt>
                <c:pt idx="261">
                  <c:v>41745</c:v>
                </c:pt>
                <c:pt idx="262">
                  <c:v>41746</c:v>
                </c:pt>
                <c:pt idx="263">
                  <c:v>41747</c:v>
                </c:pt>
                <c:pt idx="264">
                  <c:v>41750</c:v>
                </c:pt>
                <c:pt idx="265">
                  <c:v>41751</c:v>
                </c:pt>
                <c:pt idx="266">
                  <c:v>41752</c:v>
                </c:pt>
                <c:pt idx="267">
                  <c:v>41753</c:v>
                </c:pt>
                <c:pt idx="268">
                  <c:v>41754</c:v>
                </c:pt>
                <c:pt idx="269">
                  <c:v>41757</c:v>
                </c:pt>
                <c:pt idx="270">
                  <c:v>41758</c:v>
                </c:pt>
                <c:pt idx="271">
                  <c:v>41759</c:v>
                </c:pt>
                <c:pt idx="272">
                  <c:v>41764</c:v>
                </c:pt>
                <c:pt idx="273">
                  <c:v>41765</c:v>
                </c:pt>
                <c:pt idx="274">
                  <c:v>41766</c:v>
                </c:pt>
                <c:pt idx="275">
                  <c:v>41767</c:v>
                </c:pt>
                <c:pt idx="276">
                  <c:v>41771</c:v>
                </c:pt>
                <c:pt idx="277">
                  <c:v>41772</c:v>
                </c:pt>
                <c:pt idx="278">
                  <c:v>41773</c:v>
                </c:pt>
                <c:pt idx="279">
                  <c:v>41774</c:v>
                </c:pt>
                <c:pt idx="280">
                  <c:v>41775</c:v>
                </c:pt>
                <c:pt idx="281">
                  <c:v>41778</c:v>
                </c:pt>
                <c:pt idx="282">
                  <c:v>41779</c:v>
                </c:pt>
                <c:pt idx="283">
                  <c:v>41780</c:v>
                </c:pt>
                <c:pt idx="284">
                  <c:v>41781</c:v>
                </c:pt>
                <c:pt idx="285">
                  <c:v>41782</c:v>
                </c:pt>
                <c:pt idx="286">
                  <c:v>41785</c:v>
                </c:pt>
                <c:pt idx="287">
                  <c:v>41786</c:v>
                </c:pt>
                <c:pt idx="288">
                  <c:v>41787</c:v>
                </c:pt>
                <c:pt idx="289">
                  <c:v>41788</c:v>
                </c:pt>
                <c:pt idx="290">
                  <c:v>41789</c:v>
                </c:pt>
                <c:pt idx="291">
                  <c:v>41792</c:v>
                </c:pt>
                <c:pt idx="292">
                  <c:v>41793</c:v>
                </c:pt>
                <c:pt idx="293">
                  <c:v>41794</c:v>
                </c:pt>
                <c:pt idx="294">
                  <c:v>41795</c:v>
                </c:pt>
                <c:pt idx="295">
                  <c:v>41796</c:v>
                </c:pt>
                <c:pt idx="296">
                  <c:v>41799</c:v>
                </c:pt>
                <c:pt idx="297">
                  <c:v>41800</c:v>
                </c:pt>
                <c:pt idx="298">
                  <c:v>41801</c:v>
                </c:pt>
                <c:pt idx="299">
                  <c:v>41806</c:v>
                </c:pt>
                <c:pt idx="300">
                  <c:v>41807</c:v>
                </c:pt>
                <c:pt idx="301">
                  <c:v>41808</c:v>
                </c:pt>
                <c:pt idx="302">
                  <c:v>41809</c:v>
                </c:pt>
                <c:pt idx="303">
                  <c:v>41810</c:v>
                </c:pt>
                <c:pt idx="304">
                  <c:v>41813</c:v>
                </c:pt>
                <c:pt idx="305">
                  <c:v>41814</c:v>
                </c:pt>
                <c:pt idx="306">
                  <c:v>41815</c:v>
                </c:pt>
                <c:pt idx="307">
                  <c:v>41816</c:v>
                </c:pt>
                <c:pt idx="308">
                  <c:v>41817</c:v>
                </c:pt>
                <c:pt idx="309">
                  <c:v>41820</c:v>
                </c:pt>
                <c:pt idx="310">
                  <c:v>41821</c:v>
                </c:pt>
                <c:pt idx="311">
                  <c:v>41822</c:v>
                </c:pt>
                <c:pt idx="312">
                  <c:v>41823</c:v>
                </c:pt>
                <c:pt idx="313">
                  <c:v>41824</c:v>
                </c:pt>
                <c:pt idx="314">
                  <c:v>41827</c:v>
                </c:pt>
                <c:pt idx="315">
                  <c:v>41828</c:v>
                </c:pt>
                <c:pt idx="316">
                  <c:v>41829</c:v>
                </c:pt>
                <c:pt idx="317">
                  <c:v>41830</c:v>
                </c:pt>
                <c:pt idx="318">
                  <c:v>41831</c:v>
                </c:pt>
                <c:pt idx="319">
                  <c:v>41834</c:v>
                </c:pt>
                <c:pt idx="320">
                  <c:v>41835</c:v>
                </c:pt>
                <c:pt idx="321">
                  <c:v>41836</c:v>
                </c:pt>
                <c:pt idx="322">
                  <c:v>41837</c:v>
                </c:pt>
                <c:pt idx="323">
                  <c:v>41838</c:v>
                </c:pt>
                <c:pt idx="324">
                  <c:v>41841</c:v>
                </c:pt>
                <c:pt idx="325">
                  <c:v>41842</c:v>
                </c:pt>
                <c:pt idx="326">
                  <c:v>41843</c:v>
                </c:pt>
                <c:pt idx="327">
                  <c:v>41844</c:v>
                </c:pt>
                <c:pt idx="328">
                  <c:v>41845</c:v>
                </c:pt>
                <c:pt idx="329">
                  <c:v>41848</c:v>
                </c:pt>
                <c:pt idx="330">
                  <c:v>41849</c:v>
                </c:pt>
                <c:pt idx="331">
                  <c:v>41850</c:v>
                </c:pt>
                <c:pt idx="332">
                  <c:v>41851</c:v>
                </c:pt>
                <c:pt idx="333">
                  <c:v>41852</c:v>
                </c:pt>
                <c:pt idx="334">
                  <c:v>41855</c:v>
                </c:pt>
                <c:pt idx="335">
                  <c:v>41856</c:v>
                </c:pt>
                <c:pt idx="336">
                  <c:v>41857</c:v>
                </c:pt>
                <c:pt idx="337">
                  <c:v>41858</c:v>
                </c:pt>
                <c:pt idx="338">
                  <c:v>41859</c:v>
                </c:pt>
                <c:pt idx="339">
                  <c:v>41862</c:v>
                </c:pt>
                <c:pt idx="340">
                  <c:v>41863</c:v>
                </c:pt>
                <c:pt idx="341">
                  <c:v>41864</c:v>
                </c:pt>
                <c:pt idx="342">
                  <c:v>41865</c:v>
                </c:pt>
                <c:pt idx="343">
                  <c:v>41866</c:v>
                </c:pt>
                <c:pt idx="344">
                  <c:v>41869</c:v>
                </c:pt>
                <c:pt idx="345">
                  <c:v>41870</c:v>
                </c:pt>
                <c:pt idx="346">
                  <c:v>41871</c:v>
                </c:pt>
                <c:pt idx="347">
                  <c:v>41872</c:v>
                </c:pt>
                <c:pt idx="348">
                  <c:v>41873</c:v>
                </c:pt>
                <c:pt idx="349">
                  <c:v>41876</c:v>
                </c:pt>
                <c:pt idx="350">
                  <c:v>41877</c:v>
                </c:pt>
                <c:pt idx="351">
                  <c:v>41878</c:v>
                </c:pt>
                <c:pt idx="352">
                  <c:v>41879</c:v>
                </c:pt>
                <c:pt idx="353">
                  <c:v>41880</c:v>
                </c:pt>
                <c:pt idx="354">
                  <c:v>41883</c:v>
                </c:pt>
                <c:pt idx="355">
                  <c:v>41884</c:v>
                </c:pt>
                <c:pt idx="356">
                  <c:v>41885</c:v>
                </c:pt>
                <c:pt idx="357">
                  <c:v>41886</c:v>
                </c:pt>
                <c:pt idx="358">
                  <c:v>41887</c:v>
                </c:pt>
                <c:pt idx="359">
                  <c:v>41890</c:v>
                </c:pt>
                <c:pt idx="360">
                  <c:v>41891</c:v>
                </c:pt>
                <c:pt idx="361">
                  <c:v>41892</c:v>
                </c:pt>
                <c:pt idx="362">
                  <c:v>41893</c:v>
                </c:pt>
                <c:pt idx="363">
                  <c:v>41894</c:v>
                </c:pt>
                <c:pt idx="364">
                  <c:v>41897</c:v>
                </c:pt>
                <c:pt idx="365">
                  <c:v>41898</c:v>
                </c:pt>
                <c:pt idx="366">
                  <c:v>41899</c:v>
                </c:pt>
                <c:pt idx="367">
                  <c:v>41900</c:v>
                </c:pt>
                <c:pt idx="368">
                  <c:v>41901</c:v>
                </c:pt>
                <c:pt idx="369">
                  <c:v>41904</c:v>
                </c:pt>
                <c:pt idx="370">
                  <c:v>41905</c:v>
                </c:pt>
                <c:pt idx="371">
                  <c:v>41906</c:v>
                </c:pt>
                <c:pt idx="372">
                  <c:v>41907</c:v>
                </c:pt>
                <c:pt idx="373">
                  <c:v>41908</c:v>
                </c:pt>
                <c:pt idx="374">
                  <c:v>41911</c:v>
                </c:pt>
                <c:pt idx="375">
                  <c:v>41912</c:v>
                </c:pt>
                <c:pt idx="376">
                  <c:v>41913</c:v>
                </c:pt>
                <c:pt idx="377">
                  <c:v>41914</c:v>
                </c:pt>
                <c:pt idx="378">
                  <c:v>41915</c:v>
                </c:pt>
                <c:pt idx="379">
                  <c:v>41918</c:v>
                </c:pt>
                <c:pt idx="380">
                  <c:v>41919</c:v>
                </c:pt>
                <c:pt idx="381">
                  <c:v>41920</c:v>
                </c:pt>
                <c:pt idx="382">
                  <c:v>41921</c:v>
                </c:pt>
                <c:pt idx="383">
                  <c:v>41922</c:v>
                </c:pt>
                <c:pt idx="384">
                  <c:v>41925</c:v>
                </c:pt>
                <c:pt idx="385">
                  <c:v>41926</c:v>
                </c:pt>
                <c:pt idx="386">
                  <c:v>41927</c:v>
                </c:pt>
                <c:pt idx="387">
                  <c:v>41928</c:v>
                </c:pt>
                <c:pt idx="388">
                  <c:v>41929</c:v>
                </c:pt>
                <c:pt idx="389">
                  <c:v>41932</c:v>
                </c:pt>
                <c:pt idx="390">
                  <c:v>41933</c:v>
                </c:pt>
                <c:pt idx="391">
                  <c:v>41934</c:v>
                </c:pt>
                <c:pt idx="392">
                  <c:v>41935</c:v>
                </c:pt>
                <c:pt idx="393">
                  <c:v>41936</c:v>
                </c:pt>
                <c:pt idx="394">
                  <c:v>41939</c:v>
                </c:pt>
                <c:pt idx="395">
                  <c:v>41940</c:v>
                </c:pt>
                <c:pt idx="396">
                  <c:v>41941</c:v>
                </c:pt>
                <c:pt idx="397">
                  <c:v>41942</c:v>
                </c:pt>
                <c:pt idx="398">
                  <c:v>41943</c:v>
                </c:pt>
                <c:pt idx="399">
                  <c:v>41948</c:v>
                </c:pt>
                <c:pt idx="400">
                  <c:v>41949</c:v>
                </c:pt>
                <c:pt idx="401">
                  <c:v>41950</c:v>
                </c:pt>
                <c:pt idx="402">
                  <c:v>41953</c:v>
                </c:pt>
                <c:pt idx="403">
                  <c:v>41954</c:v>
                </c:pt>
                <c:pt idx="404">
                  <c:v>41955</c:v>
                </c:pt>
                <c:pt idx="405">
                  <c:v>41956</c:v>
                </c:pt>
                <c:pt idx="406">
                  <c:v>41957</c:v>
                </c:pt>
                <c:pt idx="407">
                  <c:v>41960</c:v>
                </c:pt>
                <c:pt idx="408">
                  <c:v>41961</c:v>
                </c:pt>
                <c:pt idx="409">
                  <c:v>41962</c:v>
                </c:pt>
                <c:pt idx="410">
                  <c:v>41963</c:v>
                </c:pt>
                <c:pt idx="411">
                  <c:v>41964</c:v>
                </c:pt>
                <c:pt idx="412">
                  <c:v>41967</c:v>
                </c:pt>
                <c:pt idx="413">
                  <c:v>41968</c:v>
                </c:pt>
                <c:pt idx="414">
                  <c:v>41969</c:v>
                </c:pt>
                <c:pt idx="415">
                  <c:v>41970</c:v>
                </c:pt>
                <c:pt idx="416">
                  <c:v>41971</c:v>
                </c:pt>
                <c:pt idx="417">
                  <c:v>41974</c:v>
                </c:pt>
                <c:pt idx="418">
                  <c:v>41975</c:v>
                </c:pt>
                <c:pt idx="419">
                  <c:v>41976</c:v>
                </c:pt>
                <c:pt idx="420">
                  <c:v>41977</c:v>
                </c:pt>
                <c:pt idx="421">
                  <c:v>41978</c:v>
                </c:pt>
                <c:pt idx="422">
                  <c:v>41981</c:v>
                </c:pt>
                <c:pt idx="423">
                  <c:v>41982</c:v>
                </c:pt>
                <c:pt idx="424">
                  <c:v>41983</c:v>
                </c:pt>
                <c:pt idx="425">
                  <c:v>41984</c:v>
                </c:pt>
                <c:pt idx="426">
                  <c:v>41985</c:v>
                </c:pt>
                <c:pt idx="427">
                  <c:v>41988</c:v>
                </c:pt>
                <c:pt idx="428">
                  <c:v>41989</c:v>
                </c:pt>
                <c:pt idx="429">
                  <c:v>41990</c:v>
                </c:pt>
                <c:pt idx="430">
                  <c:v>41991</c:v>
                </c:pt>
                <c:pt idx="431">
                  <c:v>41992</c:v>
                </c:pt>
                <c:pt idx="432">
                  <c:v>41995</c:v>
                </c:pt>
                <c:pt idx="433">
                  <c:v>41996</c:v>
                </c:pt>
                <c:pt idx="434">
                  <c:v>41997</c:v>
                </c:pt>
                <c:pt idx="435">
                  <c:v>41998</c:v>
                </c:pt>
                <c:pt idx="436">
                  <c:v>41999</c:v>
                </c:pt>
                <c:pt idx="437">
                  <c:v>42016</c:v>
                </c:pt>
                <c:pt idx="438">
                  <c:v>42017</c:v>
                </c:pt>
                <c:pt idx="439">
                  <c:v>42018</c:v>
                </c:pt>
                <c:pt idx="440">
                  <c:v>42019</c:v>
                </c:pt>
                <c:pt idx="441">
                  <c:v>42020</c:v>
                </c:pt>
                <c:pt idx="442">
                  <c:v>42023</c:v>
                </c:pt>
                <c:pt idx="443">
                  <c:v>42024</c:v>
                </c:pt>
                <c:pt idx="444">
                  <c:v>42025</c:v>
                </c:pt>
                <c:pt idx="445">
                  <c:v>42026</c:v>
                </c:pt>
                <c:pt idx="446">
                  <c:v>42027</c:v>
                </c:pt>
                <c:pt idx="447">
                  <c:v>42030</c:v>
                </c:pt>
                <c:pt idx="448">
                  <c:v>42031</c:v>
                </c:pt>
              </c:numCache>
            </c:numRef>
          </c:cat>
          <c:val>
            <c:numRef>
              <c:f>Индексы_Мир_СПбМТСБ!$K$1014:$K$1462</c:f>
              <c:numCache>
                <c:formatCode>General</c:formatCode>
                <c:ptCount val="449"/>
                <c:pt idx="0">
                  <c:v>30120</c:v>
                </c:pt>
                <c:pt idx="1">
                  <c:v>30099</c:v>
                </c:pt>
                <c:pt idx="2">
                  <c:v>29997</c:v>
                </c:pt>
                <c:pt idx="3">
                  <c:v>30302</c:v>
                </c:pt>
                <c:pt idx="4">
                  <c:v>30339</c:v>
                </c:pt>
                <c:pt idx="5">
                  <c:v>30539</c:v>
                </c:pt>
                <c:pt idx="6">
                  <c:v>30573</c:v>
                </c:pt>
                <c:pt idx="7">
                  <c:v>30746</c:v>
                </c:pt>
                <c:pt idx="8">
                  <c:v>31031</c:v>
                </c:pt>
                <c:pt idx="9">
                  <c:v>31271</c:v>
                </c:pt>
                <c:pt idx="10">
                  <c:v>31469</c:v>
                </c:pt>
                <c:pt idx="11">
                  <c:v>31644</c:v>
                </c:pt>
                <c:pt idx="12">
                  <c:v>31684</c:v>
                </c:pt>
                <c:pt idx="13">
                  <c:v>31703</c:v>
                </c:pt>
                <c:pt idx="14">
                  <c:v>31484</c:v>
                </c:pt>
                <c:pt idx="15">
                  <c:v>31409</c:v>
                </c:pt>
                <c:pt idx="16">
                  <c:v>31348</c:v>
                </c:pt>
                <c:pt idx="17">
                  <c:v>31124</c:v>
                </c:pt>
                <c:pt idx="18">
                  <c:v>30927</c:v>
                </c:pt>
                <c:pt idx="19">
                  <c:v>30771</c:v>
                </c:pt>
                <c:pt idx="20">
                  <c:v>30080</c:v>
                </c:pt>
                <c:pt idx="21">
                  <c:v>30052</c:v>
                </c:pt>
                <c:pt idx="22">
                  <c:v>29875</c:v>
                </c:pt>
                <c:pt idx="23">
                  <c:v>29701</c:v>
                </c:pt>
                <c:pt idx="24">
                  <c:v>29502</c:v>
                </c:pt>
                <c:pt idx="25">
                  <c:v>29983</c:v>
                </c:pt>
                <c:pt idx="26">
                  <c:v>29989</c:v>
                </c:pt>
                <c:pt idx="27">
                  <c:v>30012</c:v>
                </c:pt>
                <c:pt idx="28">
                  <c:v>30266</c:v>
                </c:pt>
                <c:pt idx="29">
                  <c:v>29903</c:v>
                </c:pt>
                <c:pt idx="30">
                  <c:v>30108</c:v>
                </c:pt>
                <c:pt idx="31">
                  <c:v>30267</c:v>
                </c:pt>
                <c:pt idx="32">
                  <c:v>29647</c:v>
                </c:pt>
                <c:pt idx="33">
                  <c:v>29984</c:v>
                </c:pt>
                <c:pt idx="34">
                  <c:v>30339</c:v>
                </c:pt>
                <c:pt idx="35">
                  <c:v>30230</c:v>
                </c:pt>
                <c:pt idx="36">
                  <c:v>30109</c:v>
                </c:pt>
                <c:pt idx="37">
                  <c:v>29699</c:v>
                </c:pt>
                <c:pt idx="38">
                  <c:v>29489</c:v>
                </c:pt>
                <c:pt idx="39">
                  <c:v>29272</c:v>
                </c:pt>
                <c:pt idx="40">
                  <c:v>28998</c:v>
                </c:pt>
                <c:pt idx="41">
                  <c:v>29029</c:v>
                </c:pt>
                <c:pt idx="42">
                  <c:v>29137</c:v>
                </c:pt>
                <c:pt idx="43">
                  <c:v>29229</c:v>
                </c:pt>
                <c:pt idx="44">
                  <c:v>29335</c:v>
                </c:pt>
                <c:pt idx="45">
                  <c:v>29267</c:v>
                </c:pt>
                <c:pt idx="46">
                  <c:v>29321</c:v>
                </c:pt>
                <c:pt idx="47">
                  <c:v>29337</c:v>
                </c:pt>
                <c:pt idx="48">
                  <c:v>29170</c:v>
                </c:pt>
                <c:pt idx="49">
                  <c:v>29256</c:v>
                </c:pt>
                <c:pt idx="50">
                  <c:v>29228</c:v>
                </c:pt>
                <c:pt idx="51">
                  <c:v>29241</c:v>
                </c:pt>
                <c:pt idx="52">
                  <c:v>29287</c:v>
                </c:pt>
                <c:pt idx="53">
                  <c:v>29286</c:v>
                </c:pt>
                <c:pt idx="54">
                  <c:v>29301</c:v>
                </c:pt>
                <c:pt idx="55">
                  <c:v>29318</c:v>
                </c:pt>
                <c:pt idx="56">
                  <c:v>29294</c:v>
                </c:pt>
                <c:pt idx="57">
                  <c:v>29194</c:v>
                </c:pt>
                <c:pt idx="58">
                  <c:v>29277</c:v>
                </c:pt>
                <c:pt idx="59">
                  <c:v>29289</c:v>
                </c:pt>
                <c:pt idx="60">
                  <c:v>29383</c:v>
                </c:pt>
                <c:pt idx="61">
                  <c:v>29372</c:v>
                </c:pt>
                <c:pt idx="62">
                  <c:v>29467</c:v>
                </c:pt>
                <c:pt idx="63">
                  <c:v>29450</c:v>
                </c:pt>
                <c:pt idx="64">
                  <c:v>29655</c:v>
                </c:pt>
                <c:pt idx="65">
                  <c:v>29775</c:v>
                </c:pt>
                <c:pt idx="66">
                  <c:v>29811</c:v>
                </c:pt>
                <c:pt idx="67">
                  <c:v>30267</c:v>
                </c:pt>
                <c:pt idx="68">
                  <c:v>30596</c:v>
                </c:pt>
                <c:pt idx="69">
                  <c:v>30620</c:v>
                </c:pt>
                <c:pt idx="70">
                  <c:v>30677</c:v>
                </c:pt>
                <c:pt idx="71">
                  <c:v>31013</c:v>
                </c:pt>
                <c:pt idx="72">
                  <c:v>31066</c:v>
                </c:pt>
                <c:pt idx="73">
                  <c:v>30994</c:v>
                </c:pt>
                <c:pt idx="74">
                  <c:v>31021</c:v>
                </c:pt>
                <c:pt idx="75">
                  <c:v>31144</c:v>
                </c:pt>
                <c:pt idx="76">
                  <c:v>31323</c:v>
                </c:pt>
                <c:pt idx="77">
                  <c:v>31422</c:v>
                </c:pt>
                <c:pt idx="78">
                  <c:v>31441</c:v>
                </c:pt>
                <c:pt idx="79">
                  <c:v>31525</c:v>
                </c:pt>
                <c:pt idx="80">
                  <c:v>31527</c:v>
                </c:pt>
                <c:pt idx="81">
                  <c:v>31557</c:v>
                </c:pt>
                <c:pt idx="82">
                  <c:v>31610</c:v>
                </c:pt>
                <c:pt idx="83">
                  <c:v>31682</c:v>
                </c:pt>
                <c:pt idx="84">
                  <c:v>31557</c:v>
                </c:pt>
                <c:pt idx="85">
                  <c:v>31535</c:v>
                </c:pt>
                <c:pt idx="86">
                  <c:v>31723</c:v>
                </c:pt>
                <c:pt idx="87">
                  <c:v>31693</c:v>
                </c:pt>
                <c:pt idx="88">
                  <c:v>31875</c:v>
                </c:pt>
                <c:pt idx="89">
                  <c:v>31950</c:v>
                </c:pt>
                <c:pt idx="90">
                  <c:v>31863</c:v>
                </c:pt>
                <c:pt idx="91">
                  <c:v>31763</c:v>
                </c:pt>
                <c:pt idx="92">
                  <c:v>31700</c:v>
                </c:pt>
                <c:pt idx="93">
                  <c:v>31452</c:v>
                </c:pt>
                <c:pt idx="94">
                  <c:v>31171</c:v>
                </c:pt>
                <c:pt idx="95">
                  <c:v>31171</c:v>
                </c:pt>
                <c:pt idx="96">
                  <c:v>31048</c:v>
                </c:pt>
                <c:pt idx="97">
                  <c:v>31091</c:v>
                </c:pt>
                <c:pt idx="98">
                  <c:v>31097</c:v>
                </c:pt>
                <c:pt idx="99">
                  <c:v>31101</c:v>
                </c:pt>
                <c:pt idx="100">
                  <c:v>31103</c:v>
                </c:pt>
                <c:pt idx="101">
                  <c:v>31575</c:v>
                </c:pt>
                <c:pt idx="102">
                  <c:v>31631</c:v>
                </c:pt>
                <c:pt idx="103">
                  <c:v>31796</c:v>
                </c:pt>
                <c:pt idx="104">
                  <c:v>31832</c:v>
                </c:pt>
                <c:pt idx="105">
                  <c:v>31796</c:v>
                </c:pt>
                <c:pt idx="106">
                  <c:v>31940</c:v>
                </c:pt>
                <c:pt idx="107">
                  <c:v>32030</c:v>
                </c:pt>
                <c:pt idx="108">
                  <c:v>32175</c:v>
                </c:pt>
                <c:pt idx="109">
                  <c:v>32071</c:v>
                </c:pt>
                <c:pt idx="110">
                  <c:v>32262</c:v>
                </c:pt>
                <c:pt idx="111">
                  <c:v>32520</c:v>
                </c:pt>
                <c:pt idx="112">
                  <c:v>32544</c:v>
                </c:pt>
                <c:pt idx="113">
                  <c:v>32506</c:v>
                </c:pt>
                <c:pt idx="114">
                  <c:v>32525</c:v>
                </c:pt>
                <c:pt idx="115">
                  <c:v>32333</c:v>
                </c:pt>
                <c:pt idx="116">
                  <c:v>32049</c:v>
                </c:pt>
                <c:pt idx="117">
                  <c:v>31634</c:v>
                </c:pt>
                <c:pt idx="118">
                  <c:v>31464</c:v>
                </c:pt>
                <c:pt idx="119">
                  <c:v>31310</c:v>
                </c:pt>
                <c:pt idx="120">
                  <c:v>31832</c:v>
                </c:pt>
                <c:pt idx="121">
                  <c:v>31525</c:v>
                </c:pt>
                <c:pt idx="122">
                  <c:v>31580</c:v>
                </c:pt>
                <c:pt idx="123">
                  <c:v>31912</c:v>
                </c:pt>
                <c:pt idx="124">
                  <c:v>31648</c:v>
                </c:pt>
                <c:pt idx="125">
                  <c:v>31653</c:v>
                </c:pt>
                <c:pt idx="126">
                  <c:v>31493</c:v>
                </c:pt>
                <c:pt idx="127">
                  <c:v>31871</c:v>
                </c:pt>
                <c:pt idx="128">
                  <c:v>32080</c:v>
                </c:pt>
                <c:pt idx="129">
                  <c:v>32080</c:v>
                </c:pt>
                <c:pt idx="130">
                  <c:v>32209</c:v>
                </c:pt>
                <c:pt idx="131">
                  <c:v>31601</c:v>
                </c:pt>
                <c:pt idx="132">
                  <c:v>31675</c:v>
                </c:pt>
                <c:pt idx="133">
                  <c:v>31780</c:v>
                </c:pt>
                <c:pt idx="134">
                  <c:v>31630</c:v>
                </c:pt>
                <c:pt idx="135">
                  <c:v>31473</c:v>
                </c:pt>
                <c:pt idx="136">
                  <c:v>31368</c:v>
                </c:pt>
                <c:pt idx="137">
                  <c:v>31424</c:v>
                </c:pt>
                <c:pt idx="138">
                  <c:v>31614</c:v>
                </c:pt>
                <c:pt idx="139">
                  <c:v>31349</c:v>
                </c:pt>
                <c:pt idx="140">
                  <c:v>31705</c:v>
                </c:pt>
                <c:pt idx="141">
                  <c:v>31405</c:v>
                </c:pt>
                <c:pt idx="142">
                  <c:v>31492</c:v>
                </c:pt>
                <c:pt idx="143">
                  <c:v>31491</c:v>
                </c:pt>
                <c:pt idx="144">
                  <c:v>32466</c:v>
                </c:pt>
                <c:pt idx="145">
                  <c:v>31737</c:v>
                </c:pt>
                <c:pt idx="146">
                  <c:v>32387</c:v>
                </c:pt>
                <c:pt idx="147">
                  <c:v>31714</c:v>
                </c:pt>
                <c:pt idx="148">
                  <c:v>31629</c:v>
                </c:pt>
                <c:pt idx="149">
                  <c:v>31760</c:v>
                </c:pt>
                <c:pt idx="150">
                  <c:v>31864</c:v>
                </c:pt>
                <c:pt idx="151">
                  <c:v>31888</c:v>
                </c:pt>
                <c:pt idx="152">
                  <c:v>31888</c:v>
                </c:pt>
                <c:pt idx="153">
                  <c:v>32030</c:v>
                </c:pt>
                <c:pt idx="154">
                  <c:v>31830</c:v>
                </c:pt>
                <c:pt idx="155">
                  <c:v>31854</c:v>
                </c:pt>
                <c:pt idx="156">
                  <c:v>33062</c:v>
                </c:pt>
                <c:pt idx="157">
                  <c:v>32575</c:v>
                </c:pt>
                <c:pt idx="158">
                  <c:v>31809</c:v>
                </c:pt>
                <c:pt idx="159">
                  <c:v>32213</c:v>
                </c:pt>
                <c:pt idx="160">
                  <c:v>31990</c:v>
                </c:pt>
                <c:pt idx="161">
                  <c:v>32216</c:v>
                </c:pt>
                <c:pt idx="162">
                  <c:v>31844</c:v>
                </c:pt>
                <c:pt idx="163">
                  <c:v>32753</c:v>
                </c:pt>
                <c:pt idx="164">
                  <c:v>31846</c:v>
                </c:pt>
                <c:pt idx="165">
                  <c:v>32741</c:v>
                </c:pt>
                <c:pt idx="166">
                  <c:v>31342</c:v>
                </c:pt>
                <c:pt idx="167">
                  <c:v>31389</c:v>
                </c:pt>
                <c:pt idx="168">
                  <c:v>31441</c:v>
                </c:pt>
                <c:pt idx="169">
                  <c:v>31479</c:v>
                </c:pt>
                <c:pt idx="170">
                  <c:v>31543</c:v>
                </c:pt>
                <c:pt idx="171">
                  <c:v>31575</c:v>
                </c:pt>
                <c:pt idx="172">
                  <c:v>31616</c:v>
                </c:pt>
                <c:pt idx="173">
                  <c:v>31760</c:v>
                </c:pt>
                <c:pt idx="174">
                  <c:v>31593</c:v>
                </c:pt>
                <c:pt idx="175">
                  <c:v>31554</c:v>
                </c:pt>
                <c:pt idx="176">
                  <c:v>31743</c:v>
                </c:pt>
                <c:pt idx="177">
                  <c:v>31591</c:v>
                </c:pt>
                <c:pt idx="178">
                  <c:v>31798</c:v>
                </c:pt>
                <c:pt idx="179">
                  <c:v>31695</c:v>
                </c:pt>
                <c:pt idx="180">
                  <c:v>31798</c:v>
                </c:pt>
                <c:pt idx="181">
                  <c:v>31763</c:v>
                </c:pt>
                <c:pt idx="182">
                  <c:v>31162</c:v>
                </c:pt>
                <c:pt idx="183">
                  <c:v>30968</c:v>
                </c:pt>
                <c:pt idx="184">
                  <c:v>31253</c:v>
                </c:pt>
                <c:pt idx="185">
                  <c:v>31673</c:v>
                </c:pt>
                <c:pt idx="186">
                  <c:v>31321</c:v>
                </c:pt>
                <c:pt idx="187">
                  <c:v>30914</c:v>
                </c:pt>
                <c:pt idx="188">
                  <c:v>30967</c:v>
                </c:pt>
                <c:pt idx="189">
                  <c:v>30906</c:v>
                </c:pt>
                <c:pt idx="190">
                  <c:v>30863</c:v>
                </c:pt>
                <c:pt idx="191">
                  <c:v>31121</c:v>
                </c:pt>
                <c:pt idx="192">
                  <c:v>31537</c:v>
                </c:pt>
                <c:pt idx="193">
                  <c:v>30666</c:v>
                </c:pt>
                <c:pt idx="194">
                  <c:v>30676</c:v>
                </c:pt>
                <c:pt idx="195">
                  <c:v>30700</c:v>
                </c:pt>
                <c:pt idx="196">
                  <c:v>29985</c:v>
                </c:pt>
                <c:pt idx="197">
                  <c:v>29853</c:v>
                </c:pt>
                <c:pt idx="198">
                  <c:v>30412</c:v>
                </c:pt>
                <c:pt idx="199">
                  <c:v>30135</c:v>
                </c:pt>
                <c:pt idx="200">
                  <c:v>30535</c:v>
                </c:pt>
                <c:pt idx="201">
                  <c:v>30262</c:v>
                </c:pt>
                <c:pt idx="202">
                  <c:v>30634</c:v>
                </c:pt>
                <c:pt idx="203">
                  <c:v>30152</c:v>
                </c:pt>
                <c:pt idx="204">
                  <c:v>30331</c:v>
                </c:pt>
                <c:pt idx="205">
                  <c:v>31525</c:v>
                </c:pt>
                <c:pt idx="206">
                  <c:v>30557</c:v>
                </c:pt>
                <c:pt idx="207">
                  <c:v>30625</c:v>
                </c:pt>
                <c:pt idx="208">
                  <c:v>30713</c:v>
                </c:pt>
                <c:pt idx="209">
                  <c:v>31242</c:v>
                </c:pt>
                <c:pt idx="210">
                  <c:v>30848</c:v>
                </c:pt>
                <c:pt idx="211">
                  <c:v>31246</c:v>
                </c:pt>
                <c:pt idx="212">
                  <c:v>31519</c:v>
                </c:pt>
                <c:pt idx="213">
                  <c:v>30977</c:v>
                </c:pt>
                <c:pt idx="214">
                  <c:v>30842</c:v>
                </c:pt>
                <c:pt idx="215">
                  <c:v>30855</c:v>
                </c:pt>
                <c:pt idx="216">
                  <c:v>30627</c:v>
                </c:pt>
                <c:pt idx="217">
                  <c:v>30546</c:v>
                </c:pt>
                <c:pt idx="218">
                  <c:v>30678</c:v>
                </c:pt>
                <c:pt idx="219">
                  <c:v>30703</c:v>
                </c:pt>
                <c:pt idx="220">
                  <c:v>30854</c:v>
                </c:pt>
                <c:pt idx="221">
                  <c:v>30912</c:v>
                </c:pt>
                <c:pt idx="222">
                  <c:v>31055</c:v>
                </c:pt>
                <c:pt idx="223">
                  <c:v>31252</c:v>
                </c:pt>
                <c:pt idx="224">
                  <c:v>31537</c:v>
                </c:pt>
                <c:pt idx="225">
                  <c:v>31543</c:v>
                </c:pt>
                <c:pt idx="226">
                  <c:v>31792</c:v>
                </c:pt>
                <c:pt idx="227">
                  <c:v>31766</c:v>
                </c:pt>
                <c:pt idx="228">
                  <c:v>32387</c:v>
                </c:pt>
                <c:pt idx="229">
                  <c:v>32510</c:v>
                </c:pt>
                <c:pt idx="230">
                  <c:v>32826</c:v>
                </c:pt>
                <c:pt idx="231">
                  <c:v>33266</c:v>
                </c:pt>
                <c:pt idx="232">
                  <c:v>33210</c:v>
                </c:pt>
                <c:pt idx="233">
                  <c:v>33075</c:v>
                </c:pt>
                <c:pt idx="234">
                  <c:v>33025</c:v>
                </c:pt>
                <c:pt idx="235">
                  <c:v>32797</c:v>
                </c:pt>
                <c:pt idx="236">
                  <c:v>32685</c:v>
                </c:pt>
                <c:pt idx="237">
                  <c:v>32741</c:v>
                </c:pt>
                <c:pt idx="238">
                  <c:v>32630</c:v>
                </c:pt>
                <c:pt idx="239">
                  <c:v>32760</c:v>
                </c:pt>
                <c:pt idx="240">
                  <c:v>32578</c:v>
                </c:pt>
                <c:pt idx="241">
                  <c:v>32517</c:v>
                </c:pt>
                <c:pt idx="242">
                  <c:v>32560</c:v>
                </c:pt>
                <c:pt idx="243">
                  <c:v>32601</c:v>
                </c:pt>
                <c:pt idx="244">
                  <c:v>32552</c:v>
                </c:pt>
                <c:pt idx="245">
                  <c:v>32664</c:v>
                </c:pt>
                <c:pt idx="246">
                  <c:v>32724</c:v>
                </c:pt>
                <c:pt idx="247">
                  <c:v>33029</c:v>
                </c:pt>
                <c:pt idx="248">
                  <c:v>33008</c:v>
                </c:pt>
                <c:pt idx="249">
                  <c:v>33036</c:v>
                </c:pt>
                <c:pt idx="250">
                  <c:v>32641</c:v>
                </c:pt>
                <c:pt idx="251">
                  <c:v>32766</c:v>
                </c:pt>
                <c:pt idx="252">
                  <c:v>32918</c:v>
                </c:pt>
                <c:pt idx="253">
                  <c:v>32998</c:v>
                </c:pt>
                <c:pt idx="254">
                  <c:v>32966</c:v>
                </c:pt>
                <c:pt idx="255">
                  <c:v>32949</c:v>
                </c:pt>
                <c:pt idx="256">
                  <c:v>32852</c:v>
                </c:pt>
                <c:pt idx="257">
                  <c:v>32814</c:v>
                </c:pt>
                <c:pt idx="258">
                  <c:v>32862</c:v>
                </c:pt>
                <c:pt idx="259">
                  <c:v>32780</c:v>
                </c:pt>
                <c:pt idx="260">
                  <c:v>32806</c:v>
                </c:pt>
                <c:pt idx="261">
                  <c:v>32765</c:v>
                </c:pt>
                <c:pt idx="262">
                  <c:v>32786</c:v>
                </c:pt>
                <c:pt idx="263">
                  <c:v>32738</c:v>
                </c:pt>
                <c:pt idx="264">
                  <c:v>32727</c:v>
                </c:pt>
                <c:pt idx="265">
                  <c:v>32756</c:v>
                </c:pt>
                <c:pt idx="266">
                  <c:v>32833</c:v>
                </c:pt>
                <c:pt idx="267">
                  <c:v>32937</c:v>
                </c:pt>
                <c:pt idx="268">
                  <c:v>33075</c:v>
                </c:pt>
                <c:pt idx="269">
                  <c:v>33132</c:v>
                </c:pt>
                <c:pt idx="270">
                  <c:v>33172</c:v>
                </c:pt>
                <c:pt idx="271">
                  <c:v>33064</c:v>
                </c:pt>
                <c:pt idx="272">
                  <c:v>33186</c:v>
                </c:pt>
                <c:pt idx="273">
                  <c:v>33156</c:v>
                </c:pt>
                <c:pt idx="274">
                  <c:v>33246</c:v>
                </c:pt>
                <c:pt idx="275">
                  <c:v>33242</c:v>
                </c:pt>
                <c:pt idx="276">
                  <c:v>33180</c:v>
                </c:pt>
                <c:pt idx="277">
                  <c:v>33233</c:v>
                </c:pt>
                <c:pt idx="278">
                  <c:v>33265</c:v>
                </c:pt>
                <c:pt idx="279">
                  <c:v>33398</c:v>
                </c:pt>
                <c:pt idx="280">
                  <c:v>33427</c:v>
                </c:pt>
                <c:pt idx="281">
                  <c:v>33278</c:v>
                </c:pt>
                <c:pt idx="282">
                  <c:v>33194</c:v>
                </c:pt>
                <c:pt idx="283">
                  <c:v>33123</c:v>
                </c:pt>
                <c:pt idx="284">
                  <c:v>33193</c:v>
                </c:pt>
                <c:pt idx="285">
                  <c:v>33089</c:v>
                </c:pt>
                <c:pt idx="286">
                  <c:v>32927</c:v>
                </c:pt>
                <c:pt idx="287">
                  <c:v>32948</c:v>
                </c:pt>
                <c:pt idx="288">
                  <c:v>33020</c:v>
                </c:pt>
                <c:pt idx="289">
                  <c:v>32881</c:v>
                </c:pt>
                <c:pt idx="290">
                  <c:v>32832</c:v>
                </c:pt>
                <c:pt idx="291">
                  <c:v>32769</c:v>
                </c:pt>
                <c:pt idx="292">
                  <c:v>32779</c:v>
                </c:pt>
                <c:pt idx="293">
                  <c:v>32262</c:v>
                </c:pt>
                <c:pt idx="294">
                  <c:v>32120</c:v>
                </c:pt>
                <c:pt idx="295">
                  <c:v>32523</c:v>
                </c:pt>
                <c:pt idx="296">
                  <c:v>32428</c:v>
                </c:pt>
                <c:pt idx="297">
                  <c:v>32393</c:v>
                </c:pt>
                <c:pt idx="298">
                  <c:v>32240</c:v>
                </c:pt>
                <c:pt idx="299">
                  <c:v>32299</c:v>
                </c:pt>
                <c:pt idx="300">
                  <c:v>32460</c:v>
                </c:pt>
                <c:pt idx="301">
                  <c:v>32681</c:v>
                </c:pt>
                <c:pt idx="302">
                  <c:v>32940</c:v>
                </c:pt>
                <c:pt idx="303">
                  <c:v>32962</c:v>
                </c:pt>
                <c:pt idx="304">
                  <c:v>32936</c:v>
                </c:pt>
                <c:pt idx="305">
                  <c:v>32752</c:v>
                </c:pt>
                <c:pt idx="306">
                  <c:v>32754</c:v>
                </c:pt>
                <c:pt idx="307">
                  <c:v>32853</c:v>
                </c:pt>
                <c:pt idx="308">
                  <c:v>33006</c:v>
                </c:pt>
                <c:pt idx="309">
                  <c:v>32871</c:v>
                </c:pt>
                <c:pt idx="310">
                  <c:v>32894</c:v>
                </c:pt>
                <c:pt idx="311">
                  <c:v>32732</c:v>
                </c:pt>
                <c:pt idx="312">
                  <c:v>32521</c:v>
                </c:pt>
                <c:pt idx="313">
                  <c:v>32667</c:v>
                </c:pt>
                <c:pt idx="314">
                  <c:v>32733</c:v>
                </c:pt>
                <c:pt idx="315">
                  <c:v>32735</c:v>
                </c:pt>
                <c:pt idx="316">
                  <c:v>32437</c:v>
                </c:pt>
                <c:pt idx="317">
                  <c:v>32168</c:v>
                </c:pt>
                <c:pt idx="318">
                  <c:v>31916</c:v>
                </c:pt>
                <c:pt idx="319">
                  <c:v>31746</c:v>
                </c:pt>
                <c:pt idx="320">
                  <c:v>31771</c:v>
                </c:pt>
                <c:pt idx="321">
                  <c:v>31911</c:v>
                </c:pt>
                <c:pt idx="322">
                  <c:v>31862</c:v>
                </c:pt>
                <c:pt idx="323">
                  <c:v>31922</c:v>
                </c:pt>
                <c:pt idx="324">
                  <c:v>31887</c:v>
                </c:pt>
                <c:pt idx="325">
                  <c:v>31895</c:v>
                </c:pt>
                <c:pt idx="326">
                  <c:v>31889</c:v>
                </c:pt>
                <c:pt idx="327">
                  <c:v>31845</c:v>
                </c:pt>
                <c:pt idx="328">
                  <c:v>31974</c:v>
                </c:pt>
                <c:pt idx="329">
                  <c:v>31935</c:v>
                </c:pt>
                <c:pt idx="330">
                  <c:v>32105</c:v>
                </c:pt>
                <c:pt idx="331">
                  <c:v>32070</c:v>
                </c:pt>
                <c:pt idx="332">
                  <c:v>32132</c:v>
                </c:pt>
                <c:pt idx="333">
                  <c:v>32207</c:v>
                </c:pt>
                <c:pt idx="334">
                  <c:v>32192</c:v>
                </c:pt>
                <c:pt idx="335">
                  <c:v>31959</c:v>
                </c:pt>
                <c:pt idx="336">
                  <c:v>32185</c:v>
                </c:pt>
                <c:pt idx="337">
                  <c:v>32077</c:v>
                </c:pt>
                <c:pt idx="338">
                  <c:v>31973</c:v>
                </c:pt>
                <c:pt idx="339">
                  <c:v>32003</c:v>
                </c:pt>
                <c:pt idx="340">
                  <c:v>32041</c:v>
                </c:pt>
                <c:pt idx="341">
                  <c:v>31958</c:v>
                </c:pt>
                <c:pt idx="342">
                  <c:v>32060</c:v>
                </c:pt>
                <c:pt idx="343">
                  <c:v>32002</c:v>
                </c:pt>
                <c:pt idx="344">
                  <c:v>31995</c:v>
                </c:pt>
                <c:pt idx="345">
                  <c:v>32122</c:v>
                </c:pt>
                <c:pt idx="346">
                  <c:v>32167</c:v>
                </c:pt>
                <c:pt idx="347">
                  <c:v>32159</c:v>
                </c:pt>
                <c:pt idx="348">
                  <c:v>32070</c:v>
                </c:pt>
                <c:pt idx="349">
                  <c:v>32065</c:v>
                </c:pt>
                <c:pt idx="350">
                  <c:v>32129</c:v>
                </c:pt>
                <c:pt idx="351">
                  <c:v>32193</c:v>
                </c:pt>
                <c:pt idx="352">
                  <c:v>32505</c:v>
                </c:pt>
                <c:pt idx="353">
                  <c:v>32577</c:v>
                </c:pt>
                <c:pt idx="354">
                  <c:v>32663</c:v>
                </c:pt>
                <c:pt idx="355">
                  <c:v>32648</c:v>
                </c:pt>
                <c:pt idx="356">
                  <c:v>32722</c:v>
                </c:pt>
                <c:pt idx="357">
                  <c:v>32653</c:v>
                </c:pt>
                <c:pt idx="358">
                  <c:v>32835</c:v>
                </c:pt>
                <c:pt idx="359">
                  <c:v>32771</c:v>
                </c:pt>
                <c:pt idx="360">
                  <c:v>32766</c:v>
                </c:pt>
                <c:pt idx="361">
                  <c:v>32752</c:v>
                </c:pt>
                <c:pt idx="362">
                  <c:v>32617</c:v>
                </c:pt>
                <c:pt idx="363">
                  <c:v>32640</c:v>
                </c:pt>
                <c:pt idx="364">
                  <c:v>32596</c:v>
                </c:pt>
                <c:pt idx="365">
                  <c:v>32610</c:v>
                </c:pt>
                <c:pt idx="366">
                  <c:v>32637</c:v>
                </c:pt>
                <c:pt idx="367">
                  <c:v>32578</c:v>
                </c:pt>
                <c:pt idx="368">
                  <c:v>32609</c:v>
                </c:pt>
                <c:pt idx="369">
                  <c:v>32605</c:v>
                </c:pt>
                <c:pt idx="370">
                  <c:v>32802</c:v>
                </c:pt>
                <c:pt idx="371">
                  <c:v>32834</c:v>
                </c:pt>
                <c:pt idx="372">
                  <c:v>32942</c:v>
                </c:pt>
                <c:pt idx="373">
                  <c:v>32930</c:v>
                </c:pt>
                <c:pt idx="374">
                  <c:v>33208</c:v>
                </c:pt>
                <c:pt idx="375">
                  <c:v>33226</c:v>
                </c:pt>
                <c:pt idx="376">
                  <c:v>32880</c:v>
                </c:pt>
                <c:pt idx="377">
                  <c:v>32866</c:v>
                </c:pt>
                <c:pt idx="378">
                  <c:v>32944</c:v>
                </c:pt>
                <c:pt idx="379">
                  <c:v>32982</c:v>
                </c:pt>
                <c:pt idx="380">
                  <c:v>32759</c:v>
                </c:pt>
                <c:pt idx="381">
                  <c:v>32624</c:v>
                </c:pt>
                <c:pt idx="382">
                  <c:v>32548</c:v>
                </c:pt>
                <c:pt idx="383">
                  <c:v>32628</c:v>
                </c:pt>
                <c:pt idx="384">
                  <c:v>32463</c:v>
                </c:pt>
                <c:pt idx="385">
                  <c:v>32427</c:v>
                </c:pt>
                <c:pt idx="386">
                  <c:v>32466</c:v>
                </c:pt>
                <c:pt idx="387">
                  <c:v>32482</c:v>
                </c:pt>
                <c:pt idx="388">
                  <c:v>32660</c:v>
                </c:pt>
                <c:pt idx="389">
                  <c:v>32539</c:v>
                </c:pt>
                <c:pt idx="390">
                  <c:v>32313</c:v>
                </c:pt>
                <c:pt idx="391">
                  <c:v>32097</c:v>
                </c:pt>
                <c:pt idx="392">
                  <c:v>31969</c:v>
                </c:pt>
                <c:pt idx="393">
                  <c:v>31597</c:v>
                </c:pt>
                <c:pt idx="394">
                  <c:v>31504</c:v>
                </c:pt>
                <c:pt idx="395">
                  <c:v>31615</c:v>
                </c:pt>
                <c:pt idx="396">
                  <c:v>31829</c:v>
                </c:pt>
                <c:pt idx="397">
                  <c:v>31812</c:v>
                </c:pt>
                <c:pt idx="398">
                  <c:v>31745</c:v>
                </c:pt>
                <c:pt idx="399">
                  <c:v>31727</c:v>
                </c:pt>
                <c:pt idx="400">
                  <c:v>31978</c:v>
                </c:pt>
                <c:pt idx="401">
                  <c:v>31922</c:v>
                </c:pt>
                <c:pt idx="402">
                  <c:v>31687</c:v>
                </c:pt>
                <c:pt idx="403">
                  <c:v>31687</c:v>
                </c:pt>
                <c:pt idx="404">
                  <c:v>31763</c:v>
                </c:pt>
                <c:pt idx="405">
                  <c:v>31565</c:v>
                </c:pt>
                <c:pt idx="406">
                  <c:v>31416</c:v>
                </c:pt>
                <c:pt idx="407">
                  <c:v>31207</c:v>
                </c:pt>
                <c:pt idx="408">
                  <c:v>31176</c:v>
                </c:pt>
                <c:pt idx="409">
                  <c:v>31743</c:v>
                </c:pt>
                <c:pt idx="410">
                  <c:v>31021</c:v>
                </c:pt>
                <c:pt idx="411">
                  <c:v>31569</c:v>
                </c:pt>
                <c:pt idx="412">
                  <c:v>30948</c:v>
                </c:pt>
                <c:pt idx="413">
                  <c:v>31076</c:v>
                </c:pt>
                <c:pt idx="414">
                  <c:v>31054</c:v>
                </c:pt>
                <c:pt idx="415">
                  <c:v>29407</c:v>
                </c:pt>
                <c:pt idx="416">
                  <c:v>28649</c:v>
                </c:pt>
                <c:pt idx="417">
                  <c:v>27853</c:v>
                </c:pt>
                <c:pt idx="418">
                  <c:v>27982</c:v>
                </c:pt>
                <c:pt idx="419">
                  <c:v>27963</c:v>
                </c:pt>
                <c:pt idx="420">
                  <c:v>28689</c:v>
                </c:pt>
                <c:pt idx="421">
                  <c:v>29430</c:v>
                </c:pt>
                <c:pt idx="422">
                  <c:v>29576</c:v>
                </c:pt>
                <c:pt idx="423">
                  <c:v>29663</c:v>
                </c:pt>
                <c:pt idx="424">
                  <c:v>29746</c:v>
                </c:pt>
                <c:pt idx="425">
                  <c:v>30159</c:v>
                </c:pt>
                <c:pt idx="426">
                  <c:v>30357</c:v>
                </c:pt>
                <c:pt idx="427">
                  <c:v>30149</c:v>
                </c:pt>
                <c:pt idx="428">
                  <c:v>30144</c:v>
                </c:pt>
                <c:pt idx="429">
                  <c:v>29900</c:v>
                </c:pt>
                <c:pt idx="430">
                  <c:v>29371</c:v>
                </c:pt>
                <c:pt idx="431">
                  <c:v>28937</c:v>
                </c:pt>
                <c:pt idx="432">
                  <c:v>28915</c:v>
                </c:pt>
                <c:pt idx="433">
                  <c:v>29029</c:v>
                </c:pt>
                <c:pt idx="434">
                  <c:v>28935</c:v>
                </c:pt>
                <c:pt idx="435">
                  <c:v>28967</c:v>
                </c:pt>
                <c:pt idx="436">
                  <c:v>28944</c:v>
                </c:pt>
                <c:pt idx="437">
                  <c:v>28989</c:v>
                </c:pt>
                <c:pt idx="438">
                  <c:v>29097</c:v>
                </c:pt>
                <c:pt idx="439">
                  <c:v>29293</c:v>
                </c:pt>
                <c:pt idx="440">
                  <c:v>29388</c:v>
                </c:pt>
                <c:pt idx="441">
                  <c:v>29606</c:v>
                </c:pt>
                <c:pt idx="442">
                  <c:v>29285</c:v>
                </c:pt>
                <c:pt idx="443">
                  <c:v>29457</c:v>
                </c:pt>
                <c:pt idx="444">
                  <c:v>29104</c:v>
                </c:pt>
                <c:pt idx="445">
                  <c:v>28802</c:v>
                </c:pt>
                <c:pt idx="446">
                  <c:v>29190</c:v>
                </c:pt>
                <c:pt idx="447">
                  <c:v>29087</c:v>
                </c:pt>
                <c:pt idx="448">
                  <c:v>301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711168"/>
        <c:axId val="629065984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B$2</c:f>
              <c:strCache>
                <c:ptCount val="1"/>
                <c:pt idx="0">
                  <c:v>BRENT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F$1014:$F$1462</c:f>
              <c:numCache>
                <c:formatCode>m/d/yyyy</c:formatCode>
                <c:ptCount val="449"/>
                <c:pt idx="0">
                  <c:v>41358</c:v>
                </c:pt>
                <c:pt idx="1">
                  <c:v>41359</c:v>
                </c:pt>
                <c:pt idx="2">
                  <c:v>41360</c:v>
                </c:pt>
                <c:pt idx="3">
                  <c:v>41361</c:v>
                </c:pt>
                <c:pt idx="4">
                  <c:v>41362</c:v>
                </c:pt>
                <c:pt idx="5">
                  <c:v>41365</c:v>
                </c:pt>
                <c:pt idx="6">
                  <c:v>41366</c:v>
                </c:pt>
                <c:pt idx="7">
                  <c:v>41367</c:v>
                </c:pt>
                <c:pt idx="8">
                  <c:v>41368</c:v>
                </c:pt>
                <c:pt idx="9">
                  <c:v>41369</c:v>
                </c:pt>
                <c:pt idx="10">
                  <c:v>41372</c:v>
                </c:pt>
                <c:pt idx="11">
                  <c:v>41373</c:v>
                </c:pt>
                <c:pt idx="12">
                  <c:v>41374</c:v>
                </c:pt>
                <c:pt idx="13">
                  <c:v>41375</c:v>
                </c:pt>
                <c:pt idx="14">
                  <c:v>41376</c:v>
                </c:pt>
                <c:pt idx="15">
                  <c:v>41379</c:v>
                </c:pt>
                <c:pt idx="16">
                  <c:v>41380</c:v>
                </c:pt>
                <c:pt idx="17">
                  <c:v>41381</c:v>
                </c:pt>
                <c:pt idx="18">
                  <c:v>41382</c:v>
                </c:pt>
                <c:pt idx="19">
                  <c:v>41383</c:v>
                </c:pt>
                <c:pt idx="20">
                  <c:v>41386</c:v>
                </c:pt>
                <c:pt idx="21">
                  <c:v>41387</c:v>
                </c:pt>
                <c:pt idx="22">
                  <c:v>41388</c:v>
                </c:pt>
                <c:pt idx="23">
                  <c:v>41389</c:v>
                </c:pt>
                <c:pt idx="24">
                  <c:v>41390</c:v>
                </c:pt>
                <c:pt idx="25">
                  <c:v>41393</c:v>
                </c:pt>
                <c:pt idx="26">
                  <c:v>41394</c:v>
                </c:pt>
                <c:pt idx="27">
                  <c:v>41400</c:v>
                </c:pt>
                <c:pt idx="28">
                  <c:v>41401</c:v>
                </c:pt>
                <c:pt idx="29">
                  <c:v>41402</c:v>
                </c:pt>
                <c:pt idx="30">
                  <c:v>41407</c:v>
                </c:pt>
                <c:pt idx="31">
                  <c:v>41408</c:v>
                </c:pt>
                <c:pt idx="32">
                  <c:v>41409</c:v>
                </c:pt>
                <c:pt idx="33">
                  <c:v>41410</c:v>
                </c:pt>
                <c:pt idx="34">
                  <c:v>41411</c:v>
                </c:pt>
                <c:pt idx="35">
                  <c:v>41414</c:v>
                </c:pt>
                <c:pt idx="36">
                  <c:v>41415</c:v>
                </c:pt>
                <c:pt idx="37">
                  <c:v>41416</c:v>
                </c:pt>
                <c:pt idx="38">
                  <c:v>41417</c:v>
                </c:pt>
                <c:pt idx="39">
                  <c:v>41418</c:v>
                </c:pt>
                <c:pt idx="40">
                  <c:v>41421</c:v>
                </c:pt>
                <c:pt idx="41">
                  <c:v>41422</c:v>
                </c:pt>
                <c:pt idx="42">
                  <c:v>41423</c:v>
                </c:pt>
                <c:pt idx="43">
                  <c:v>41424</c:v>
                </c:pt>
                <c:pt idx="44">
                  <c:v>41425</c:v>
                </c:pt>
                <c:pt idx="45">
                  <c:v>41428</c:v>
                </c:pt>
                <c:pt idx="46">
                  <c:v>41429</c:v>
                </c:pt>
                <c:pt idx="47">
                  <c:v>41430</c:v>
                </c:pt>
                <c:pt idx="48">
                  <c:v>41431</c:v>
                </c:pt>
                <c:pt idx="49">
                  <c:v>41432</c:v>
                </c:pt>
                <c:pt idx="50">
                  <c:v>41435</c:v>
                </c:pt>
                <c:pt idx="51">
                  <c:v>41436</c:v>
                </c:pt>
                <c:pt idx="52">
                  <c:v>41438</c:v>
                </c:pt>
                <c:pt idx="53">
                  <c:v>41439</c:v>
                </c:pt>
                <c:pt idx="54">
                  <c:v>41442</c:v>
                </c:pt>
                <c:pt idx="55">
                  <c:v>41443</c:v>
                </c:pt>
                <c:pt idx="56">
                  <c:v>41444</c:v>
                </c:pt>
                <c:pt idx="57">
                  <c:v>41445</c:v>
                </c:pt>
                <c:pt idx="58">
                  <c:v>41446</c:v>
                </c:pt>
                <c:pt idx="59">
                  <c:v>41449</c:v>
                </c:pt>
                <c:pt idx="60">
                  <c:v>41450</c:v>
                </c:pt>
                <c:pt idx="61">
                  <c:v>41451</c:v>
                </c:pt>
                <c:pt idx="62">
                  <c:v>41452</c:v>
                </c:pt>
                <c:pt idx="63">
                  <c:v>41453</c:v>
                </c:pt>
                <c:pt idx="64">
                  <c:v>41456</c:v>
                </c:pt>
                <c:pt idx="65">
                  <c:v>41457</c:v>
                </c:pt>
                <c:pt idx="66">
                  <c:v>41458</c:v>
                </c:pt>
                <c:pt idx="67">
                  <c:v>41459</c:v>
                </c:pt>
                <c:pt idx="68">
                  <c:v>41460</c:v>
                </c:pt>
                <c:pt idx="69">
                  <c:v>41463</c:v>
                </c:pt>
                <c:pt idx="70">
                  <c:v>41464</c:v>
                </c:pt>
                <c:pt idx="71">
                  <c:v>41465</c:v>
                </c:pt>
                <c:pt idx="72">
                  <c:v>41466</c:v>
                </c:pt>
                <c:pt idx="73">
                  <c:v>41467</c:v>
                </c:pt>
                <c:pt idx="74">
                  <c:v>41470</c:v>
                </c:pt>
                <c:pt idx="75">
                  <c:v>41471</c:v>
                </c:pt>
                <c:pt idx="76">
                  <c:v>41472</c:v>
                </c:pt>
                <c:pt idx="77">
                  <c:v>41473</c:v>
                </c:pt>
                <c:pt idx="78">
                  <c:v>41474</c:v>
                </c:pt>
                <c:pt idx="79">
                  <c:v>41477</c:v>
                </c:pt>
                <c:pt idx="80">
                  <c:v>41478</c:v>
                </c:pt>
                <c:pt idx="81">
                  <c:v>41479</c:v>
                </c:pt>
                <c:pt idx="82">
                  <c:v>41480</c:v>
                </c:pt>
                <c:pt idx="83">
                  <c:v>41481</c:v>
                </c:pt>
                <c:pt idx="84">
                  <c:v>41484</c:v>
                </c:pt>
                <c:pt idx="85">
                  <c:v>41485</c:v>
                </c:pt>
                <c:pt idx="86">
                  <c:v>41486</c:v>
                </c:pt>
                <c:pt idx="87">
                  <c:v>41487</c:v>
                </c:pt>
                <c:pt idx="88">
                  <c:v>41488</c:v>
                </c:pt>
                <c:pt idx="89">
                  <c:v>41491</c:v>
                </c:pt>
                <c:pt idx="90">
                  <c:v>41492</c:v>
                </c:pt>
                <c:pt idx="91">
                  <c:v>41493</c:v>
                </c:pt>
                <c:pt idx="92">
                  <c:v>41494</c:v>
                </c:pt>
                <c:pt idx="93">
                  <c:v>41495</c:v>
                </c:pt>
                <c:pt idx="94">
                  <c:v>41498</c:v>
                </c:pt>
                <c:pt idx="95">
                  <c:v>41499</c:v>
                </c:pt>
                <c:pt idx="96">
                  <c:v>41500</c:v>
                </c:pt>
                <c:pt idx="97">
                  <c:v>41501</c:v>
                </c:pt>
                <c:pt idx="98">
                  <c:v>41502</c:v>
                </c:pt>
                <c:pt idx="99">
                  <c:v>41505</c:v>
                </c:pt>
                <c:pt idx="100">
                  <c:v>41506</c:v>
                </c:pt>
                <c:pt idx="101">
                  <c:v>41507</c:v>
                </c:pt>
                <c:pt idx="102">
                  <c:v>41508</c:v>
                </c:pt>
                <c:pt idx="103">
                  <c:v>41509</c:v>
                </c:pt>
                <c:pt idx="104">
                  <c:v>41512</c:v>
                </c:pt>
                <c:pt idx="105">
                  <c:v>41513</c:v>
                </c:pt>
                <c:pt idx="106">
                  <c:v>41514</c:v>
                </c:pt>
                <c:pt idx="107">
                  <c:v>41515</c:v>
                </c:pt>
                <c:pt idx="108">
                  <c:v>41516</c:v>
                </c:pt>
                <c:pt idx="109">
                  <c:v>41519</c:v>
                </c:pt>
                <c:pt idx="110">
                  <c:v>41520</c:v>
                </c:pt>
                <c:pt idx="111">
                  <c:v>41521</c:v>
                </c:pt>
                <c:pt idx="112">
                  <c:v>41522</c:v>
                </c:pt>
                <c:pt idx="113">
                  <c:v>41523</c:v>
                </c:pt>
                <c:pt idx="114">
                  <c:v>41526</c:v>
                </c:pt>
                <c:pt idx="115">
                  <c:v>41527</c:v>
                </c:pt>
                <c:pt idx="116">
                  <c:v>41528</c:v>
                </c:pt>
                <c:pt idx="117">
                  <c:v>41529</c:v>
                </c:pt>
                <c:pt idx="118">
                  <c:v>41530</c:v>
                </c:pt>
                <c:pt idx="119">
                  <c:v>41533</c:v>
                </c:pt>
                <c:pt idx="120">
                  <c:v>41534</c:v>
                </c:pt>
                <c:pt idx="121">
                  <c:v>41535</c:v>
                </c:pt>
                <c:pt idx="122">
                  <c:v>41536</c:v>
                </c:pt>
                <c:pt idx="123">
                  <c:v>41537</c:v>
                </c:pt>
                <c:pt idx="124">
                  <c:v>41540</c:v>
                </c:pt>
                <c:pt idx="125">
                  <c:v>41541</c:v>
                </c:pt>
                <c:pt idx="126">
                  <c:v>41542</c:v>
                </c:pt>
                <c:pt idx="127">
                  <c:v>41543</c:v>
                </c:pt>
                <c:pt idx="128">
                  <c:v>41544</c:v>
                </c:pt>
                <c:pt idx="129">
                  <c:v>41547</c:v>
                </c:pt>
                <c:pt idx="130">
                  <c:v>41548</c:v>
                </c:pt>
                <c:pt idx="131">
                  <c:v>41549</c:v>
                </c:pt>
                <c:pt idx="132">
                  <c:v>41550</c:v>
                </c:pt>
                <c:pt idx="133">
                  <c:v>41551</c:v>
                </c:pt>
                <c:pt idx="134">
                  <c:v>41554</c:v>
                </c:pt>
                <c:pt idx="135">
                  <c:v>41555</c:v>
                </c:pt>
                <c:pt idx="136">
                  <c:v>41556</c:v>
                </c:pt>
                <c:pt idx="137">
                  <c:v>41557</c:v>
                </c:pt>
                <c:pt idx="138">
                  <c:v>41558</c:v>
                </c:pt>
                <c:pt idx="139">
                  <c:v>41561</c:v>
                </c:pt>
                <c:pt idx="140">
                  <c:v>41562</c:v>
                </c:pt>
                <c:pt idx="141">
                  <c:v>41563</c:v>
                </c:pt>
                <c:pt idx="142">
                  <c:v>41564</c:v>
                </c:pt>
                <c:pt idx="143">
                  <c:v>41565</c:v>
                </c:pt>
                <c:pt idx="144">
                  <c:v>41568</c:v>
                </c:pt>
                <c:pt idx="145">
                  <c:v>41569</c:v>
                </c:pt>
                <c:pt idx="146">
                  <c:v>41570</c:v>
                </c:pt>
                <c:pt idx="147">
                  <c:v>41571</c:v>
                </c:pt>
                <c:pt idx="148">
                  <c:v>41572</c:v>
                </c:pt>
                <c:pt idx="149">
                  <c:v>41575</c:v>
                </c:pt>
                <c:pt idx="150">
                  <c:v>41576</c:v>
                </c:pt>
                <c:pt idx="151">
                  <c:v>41577</c:v>
                </c:pt>
                <c:pt idx="152">
                  <c:v>41578</c:v>
                </c:pt>
                <c:pt idx="153">
                  <c:v>41579</c:v>
                </c:pt>
                <c:pt idx="154">
                  <c:v>41583</c:v>
                </c:pt>
                <c:pt idx="155">
                  <c:v>41584</c:v>
                </c:pt>
                <c:pt idx="156">
                  <c:v>41585</c:v>
                </c:pt>
                <c:pt idx="157">
                  <c:v>41586</c:v>
                </c:pt>
                <c:pt idx="158">
                  <c:v>41589</c:v>
                </c:pt>
                <c:pt idx="159">
                  <c:v>41590</c:v>
                </c:pt>
                <c:pt idx="160">
                  <c:v>41591</c:v>
                </c:pt>
                <c:pt idx="161">
                  <c:v>41592</c:v>
                </c:pt>
                <c:pt idx="162">
                  <c:v>41593</c:v>
                </c:pt>
                <c:pt idx="163">
                  <c:v>41596</c:v>
                </c:pt>
                <c:pt idx="164">
                  <c:v>41597</c:v>
                </c:pt>
                <c:pt idx="165">
                  <c:v>41598</c:v>
                </c:pt>
                <c:pt idx="166">
                  <c:v>41599</c:v>
                </c:pt>
                <c:pt idx="167">
                  <c:v>41600</c:v>
                </c:pt>
                <c:pt idx="168">
                  <c:v>41603</c:v>
                </c:pt>
                <c:pt idx="169">
                  <c:v>41604</c:v>
                </c:pt>
                <c:pt idx="170">
                  <c:v>41605</c:v>
                </c:pt>
                <c:pt idx="171">
                  <c:v>41606</c:v>
                </c:pt>
                <c:pt idx="172">
                  <c:v>41607</c:v>
                </c:pt>
                <c:pt idx="173">
                  <c:v>41610</c:v>
                </c:pt>
                <c:pt idx="174">
                  <c:v>41611</c:v>
                </c:pt>
                <c:pt idx="175">
                  <c:v>41612</c:v>
                </c:pt>
                <c:pt idx="176">
                  <c:v>41613</c:v>
                </c:pt>
                <c:pt idx="177">
                  <c:v>41614</c:v>
                </c:pt>
                <c:pt idx="178">
                  <c:v>41617</c:v>
                </c:pt>
                <c:pt idx="179">
                  <c:v>41618</c:v>
                </c:pt>
                <c:pt idx="180">
                  <c:v>41619</c:v>
                </c:pt>
                <c:pt idx="181">
                  <c:v>41620</c:v>
                </c:pt>
                <c:pt idx="182">
                  <c:v>41621</c:v>
                </c:pt>
                <c:pt idx="183">
                  <c:v>41624</c:v>
                </c:pt>
                <c:pt idx="184">
                  <c:v>41625</c:v>
                </c:pt>
                <c:pt idx="185">
                  <c:v>41626</c:v>
                </c:pt>
                <c:pt idx="186">
                  <c:v>41627</c:v>
                </c:pt>
                <c:pt idx="187">
                  <c:v>41628</c:v>
                </c:pt>
                <c:pt idx="188">
                  <c:v>41631</c:v>
                </c:pt>
                <c:pt idx="189">
                  <c:v>41632</c:v>
                </c:pt>
                <c:pt idx="190">
                  <c:v>41633</c:v>
                </c:pt>
                <c:pt idx="191">
                  <c:v>41634</c:v>
                </c:pt>
                <c:pt idx="192">
                  <c:v>41635</c:v>
                </c:pt>
                <c:pt idx="193">
                  <c:v>41648</c:v>
                </c:pt>
                <c:pt idx="194">
                  <c:v>41649</c:v>
                </c:pt>
                <c:pt idx="195">
                  <c:v>41652</c:v>
                </c:pt>
                <c:pt idx="196">
                  <c:v>41653</c:v>
                </c:pt>
                <c:pt idx="197">
                  <c:v>41654</c:v>
                </c:pt>
                <c:pt idx="198">
                  <c:v>41655</c:v>
                </c:pt>
                <c:pt idx="199">
                  <c:v>41656</c:v>
                </c:pt>
                <c:pt idx="200">
                  <c:v>41659</c:v>
                </c:pt>
                <c:pt idx="201">
                  <c:v>41660</c:v>
                </c:pt>
                <c:pt idx="202">
                  <c:v>41661</c:v>
                </c:pt>
                <c:pt idx="203">
                  <c:v>41662</c:v>
                </c:pt>
                <c:pt idx="204">
                  <c:v>41663</c:v>
                </c:pt>
                <c:pt idx="205">
                  <c:v>41666</c:v>
                </c:pt>
                <c:pt idx="206">
                  <c:v>41667</c:v>
                </c:pt>
                <c:pt idx="207">
                  <c:v>41668</c:v>
                </c:pt>
                <c:pt idx="208">
                  <c:v>41669</c:v>
                </c:pt>
                <c:pt idx="209">
                  <c:v>41670</c:v>
                </c:pt>
                <c:pt idx="210">
                  <c:v>41673</c:v>
                </c:pt>
                <c:pt idx="211">
                  <c:v>41674</c:v>
                </c:pt>
                <c:pt idx="212">
                  <c:v>41675</c:v>
                </c:pt>
                <c:pt idx="213">
                  <c:v>41676</c:v>
                </c:pt>
                <c:pt idx="214">
                  <c:v>41677</c:v>
                </c:pt>
                <c:pt idx="215">
                  <c:v>41680</c:v>
                </c:pt>
                <c:pt idx="216">
                  <c:v>41681</c:v>
                </c:pt>
                <c:pt idx="217">
                  <c:v>41682</c:v>
                </c:pt>
                <c:pt idx="218">
                  <c:v>41683</c:v>
                </c:pt>
                <c:pt idx="219">
                  <c:v>41684</c:v>
                </c:pt>
                <c:pt idx="220">
                  <c:v>41687</c:v>
                </c:pt>
                <c:pt idx="221">
                  <c:v>41688</c:v>
                </c:pt>
                <c:pt idx="222">
                  <c:v>41689</c:v>
                </c:pt>
                <c:pt idx="223">
                  <c:v>41690</c:v>
                </c:pt>
                <c:pt idx="224">
                  <c:v>41691</c:v>
                </c:pt>
                <c:pt idx="225">
                  <c:v>41694</c:v>
                </c:pt>
                <c:pt idx="226">
                  <c:v>41695</c:v>
                </c:pt>
                <c:pt idx="227">
                  <c:v>41696</c:v>
                </c:pt>
                <c:pt idx="228">
                  <c:v>41697</c:v>
                </c:pt>
                <c:pt idx="229">
                  <c:v>41698</c:v>
                </c:pt>
                <c:pt idx="230">
                  <c:v>41701</c:v>
                </c:pt>
                <c:pt idx="231">
                  <c:v>41702</c:v>
                </c:pt>
                <c:pt idx="232">
                  <c:v>41703</c:v>
                </c:pt>
                <c:pt idx="233">
                  <c:v>41704</c:v>
                </c:pt>
                <c:pt idx="234">
                  <c:v>41705</c:v>
                </c:pt>
                <c:pt idx="235">
                  <c:v>41709</c:v>
                </c:pt>
                <c:pt idx="236">
                  <c:v>41710</c:v>
                </c:pt>
                <c:pt idx="237">
                  <c:v>41711</c:v>
                </c:pt>
                <c:pt idx="238">
                  <c:v>41712</c:v>
                </c:pt>
                <c:pt idx="239">
                  <c:v>41715</c:v>
                </c:pt>
                <c:pt idx="240">
                  <c:v>41716</c:v>
                </c:pt>
                <c:pt idx="241">
                  <c:v>41717</c:v>
                </c:pt>
                <c:pt idx="242">
                  <c:v>41718</c:v>
                </c:pt>
                <c:pt idx="243">
                  <c:v>41719</c:v>
                </c:pt>
                <c:pt idx="244">
                  <c:v>41722</c:v>
                </c:pt>
                <c:pt idx="245">
                  <c:v>41723</c:v>
                </c:pt>
                <c:pt idx="246">
                  <c:v>41724</c:v>
                </c:pt>
                <c:pt idx="247">
                  <c:v>41725</c:v>
                </c:pt>
                <c:pt idx="248">
                  <c:v>41726</c:v>
                </c:pt>
                <c:pt idx="249">
                  <c:v>41729</c:v>
                </c:pt>
                <c:pt idx="250">
                  <c:v>41730</c:v>
                </c:pt>
                <c:pt idx="251">
                  <c:v>41731</c:v>
                </c:pt>
                <c:pt idx="252">
                  <c:v>41732</c:v>
                </c:pt>
                <c:pt idx="253">
                  <c:v>41733</c:v>
                </c:pt>
                <c:pt idx="254">
                  <c:v>41736</c:v>
                </c:pt>
                <c:pt idx="255">
                  <c:v>41737</c:v>
                </c:pt>
                <c:pt idx="256">
                  <c:v>41738</c:v>
                </c:pt>
                <c:pt idx="257">
                  <c:v>41739</c:v>
                </c:pt>
                <c:pt idx="258">
                  <c:v>41740</c:v>
                </c:pt>
                <c:pt idx="259">
                  <c:v>41743</c:v>
                </c:pt>
                <c:pt idx="260">
                  <c:v>41744</c:v>
                </c:pt>
                <c:pt idx="261">
                  <c:v>41745</c:v>
                </c:pt>
                <c:pt idx="262">
                  <c:v>41746</c:v>
                </c:pt>
                <c:pt idx="263">
                  <c:v>41747</c:v>
                </c:pt>
                <c:pt idx="264">
                  <c:v>41750</c:v>
                </c:pt>
                <c:pt idx="265">
                  <c:v>41751</c:v>
                </c:pt>
                <c:pt idx="266">
                  <c:v>41752</c:v>
                </c:pt>
                <c:pt idx="267">
                  <c:v>41753</c:v>
                </c:pt>
                <c:pt idx="268">
                  <c:v>41754</c:v>
                </c:pt>
                <c:pt idx="269">
                  <c:v>41757</c:v>
                </c:pt>
                <c:pt idx="270">
                  <c:v>41758</c:v>
                </c:pt>
                <c:pt idx="271">
                  <c:v>41759</c:v>
                </c:pt>
                <c:pt idx="272">
                  <c:v>41764</c:v>
                </c:pt>
                <c:pt idx="273">
                  <c:v>41765</c:v>
                </c:pt>
                <c:pt idx="274">
                  <c:v>41766</c:v>
                </c:pt>
                <c:pt idx="275">
                  <c:v>41767</c:v>
                </c:pt>
                <c:pt idx="276">
                  <c:v>41771</c:v>
                </c:pt>
                <c:pt idx="277">
                  <c:v>41772</c:v>
                </c:pt>
                <c:pt idx="278">
                  <c:v>41773</c:v>
                </c:pt>
                <c:pt idx="279">
                  <c:v>41774</c:v>
                </c:pt>
                <c:pt idx="280">
                  <c:v>41775</c:v>
                </c:pt>
                <c:pt idx="281">
                  <c:v>41778</c:v>
                </c:pt>
                <c:pt idx="282">
                  <c:v>41779</c:v>
                </c:pt>
                <c:pt idx="283">
                  <c:v>41780</c:v>
                </c:pt>
                <c:pt idx="284">
                  <c:v>41781</c:v>
                </c:pt>
                <c:pt idx="285">
                  <c:v>41782</c:v>
                </c:pt>
                <c:pt idx="286">
                  <c:v>41785</c:v>
                </c:pt>
                <c:pt idx="287">
                  <c:v>41786</c:v>
                </c:pt>
                <c:pt idx="288">
                  <c:v>41787</c:v>
                </c:pt>
                <c:pt idx="289">
                  <c:v>41788</c:v>
                </c:pt>
                <c:pt idx="290">
                  <c:v>41789</c:v>
                </c:pt>
                <c:pt idx="291">
                  <c:v>41792</c:v>
                </c:pt>
                <c:pt idx="292">
                  <c:v>41793</c:v>
                </c:pt>
                <c:pt idx="293">
                  <c:v>41794</c:v>
                </c:pt>
                <c:pt idx="294">
                  <c:v>41795</c:v>
                </c:pt>
                <c:pt idx="295">
                  <c:v>41796</c:v>
                </c:pt>
                <c:pt idx="296">
                  <c:v>41799</c:v>
                </c:pt>
                <c:pt idx="297">
                  <c:v>41800</c:v>
                </c:pt>
                <c:pt idx="298">
                  <c:v>41801</c:v>
                </c:pt>
                <c:pt idx="299">
                  <c:v>41806</c:v>
                </c:pt>
                <c:pt idx="300">
                  <c:v>41807</c:v>
                </c:pt>
                <c:pt idx="301">
                  <c:v>41808</c:v>
                </c:pt>
                <c:pt idx="302">
                  <c:v>41809</c:v>
                </c:pt>
                <c:pt idx="303">
                  <c:v>41810</c:v>
                </c:pt>
                <c:pt idx="304">
                  <c:v>41813</c:v>
                </c:pt>
                <c:pt idx="305">
                  <c:v>41814</c:v>
                </c:pt>
                <c:pt idx="306">
                  <c:v>41815</c:v>
                </c:pt>
                <c:pt idx="307">
                  <c:v>41816</c:v>
                </c:pt>
                <c:pt idx="308">
                  <c:v>41817</c:v>
                </c:pt>
                <c:pt idx="309">
                  <c:v>41820</c:v>
                </c:pt>
                <c:pt idx="310">
                  <c:v>41821</c:v>
                </c:pt>
                <c:pt idx="311">
                  <c:v>41822</c:v>
                </c:pt>
                <c:pt idx="312">
                  <c:v>41823</c:v>
                </c:pt>
                <c:pt idx="313">
                  <c:v>41824</c:v>
                </c:pt>
                <c:pt idx="314">
                  <c:v>41827</c:v>
                </c:pt>
                <c:pt idx="315">
                  <c:v>41828</c:v>
                </c:pt>
                <c:pt idx="316">
                  <c:v>41829</c:v>
                </c:pt>
                <c:pt idx="317">
                  <c:v>41830</c:v>
                </c:pt>
                <c:pt idx="318">
                  <c:v>41831</c:v>
                </c:pt>
                <c:pt idx="319">
                  <c:v>41834</c:v>
                </c:pt>
                <c:pt idx="320">
                  <c:v>41835</c:v>
                </c:pt>
                <c:pt idx="321">
                  <c:v>41836</c:v>
                </c:pt>
                <c:pt idx="322">
                  <c:v>41837</c:v>
                </c:pt>
                <c:pt idx="323">
                  <c:v>41838</c:v>
                </c:pt>
                <c:pt idx="324">
                  <c:v>41841</c:v>
                </c:pt>
                <c:pt idx="325">
                  <c:v>41842</c:v>
                </c:pt>
                <c:pt idx="326">
                  <c:v>41843</c:v>
                </c:pt>
                <c:pt idx="327">
                  <c:v>41844</c:v>
                </c:pt>
                <c:pt idx="328">
                  <c:v>41845</c:v>
                </c:pt>
                <c:pt idx="329">
                  <c:v>41848</c:v>
                </c:pt>
                <c:pt idx="330">
                  <c:v>41849</c:v>
                </c:pt>
                <c:pt idx="331">
                  <c:v>41850</c:v>
                </c:pt>
                <c:pt idx="332">
                  <c:v>41851</c:v>
                </c:pt>
                <c:pt idx="333">
                  <c:v>41852</c:v>
                </c:pt>
                <c:pt idx="334">
                  <c:v>41855</c:v>
                </c:pt>
                <c:pt idx="335">
                  <c:v>41856</c:v>
                </c:pt>
                <c:pt idx="336">
                  <c:v>41857</c:v>
                </c:pt>
                <c:pt idx="337">
                  <c:v>41858</c:v>
                </c:pt>
                <c:pt idx="338">
                  <c:v>41859</c:v>
                </c:pt>
                <c:pt idx="339">
                  <c:v>41862</c:v>
                </c:pt>
                <c:pt idx="340">
                  <c:v>41863</c:v>
                </c:pt>
                <c:pt idx="341">
                  <c:v>41864</c:v>
                </c:pt>
                <c:pt idx="342">
                  <c:v>41865</c:v>
                </c:pt>
                <c:pt idx="343">
                  <c:v>41866</c:v>
                </c:pt>
                <c:pt idx="344">
                  <c:v>41869</c:v>
                </c:pt>
                <c:pt idx="345">
                  <c:v>41870</c:v>
                </c:pt>
                <c:pt idx="346">
                  <c:v>41871</c:v>
                </c:pt>
                <c:pt idx="347">
                  <c:v>41872</c:v>
                </c:pt>
                <c:pt idx="348">
                  <c:v>41873</c:v>
                </c:pt>
                <c:pt idx="349">
                  <c:v>41876</c:v>
                </c:pt>
                <c:pt idx="350">
                  <c:v>41877</c:v>
                </c:pt>
                <c:pt idx="351">
                  <c:v>41878</c:v>
                </c:pt>
                <c:pt idx="352">
                  <c:v>41879</c:v>
                </c:pt>
                <c:pt idx="353">
                  <c:v>41880</c:v>
                </c:pt>
                <c:pt idx="354">
                  <c:v>41883</c:v>
                </c:pt>
                <c:pt idx="355">
                  <c:v>41884</c:v>
                </c:pt>
                <c:pt idx="356">
                  <c:v>41885</c:v>
                </c:pt>
                <c:pt idx="357">
                  <c:v>41886</c:v>
                </c:pt>
                <c:pt idx="358">
                  <c:v>41887</c:v>
                </c:pt>
                <c:pt idx="359">
                  <c:v>41890</c:v>
                </c:pt>
                <c:pt idx="360">
                  <c:v>41891</c:v>
                </c:pt>
                <c:pt idx="361">
                  <c:v>41892</c:v>
                </c:pt>
                <c:pt idx="362">
                  <c:v>41893</c:v>
                </c:pt>
                <c:pt idx="363">
                  <c:v>41894</c:v>
                </c:pt>
                <c:pt idx="364">
                  <c:v>41897</c:v>
                </c:pt>
                <c:pt idx="365">
                  <c:v>41898</c:v>
                </c:pt>
                <c:pt idx="366">
                  <c:v>41899</c:v>
                </c:pt>
                <c:pt idx="367">
                  <c:v>41900</c:v>
                </c:pt>
                <c:pt idx="368">
                  <c:v>41901</c:v>
                </c:pt>
                <c:pt idx="369">
                  <c:v>41904</c:v>
                </c:pt>
                <c:pt idx="370">
                  <c:v>41905</c:v>
                </c:pt>
                <c:pt idx="371">
                  <c:v>41906</c:v>
                </c:pt>
                <c:pt idx="372">
                  <c:v>41907</c:v>
                </c:pt>
                <c:pt idx="373">
                  <c:v>41908</c:v>
                </c:pt>
                <c:pt idx="374">
                  <c:v>41911</c:v>
                </c:pt>
                <c:pt idx="375">
                  <c:v>41912</c:v>
                </c:pt>
                <c:pt idx="376">
                  <c:v>41913</c:v>
                </c:pt>
                <c:pt idx="377">
                  <c:v>41914</c:v>
                </c:pt>
                <c:pt idx="378">
                  <c:v>41915</c:v>
                </c:pt>
                <c:pt idx="379">
                  <c:v>41918</c:v>
                </c:pt>
                <c:pt idx="380">
                  <c:v>41919</c:v>
                </c:pt>
                <c:pt idx="381">
                  <c:v>41920</c:v>
                </c:pt>
                <c:pt idx="382">
                  <c:v>41921</c:v>
                </c:pt>
                <c:pt idx="383">
                  <c:v>41922</c:v>
                </c:pt>
                <c:pt idx="384">
                  <c:v>41925</c:v>
                </c:pt>
                <c:pt idx="385">
                  <c:v>41926</c:v>
                </c:pt>
                <c:pt idx="386">
                  <c:v>41927</c:v>
                </c:pt>
                <c:pt idx="387">
                  <c:v>41928</c:v>
                </c:pt>
                <c:pt idx="388">
                  <c:v>41929</c:v>
                </c:pt>
                <c:pt idx="389">
                  <c:v>41932</c:v>
                </c:pt>
                <c:pt idx="390">
                  <c:v>41933</c:v>
                </c:pt>
                <c:pt idx="391">
                  <c:v>41934</c:v>
                </c:pt>
                <c:pt idx="392">
                  <c:v>41935</c:v>
                </c:pt>
                <c:pt idx="393">
                  <c:v>41936</c:v>
                </c:pt>
                <c:pt idx="394">
                  <c:v>41939</c:v>
                </c:pt>
                <c:pt idx="395">
                  <c:v>41940</c:v>
                </c:pt>
                <c:pt idx="396">
                  <c:v>41941</c:v>
                </c:pt>
                <c:pt idx="397">
                  <c:v>41942</c:v>
                </c:pt>
                <c:pt idx="398">
                  <c:v>41943</c:v>
                </c:pt>
                <c:pt idx="399">
                  <c:v>41948</c:v>
                </c:pt>
                <c:pt idx="400">
                  <c:v>41949</c:v>
                </c:pt>
                <c:pt idx="401">
                  <c:v>41950</c:v>
                </c:pt>
                <c:pt idx="402">
                  <c:v>41953</c:v>
                </c:pt>
                <c:pt idx="403">
                  <c:v>41954</c:v>
                </c:pt>
                <c:pt idx="404">
                  <c:v>41955</c:v>
                </c:pt>
                <c:pt idx="405">
                  <c:v>41956</c:v>
                </c:pt>
                <c:pt idx="406">
                  <c:v>41957</c:v>
                </c:pt>
                <c:pt idx="407">
                  <c:v>41960</c:v>
                </c:pt>
                <c:pt idx="408">
                  <c:v>41961</c:v>
                </c:pt>
                <c:pt idx="409">
                  <c:v>41962</c:v>
                </c:pt>
                <c:pt idx="410">
                  <c:v>41963</c:v>
                </c:pt>
                <c:pt idx="411">
                  <c:v>41964</c:v>
                </c:pt>
                <c:pt idx="412">
                  <c:v>41967</c:v>
                </c:pt>
                <c:pt idx="413">
                  <c:v>41968</c:v>
                </c:pt>
                <c:pt idx="414">
                  <c:v>41969</c:v>
                </c:pt>
                <c:pt idx="415">
                  <c:v>41970</c:v>
                </c:pt>
                <c:pt idx="416">
                  <c:v>41971</c:v>
                </c:pt>
                <c:pt idx="417">
                  <c:v>41974</c:v>
                </c:pt>
                <c:pt idx="418">
                  <c:v>41975</c:v>
                </c:pt>
                <c:pt idx="419">
                  <c:v>41976</c:v>
                </c:pt>
                <c:pt idx="420">
                  <c:v>41977</c:v>
                </c:pt>
                <c:pt idx="421">
                  <c:v>41978</c:v>
                </c:pt>
                <c:pt idx="422">
                  <c:v>41981</c:v>
                </c:pt>
                <c:pt idx="423">
                  <c:v>41982</c:v>
                </c:pt>
                <c:pt idx="424">
                  <c:v>41983</c:v>
                </c:pt>
                <c:pt idx="425">
                  <c:v>41984</c:v>
                </c:pt>
                <c:pt idx="426">
                  <c:v>41985</c:v>
                </c:pt>
                <c:pt idx="427">
                  <c:v>41988</c:v>
                </c:pt>
                <c:pt idx="428">
                  <c:v>41989</c:v>
                </c:pt>
                <c:pt idx="429">
                  <c:v>41990</c:v>
                </c:pt>
                <c:pt idx="430">
                  <c:v>41991</c:v>
                </c:pt>
                <c:pt idx="431">
                  <c:v>41992</c:v>
                </c:pt>
                <c:pt idx="432">
                  <c:v>41995</c:v>
                </c:pt>
                <c:pt idx="433">
                  <c:v>41996</c:v>
                </c:pt>
                <c:pt idx="434">
                  <c:v>41997</c:v>
                </c:pt>
                <c:pt idx="435">
                  <c:v>41998</c:v>
                </c:pt>
                <c:pt idx="436">
                  <c:v>41999</c:v>
                </c:pt>
                <c:pt idx="437">
                  <c:v>42016</c:v>
                </c:pt>
                <c:pt idx="438">
                  <c:v>42017</c:v>
                </c:pt>
                <c:pt idx="439">
                  <c:v>42018</c:v>
                </c:pt>
                <c:pt idx="440">
                  <c:v>42019</c:v>
                </c:pt>
                <c:pt idx="441">
                  <c:v>42020</c:v>
                </c:pt>
                <c:pt idx="442">
                  <c:v>42023</c:v>
                </c:pt>
                <c:pt idx="443">
                  <c:v>42024</c:v>
                </c:pt>
                <c:pt idx="444">
                  <c:v>42025</c:v>
                </c:pt>
                <c:pt idx="445">
                  <c:v>42026</c:v>
                </c:pt>
                <c:pt idx="446">
                  <c:v>42027</c:v>
                </c:pt>
                <c:pt idx="447">
                  <c:v>42030</c:v>
                </c:pt>
                <c:pt idx="448">
                  <c:v>42031</c:v>
                </c:pt>
              </c:numCache>
            </c:numRef>
          </c:cat>
          <c:val>
            <c:numRef>
              <c:f>Индексы_Мир_СПбМТСБ!$B$1014:$B$1462</c:f>
              <c:numCache>
                <c:formatCode>General</c:formatCode>
                <c:ptCount val="449"/>
                <c:pt idx="0">
                  <c:v>108.18</c:v>
                </c:pt>
                <c:pt idx="1">
                  <c:v>109.4</c:v>
                </c:pt>
                <c:pt idx="2">
                  <c:v>109.84</c:v>
                </c:pt>
                <c:pt idx="3">
                  <c:v>109.77</c:v>
                </c:pt>
                <c:pt idx="4">
                  <c:v>109.89</c:v>
                </c:pt>
                <c:pt idx="5">
                  <c:v>110.76</c:v>
                </c:pt>
                <c:pt idx="6">
                  <c:v>110.34</c:v>
                </c:pt>
                <c:pt idx="7">
                  <c:v>106.89</c:v>
                </c:pt>
                <c:pt idx="8">
                  <c:v>106.27</c:v>
                </c:pt>
                <c:pt idx="9">
                  <c:v>104.38</c:v>
                </c:pt>
                <c:pt idx="10">
                  <c:v>104.9</c:v>
                </c:pt>
                <c:pt idx="11">
                  <c:v>106.15</c:v>
                </c:pt>
                <c:pt idx="12">
                  <c:v>105.65</c:v>
                </c:pt>
                <c:pt idx="13">
                  <c:v>104.41</c:v>
                </c:pt>
                <c:pt idx="14">
                  <c:v>102.85</c:v>
                </c:pt>
                <c:pt idx="15">
                  <c:v>99.31</c:v>
                </c:pt>
                <c:pt idx="16">
                  <c:v>100.1</c:v>
                </c:pt>
                <c:pt idx="17">
                  <c:v>97.4</c:v>
                </c:pt>
                <c:pt idx="18">
                  <c:v>99.6</c:v>
                </c:pt>
                <c:pt idx="19">
                  <c:v>99.53</c:v>
                </c:pt>
                <c:pt idx="20">
                  <c:v>100.37</c:v>
                </c:pt>
                <c:pt idx="21">
                  <c:v>100.5</c:v>
                </c:pt>
                <c:pt idx="22">
                  <c:v>101.82</c:v>
                </c:pt>
                <c:pt idx="23">
                  <c:v>103.11</c:v>
                </c:pt>
                <c:pt idx="24">
                  <c:v>102.85</c:v>
                </c:pt>
                <c:pt idx="25">
                  <c:v>103.76</c:v>
                </c:pt>
                <c:pt idx="26">
                  <c:v>101.74</c:v>
                </c:pt>
                <c:pt idx="27">
                  <c:v>104.99</c:v>
                </c:pt>
                <c:pt idx="28">
                  <c:v>103.75</c:v>
                </c:pt>
                <c:pt idx="29">
                  <c:v>104.02</c:v>
                </c:pt>
                <c:pt idx="30">
                  <c:v>102.64</c:v>
                </c:pt>
                <c:pt idx="31">
                  <c:v>102.53</c:v>
                </c:pt>
                <c:pt idx="32">
                  <c:v>103.65</c:v>
                </c:pt>
                <c:pt idx="33">
                  <c:v>103.84</c:v>
                </c:pt>
                <c:pt idx="34">
                  <c:v>104.72</c:v>
                </c:pt>
                <c:pt idx="35">
                  <c:v>104.79</c:v>
                </c:pt>
                <c:pt idx="36">
                  <c:v>103.63</c:v>
                </c:pt>
                <c:pt idx="37">
                  <c:v>102.32</c:v>
                </c:pt>
                <c:pt idx="38">
                  <c:v>102.66</c:v>
                </c:pt>
                <c:pt idx="39">
                  <c:v>102.78</c:v>
                </c:pt>
                <c:pt idx="40">
                  <c:v>102.5</c:v>
                </c:pt>
                <c:pt idx="41">
                  <c:v>104.35</c:v>
                </c:pt>
                <c:pt idx="42">
                  <c:v>102.18</c:v>
                </c:pt>
                <c:pt idx="43">
                  <c:v>102.24</c:v>
                </c:pt>
                <c:pt idx="44">
                  <c:v>100.15</c:v>
                </c:pt>
                <c:pt idx="45">
                  <c:v>101.9</c:v>
                </c:pt>
                <c:pt idx="46">
                  <c:v>103.18</c:v>
                </c:pt>
                <c:pt idx="47">
                  <c:v>102.63</c:v>
                </c:pt>
                <c:pt idx="48">
                  <c:v>103.19</c:v>
                </c:pt>
                <c:pt idx="49">
                  <c:v>104.48</c:v>
                </c:pt>
                <c:pt idx="50">
                  <c:v>103.74</c:v>
                </c:pt>
                <c:pt idx="51">
                  <c:v>102.64</c:v>
                </c:pt>
                <c:pt idx="52">
                  <c:v>104.95</c:v>
                </c:pt>
                <c:pt idx="53">
                  <c:v>105.84</c:v>
                </c:pt>
                <c:pt idx="54">
                  <c:v>105.62</c:v>
                </c:pt>
                <c:pt idx="55">
                  <c:v>106.1</c:v>
                </c:pt>
                <c:pt idx="56">
                  <c:v>105.87</c:v>
                </c:pt>
                <c:pt idx="57">
                  <c:v>102.06</c:v>
                </c:pt>
                <c:pt idx="58">
                  <c:v>101.09</c:v>
                </c:pt>
                <c:pt idx="59">
                  <c:v>101.07</c:v>
                </c:pt>
                <c:pt idx="60">
                  <c:v>101.17</c:v>
                </c:pt>
                <c:pt idx="61">
                  <c:v>101.8</c:v>
                </c:pt>
                <c:pt idx="62">
                  <c:v>102.65</c:v>
                </c:pt>
                <c:pt idx="63">
                  <c:v>101.99</c:v>
                </c:pt>
                <c:pt idx="64">
                  <c:v>102.52</c:v>
                </c:pt>
                <c:pt idx="65">
                  <c:v>103.41</c:v>
                </c:pt>
                <c:pt idx="66">
                  <c:v>105.21</c:v>
                </c:pt>
                <c:pt idx="67">
                  <c:v>104.84</c:v>
                </c:pt>
                <c:pt idx="68">
                  <c:v>107.06</c:v>
                </c:pt>
                <c:pt idx="69">
                  <c:v>106.49</c:v>
                </c:pt>
                <c:pt idx="70">
                  <c:v>107.35</c:v>
                </c:pt>
                <c:pt idx="71">
                  <c:v>107.34</c:v>
                </c:pt>
                <c:pt idx="72">
                  <c:v>106.64</c:v>
                </c:pt>
                <c:pt idx="73">
                  <c:v>108.2</c:v>
                </c:pt>
                <c:pt idx="74">
                  <c:v>108.08</c:v>
                </c:pt>
                <c:pt idx="75">
                  <c:v>107.93</c:v>
                </c:pt>
                <c:pt idx="76">
                  <c:v>108.74</c:v>
                </c:pt>
                <c:pt idx="77">
                  <c:v>108.83</c:v>
                </c:pt>
                <c:pt idx="78">
                  <c:v>108.3</c:v>
                </c:pt>
                <c:pt idx="79">
                  <c:v>108.16</c:v>
                </c:pt>
                <c:pt idx="80">
                  <c:v>108.41</c:v>
                </c:pt>
                <c:pt idx="81">
                  <c:v>107.05</c:v>
                </c:pt>
                <c:pt idx="82">
                  <c:v>107.65</c:v>
                </c:pt>
                <c:pt idx="83">
                  <c:v>107.19</c:v>
                </c:pt>
                <c:pt idx="84">
                  <c:v>107.51</c:v>
                </c:pt>
                <c:pt idx="85">
                  <c:v>106.84</c:v>
                </c:pt>
                <c:pt idx="86">
                  <c:v>107.7</c:v>
                </c:pt>
                <c:pt idx="87">
                  <c:v>108.51</c:v>
                </c:pt>
                <c:pt idx="88">
                  <c:v>108.07</c:v>
                </c:pt>
                <c:pt idx="89">
                  <c:v>107.71</c:v>
                </c:pt>
                <c:pt idx="90">
                  <c:v>107.19</c:v>
                </c:pt>
                <c:pt idx="91">
                  <c:v>106.08</c:v>
                </c:pt>
                <c:pt idx="92">
                  <c:v>105.5</c:v>
                </c:pt>
                <c:pt idx="93">
                  <c:v>106.87</c:v>
                </c:pt>
                <c:pt idx="94">
                  <c:v>107.86</c:v>
                </c:pt>
                <c:pt idx="95">
                  <c:v>108.1</c:v>
                </c:pt>
                <c:pt idx="96">
                  <c:v>108.96</c:v>
                </c:pt>
                <c:pt idx="97">
                  <c:v>109.32</c:v>
                </c:pt>
                <c:pt idx="98">
                  <c:v>110.42</c:v>
                </c:pt>
                <c:pt idx="99">
                  <c:v>109.59</c:v>
                </c:pt>
                <c:pt idx="100">
                  <c:v>110.15</c:v>
                </c:pt>
                <c:pt idx="101">
                  <c:v>109.73</c:v>
                </c:pt>
                <c:pt idx="102">
                  <c:v>110</c:v>
                </c:pt>
                <c:pt idx="103">
                  <c:v>111.05</c:v>
                </c:pt>
                <c:pt idx="104">
                  <c:v>110.93</c:v>
                </c:pt>
                <c:pt idx="105">
                  <c:v>115.29</c:v>
                </c:pt>
                <c:pt idx="106">
                  <c:v>116.33</c:v>
                </c:pt>
                <c:pt idx="107">
                  <c:v>114.44</c:v>
                </c:pt>
                <c:pt idx="108">
                  <c:v>114.45</c:v>
                </c:pt>
                <c:pt idx="109">
                  <c:v>112.44</c:v>
                </c:pt>
                <c:pt idx="110">
                  <c:v>113.7</c:v>
                </c:pt>
                <c:pt idx="111">
                  <c:v>113.23</c:v>
                </c:pt>
                <c:pt idx="112">
                  <c:v>113.7</c:v>
                </c:pt>
                <c:pt idx="113">
                  <c:v>114.1</c:v>
                </c:pt>
                <c:pt idx="114">
                  <c:v>111.77</c:v>
                </c:pt>
                <c:pt idx="115" formatCode="#,##0.0">
                  <c:v>109.96</c:v>
                </c:pt>
                <c:pt idx="116" formatCode="#,##0.0">
                  <c:v>110.29</c:v>
                </c:pt>
                <c:pt idx="117" formatCode="#,##0.0">
                  <c:v>111.89</c:v>
                </c:pt>
                <c:pt idx="118" formatCode="#,##0.0">
                  <c:v>111.79</c:v>
                </c:pt>
                <c:pt idx="119" formatCode="#,##0.0">
                  <c:v>109.82</c:v>
                </c:pt>
                <c:pt idx="120" formatCode="#,##0.0">
                  <c:v>107.75</c:v>
                </c:pt>
                <c:pt idx="121" formatCode="#,##0.0">
                  <c:v>110.74</c:v>
                </c:pt>
                <c:pt idx="122" formatCode="#,##0.0">
                  <c:v>108.82</c:v>
                </c:pt>
                <c:pt idx="123" formatCode="#,##0.0">
                  <c:v>109.35</c:v>
                </c:pt>
                <c:pt idx="124" formatCode="#,##0.0">
                  <c:v>108</c:v>
                </c:pt>
                <c:pt idx="125" formatCode="#,##0.0">
                  <c:v>108.77</c:v>
                </c:pt>
                <c:pt idx="126" formatCode="#,##0.0">
                  <c:v>108.06</c:v>
                </c:pt>
                <c:pt idx="127" formatCode="#,##0.0">
                  <c:v>109.22</c:v>
                </c:pt>
                <c:pt idx="128" formatCode="#,##0.0">
                  <c:v>108.43</c:v>
                </c:pt>
                <c:pt idx="129" formatCode="#,##0.0">
                  <c:v>108.2</c:v>
                </c:pt>
                <c:pt idx="130" formatCode="#,##0.0">
                  <c:v>106.92</c:v>
                </c:pt>
                <c:pt idx="131" formatCode="#,##0.0">
                  <c:v>108.03</c:v>
                </c:pt>
                <c:pt idx="132" formatCode="#,##0.0">
                  <c:v>107.69</c:v>
                </c:pt>
                <c:pt idx="133" formatCode="#,##0.0">
                  <c:v>108.46</c:v>
                </c:pt>
                <c:pt idx="134" formatCode="#,##0.0">
                  <c:v>108.74</c:v>
                </c:pt>
                <c:pt idx="135" formatCode="#,##0.0">
                  <c:v>109.42</c:v>
                </c:pt>
                <c:pt idx="136" formatCode="#,##0.0">
                  <c:v>108.25</c:v>
                </c:pt>
                <c:pt idx="137" formatCode="#,##0.0">
                  <c:v>110.87</c:v>
                </c:pt>
                <c:pt idx="138" formatCode="#,##0.0">
                  <c:v>110.29</c:v>
                </c:pt>
                <c:pt idx="139" formatCode="#,##0.0">
                  <c:v>110.18</c:v>
                </c:pt>
                <c:pt idx="140" formatCode="#,##0.0">
                  <c:v>109</c:v>
                </c:pt>
                <c:pt idx="141" formatCode="#,##0.0">
                  <c:v>110.49</c:v>
                </c:pt>
                <c:pt idx="142" formatCode="#,##0.0">
                  <c:v>109</c:v>
                </c:pt>
                <c:pt idx="143" formatCode="#,##0.0">
                  <c:v>109.94</c:v>
                </c:pt>
                <c:pt idx="144" formatCode="#,##0.0">
                  <c:v>109.77</c:v>
                </c:pt>
                <c:pt idx="145" formatCode="#,##0.0">
                  <c:v>110.06</c:v>
                </c:pt>
                <c:pt idx="146" formatCode="#,##0.0">
                  <c:v>107.65</c:v>
                </c:pt>
                <c:pt idx="147" formatCode="#,##0.0">
                  <c:v>106.99</c:v>
                </c:pt>
                <c:pt idx="148" formatCode="#,##0.0">
                  <c:v>107.06</c:v>
                </c:pt>
                <c:pt idx="149" formatCode="#,##0.0">
                  <c:v>109.42</c:v>
                </c:pt>
                <c:pt idx="150" formatCode="#,##0.0">
                  <c:v>108.81</c:v>
                </c:pt>
                <c:pt idx="151" formatCode="#,##0.0">
                  <c:v>109.77</c:v>
                </c:pt>
                <c:pt idx="152" formatCode="#,##0.0">
                  <c:v>108.9</c:v>
                </c:pt>
                <c:pt idx="153">
                  <c:v>106.05</c:v>
                </c:pt>
                <c:pt idx="154">
                  <c:v>105.65</c:v>
                </c:pt>
                <c:pt idx="155">
                  <c:v>104.99</c:v>
                </c:pt>
                <c:pt idx="156">
                  <c:v>103.55</c:v>
                </c:pt>
                <c:pt idx="157">
                  <c:v>105.04</c:v>
                </c:pt>
                <c:pt idx="158">
                  <c:v>106.34</c:v>
                </c:pt>
                <c:pt idx="159">
                  <c:v>105.82</c:v>
                </c:pt>
                <c:pt idx="160">
                  <c:v>106.92</c:v>
                </c:pt>
                <c:pt idx="161">
                  <c:v>108.4</c:v>
                </c:pt>
                <c:pt idx="162">
                  <c:v>108.5</c:v>
                </c:pt>
                <c:pt idx="163">
                  <c:v>108.3</c:v>
                </c:pt>
                <c:pt idx="164">
                  <c:v>107.07</c:v>
                </c:pt>
                <c:pt idx="165">
                  <c:v>107.92</c:v>
                </c:pt>
                <c:pt idx="166">
                  <c:v>110.15</c:v>
                </c:pt>
                <c:pt idx="167">
                  <c:v>110.49</c:v>
                </c:pt>
                <c:pt idx="168">
                  <c:v>111.05</c:v>
                </c:pt>
                <c:pt idx="169">
                  <c:v>111.04</c:v>
                </c:pt>
                <c:pt idx="170">
                  <c:v>111.59</c:v>
                </c:pt>
                <c:pt idx="171">
                  <c:v>110.95</c:v>
                </c:pt>
                <c:pt idx="172">
                  <c:v>110.11</c:v>
                </c:pt>
                <c:pt idx="173">
                  <c:v>111.01</c:v>
                </c:pt>
                <c:pt idx="174">
                  <c:v>112.24</c:v>
                </c:pt>
                <c:pt idx="175">
                  <c:v>111.17</c:v>
                </c:pt>
                <c:pt idx="176">
                  <c:v>110.76</c:v>
                </c:pt>
                <c:pt idx="177">
                  <c:v>111.36</c:v>
                </c:pt>
                <c:pt idx="178">
                  <c:v>108.93</c:v>
                </c:pt>
                <c:pt idx="179">
                  <c:v>109.25</c:v>
                </c:pt>
                <c:pt idx="180">
                  <c:v>109.32</c:v>
                </c:pt>
                <c:pt idx="181">
                  <c:v>108.34</c:v>
                </c:pt>
                <c:pt idx="182">
                  <c:v>108.3</c:v>
                </c:pt>
                <c:pt idx="183">
                  <c:v>109.04</c:v>
                </c:pt>
                <c:pt idx="184">
                  <c:v>108.21</c:v>
                </c:pt>
                <c:pt idx="185">
                  <c:v>109.28</c:v>
                </c:pt>
                <c:pt idx="186">
                  <c:v>110.06</c:v>
                </c:pt>
                <c:pt idx="187">
                  <c:v>111.84</c:v>
                </c:pt>
                <c:pt idx="188">
                  <c:v>111.57</c:v>
                </c:pt>
                <c:pt idx="189">
                  <c:v>112</c:v>
                </c:pt>
                <c:pt idx="191">
                  <c:v>112</c:v>
                </c:pt>
                <c:pt idx="192">
                  <c:v>112.14</c:v>
                </c:pt>
                <c:pt idx="193">
                  <c:v>106</c:v>
                </c:pt>
                <c:pt idx="194">
                  <c:v>106.83</c:v>
                </c:pt>
                <c:pt idx="195">
                  <c:v>105.59</c:v>
                </c:pt>
                <c:pt idx="196">
                  <c:v>105.25</c:v>
                </c:pt>
                <c:pt idx="197">
                  <c:v>105.97</c:v>
                </c:pt>
                <c:pt idx="198">
                  <c:v>105.48</c:v>
                </c:pt>
                <c:pt idx="199">
                  <c:v>106.32</c:v>
                </c:pt>
                <c:pt idx="200">
                  <c:v>106.2</c:v>
                </c:pt>
                <c:pt idx="201">
                  <c:v>106.8</c:v>
                </c:pt>
                <c:pt idx="202">
                  <c:v>108.08</c:v>
                </c:pt>
                <c:pt idx="203">
                  <c:v>107.58</c:v>
                </c:pt>
                <c:pt idx="204">
                  <c:v>107.89</c:v>
                </c:pt>
                <c:pt idx="205">
                  <c:v>106.94</c:v>
                </c:pt>
                <c:pt idx="206">
                  <c:v>107.41</c:v>
                </c:pt>
                <c:pt idx="207">
                  <c:v>107.75</c:v>
                </c:pt>
                <c:pt idx="208">
                  <c:v>107.7</c:v>
                </c:pt>
                <c:pt idx="209">
                  <c:v>105.79</c:v>
                </c:pt>
                <c:pt idx="210">
                  <c:v>105.27</c:v>
                </c:pt>
                <c:pt idx="211">
                  <c:v>105.38</c:v>
                </c:pt>
                <c:pt idx="212">
                  <c:v>105.56</c:v>
                </c:pt>
                <c:pt idx="213">
                  <c:v>106.75</c:v>
                </c:pt>
                <c:pt idx="214">
                  <c:v>108.83</c:v>
                </c:pt>
                <c:pt idx="215">
                  <c:v>107.78</c:v>
                </c:pt>
                <c:pt idx="216">
                  <c:v>108.2</c:v>
                </c:pt>
                <c:pt idx="217">
                  <c:v>108.27</c:v>
                </c:pt>
                <c:pt idx="218">
                  <c:v>108.58</c:v>
                </c:pt>
                <c:pt idx="219">
                  <c:v>109.05</c:v>
                </c:pt>
                <c:pt idx="220">
                  <c:v>109.1</c:v>
                </c:pt>
                <c:pt idx="221">
                  <c:v>110.63</c:v>
                </c:pt>
                <c:pt idx="222">
                  <c:v>110.42</c:v>
                </c:pt>
                <c:pt idx="223">
                  <c:v>110.49</c:v>
                </c:pt>
                <c:pt idx="224">
                  <c:v>109.84</c:v>
                </c:pt>
                <c:pt idx="225">
                  <c:v>110.71</c:v>
                </c:pt>
                <c:pt idx="226">
                  <c:v>109.59</c:v>
                </c:pt>
                <c:pt idx="227">
                  <c:v>109.51</c:v>
                </c:pt>
                <c:pt idx="228">
                  <c:v>108.77</c:v>
                </c:pt>
                <c:pt idx="229">
                  <c:v>108.65</c:v>
                </c:pt>
                <c:pt idx="230">
                  <c:v>110.78</c:v>
                </c:pt>
                <c:pt idx="231">
                  <c:v>108.62</c:v>
                </c:pt>
                <c:pt idx="232">
                  <c:v>107.29</c:v>
                </c:pt>
                <c:pt idx="233">
                  <c:v>107.8</c:v>
                </c:pt>
                <c:pt idx="234">
                  <c:v>108.23</c:v>
                </c:pt>
                <c:pt idx="235">
                  <c:v>107.77</c:v>
                </c:pt>
                <c:pt idx="236">
                  <c:v>107.6</c:v>
                </c:pt>
                <c:pt idx="237">
                  <c:v>106.99</c:v>
                </c:pt>
                <c:pt idx="238">
                  <c:v>108.5</c:v>
                </c:pt>
                <c:pt idx="239">
                  <c:v>106.4</c:v>
                </c:pt>
                <c:pt idx="240">
                  <c:v>106.65</c:v>
                </c:pt>
                <c:pt idx="241">
                  <c:v>105.84</c:v>
                </c:pt>
                <c:pt idx="242">
                  <c:v>106.23</c:v>
                </c:pt>
                <c:pt idx="243">
                  <c:v>107.2</c:v>
                </c:pt>
                <c:pt idx="244">
                  <c:v>106.59</c:v>
                </c:pt>
                <c:pt idx="245">
                  <c:v>106.93</c:v>
                </c:pt>
                <c:pt idx="246">
                  <c:v>107</c:v>
                </c:pt>
                <c:pt idx="247">
                  <c:v>107.69</c:v>
                </c:pt>
                <c:pt idx="248">
                  <c:v>107.97</c:v>
                </c:pt>
                <c:pt idx="249">
                  <c:v>107.7</c:v>
                </c:pt>
                <c:pt idx="250">
                  <c:v>105.31</c:v>
                </c:pt>
                <c:pt idx="251">
                  <c:v>104.7</c:v>
                </c:pt>
                <c:pt idx="252">
                  <c:v>106.14</c:v>
                </c:pt>
                <c:pt idx="253">
                  <c:v>106.57</c:v>
                </c:pt>
                <c:pt idx="254">
                  <c:v>105.98</c:v>
                </c:pt>
                <c:pt idx="255">
                  <c:v>107.48</c:v>
                </c:pt>
                <c:pt idx="256">
                  <c:v>107.9</c:v>
                </c:pt>
                <c:pt idx="257">
                  <c:v>107.39</c:v>
                </c:pt>
                <c:pt idx="258">
                  <c:v>107.15</c:v>
                </c:pt>
                <c:pt idx="259">
                  <c:v>108.96</c:v>
                </c:pt>
                <c:pt idx="260">
                  <c:v>109.18</c:v>
                </c:pt>
                <c:pt idx="261">
                  <c:v>109.71</c:v>
                </c:pt>
                <c:pt idx="262">
                  <c:v>109.76</c:v>
                </c:pt>
                <c:pt idx="263">
                  <c:v>109.72</c:v>
                </c:pt>
                <c:pt idx="264">
                  <c:v>109.96</c:v>
                </c:pt>
                <c:pt idx="265">
                  <c:v>109.37</c:v>
                </c:pt>
                <c:pt idx="266">
                  <c:v>109.14</c:v>
                </c:pt>
                <c:pt idx="267">
                  <c:v>110.41</c:v>
                </c:pt>
                <c:pt idx="268">
                  <c:v>109.39</c:v>
                </c:pt>
                <c:pt idx="269">
                  <c:v>108.12</c:v>
                </c:pt>
                <c:pt idx="270">
                  <c:v>108.91</c:v>
                </c:pt>
                <c:pt idx="271">
                  <c:v>108.14</c:v>
                </c:pt>
                <c:pt idx="272">
                  <c:v>106.98</c:v>
                </c:pt>
                <c:pt idx="273">
                  <c:v>107.22</c:v>
                </c:pt>
                <c:pt idx="274">
                  <c:v>107.53</c:v>
                </c:pt>
                <c:pt idx="275">
                  <c:v>107.49</c:v>
                </c:pt>
                <c:pt idx="276">
                  <c:v>107.77</c:v>
                </c:pt>
                <c:pt idx="277">
                  <c:v>108.65</c:v>
                </c:pt>
                <c:pt idx="278">
                  <c:v>109.2</c:v>
                </c:pt>
                <c:pt idx="279">
                  <c:v>109.02</c:v>
                </c:pt>
                <c:pt idx="280">
                  <c:v>109.68</c:v>
                </c:pt>
                <c:pt idx="281">
                  <c:v>109.36</c:v>
                </c:pt>
                <c:pt idx="282">
                  <c:v>109.84</c:v>
                </c:pt>
                <c:pt idx="283">
                  <c:v>110.54</c:v>
                </c:pt>
                <c:pt idx="284">
                  <c:v>110.39</c:v>
                </c:pt>
                <c:pt idx="285">
                  <c:v>110.44</c:v>
                </c:pt>
                <c:pt idx="286">
                  <c:v>110.39</c:v>
                </c:pt>
                <c:pt idx="287">
                  <c:v>110.19</c:v>
                </c:pt>
                <c:pt idx="288">
                  <c:v>110.06</c:v>
                </c:pt>
                <c:pt idx="289">
                  <c:v>110.07</c:v>
                </c:pt>
                <c:pt idx="290">
                  <c:v>109.49</c:v>
                </c:pt>
                <c:pt idx="291">
                  <c:v>108.17</c:v>
                </c:pt>
                <c:pt idx="292">
                  <c:v>108.18</c:v>
                </c:pt>
                <c:pt idx="293">
                  <c:v>107.43</c:v>
                </c:pt>
                <c:pt idx="294">
                  <c:v>108.19</c:v>
                </c:pt>
                <c:pt idx="295">
                  <c:v>108.01</c:v>
                </c:pt>
                <c:pt idx="296">
                  <c:v>109.1</c:v>
                </c:pt>
                <c:pt idx="297">
                  <c:v>108.98</c:v>
                </c:pt>
                <c:pt idx="298">
                  <c:v>109.51</c:v>
                </c:pt>
                <c:pt idx="299">
                  <c:v>112.83</c:v>
                </c:pt>
                <c:pt idx="300">
                  <c:v>113.31</c:v>
                </c:pt>
                <c:pt idx="301">
                  <c:v>114.14</c:v>
                </c:pt>
                <c:pt idx="302">
                  <c:v>114.92</c:v>
                </c:pt>
                <c:pt idx="303">
                  <c:v>114.68</c:v>
                </c:pt>
                <c:pt idx="304">
                  <c:v>113.97</c:v>
                </c:pt>
                <c:pt idx="305">
                  <c:v>114.13</c:v>
                </c:pt>
                <c:pt idx="306">
                  <c:v>114.22</c:v>
                </c:pt>
                <c:pt idx="307">
                  <c:v>113.02</c:v>
                </c:pt>
                <c:pt idx="308">
                  <c:v>113.18</c:v>
                </c:pt>
                <c:pt idx="309">
                  <c:v>112.4</c:v>
                </c:pt>
                <c:pt idx="310">
                  <c:v>111.85</c:v>
                </c:pt>
                <c:pt idx="311">
                  <c:v>111</c:v>
                </c:pt>
                <c:pt idx="312">
                  <c:v>110.89</c:v>
                </c:pt>
                <c:pt idx="313">
                  <c:v>110.49</c:v>
                </c:pt>
                <c:pt idx="314">
                  <c:v>109.85</c:v>
                </c:pt>
                <c:pt idx="315">
                  <c:v>109.01</c:v>
                </c:pt>
                <c:pt idx="316">
                  <c:v>108.32</c:v>
                </c:pt>
                <c:pt idx="317">
                  <c:v>108.85</c:v>
                </c:pt>
                <c:pt idx="318">
                  <c:v>107.26</c:v>
                </c:pt>
                <c:pt idx="319">
                  <c:v>107.6</c:v>
                </c:pt>
                <c:pt idx="320">
                  <c:v>106.75</c:v>
                </c:pt>
                <c:pt idx="321">
                  <c:v>107.08</c:v>
                </c:pt>
                <c:pt idx="322">
                  <c:v>108.45</c:v>
                </c:pt>
                <c:pt idx="323">
                  <c:v>107.14</c:v>
                </c:pt>
                <c:pt idx="324">
                  <c:v>107.68</c:v>
                </c:pt>
                <c:pt idx="325">
                  <c:v>106.89</c:v>
                </c:pt>
                <c:pt idx="326">
                  <c:v>108.18</c:v>
                </c:pt>
                <c:pt idx="327">
                  <c:v>107.13</c:v>
                </c:pt>
                <c:pt idx="328">
                  <c:v>108.13</c:v>
                </c:pt>
                <c:pt idx="329">
                  <c:v>107.5</c:v>
                </c:pt>
                <c:pt idx="330">
                  <c:v>107.5</c:v>
                </c:pt>
                <c:pt idx="331">
                  <c:v>106.03</c:v>
                </c:pt>
                <c:pt idx="332">
                  <c:v>105.52</c:v>
                </c:pt>
                <c:pt idx="333">
                  <c:v>105.33</c:v>
                </c:pt>
                <c:pt idx="334">
                  <c:v>106.17</c:v>
                </c:pt>
                <c:pt idx="335">
                  <c:v>105.59</c:v>
                </c:pt>
                <c:pt idx="336">
                  <c:v>105.27</c:v>
                </c:pt>
                <c:pt idx="337">
                  <c:v>106.37</c:v>
                </c:pt>
                <c:pt idx="338">
                  <c:v>105.31</c:v>
                </c:pt>
                <c:pt idx="339">
                  <c:v>105.09</c:v>
                </c:pt>
                <c:pt idx="340">
                  <c:v>103.8</c:v>
                </c:pt>
                <c:pt idx="341">
                  <c:v>104.68</c:v>
                </c:pt>
                <c:pt idx="342">
                  <c:v>102.08</c:v>
                </c:pt>
                <c:pt idx="343">
                  <c:v>103.4</c:v>
                </c:pt>
                <c:pt idx="344">
                  <c:v>101.79</c:v>
                </c:pt>
                <c:pt idx="345">
                  <c:v>101.6</c:v>
                </c:pt>
                <c:pt idx="346">
                  <c:v>102.29</c:v>
                </c:pt>
                <c:pt idx="347">
                  <c:v>102.69</c:v>
                </c:pt>
                <c:pt idx="348">
                  <c:v>102.1</c:v>
                </c:pt>
                <c:pt idx="349">
                  <c:v>102.66</c:v>
                </c:pt>
                <c:pt idx="350">
                  <c:v>102.58</c:v>
                </c:pt>
                <c:pt idx="351">
                  <c:v>102.6</c:v>
                </c:pt>
                <c:pt idx="352">
                  <c:v>102.47</c:v>
                </c:pt>
                <c:pt idx="353">
                  <c:v>103.04</c:v>
                </c:pt>
                <c:pt idx="354">
                  <c:v>103.1</c:v>
                </c:pt>
                <c:pt idx="355">
                  <c:v>101.24</c:v>
                </c:pt>
                <c:pt idx="356">
                  <c:v>102.91</c:v>
                </c:pt>
                <c:pt idx="357">
                  <c:v>102.3</c:v>
                </c:pt>
                <c:pt idx="358">
                  <c:v>101.53</c:v>
                </c:pt>
                <c:pt idx="359">
                  <c:v>100.89</c:v>
                </c:pt>
                <c:pt idx="360">
                  <c:v>100</c:v>
                </c:pt>
                <c:pt idx="361">
                  <c:v>98.75</c:v>
                </c:pt>
                <c:pt idx="362">
                  <c:v>98.95</c:v>
                </c:pt>
                <c:pt idx="363">
                  <c:v>97.8</c:v>
                </c:pt>
                <c:pt idx="364">
                  <c:v>98</c:v>
                </c:pt>
                <c:pt idx="365">
                  <c:v>99</c:v>
                </c:pt>
                <c:pt idx="366">
                  <c:v>98.72</c:v>
                </c:pt>
                <c:pt idx="367">
                  <c:v>97.62</c:v>
                </c:pt>
                <c:pt idx="368">
                  <c:v>98.38</c:v>
                </c:pt>
                <c:pt idx="369">
                  <c:v>96.85</c:v>
                </c:pt>
                <c:pt idx="370">
                  <c:v>96.94</c:v>
                </c:pt>
                <c:pt idx="371">
                  <c:v>97.09</c:v>
                </c:pt>
                <c:pt idx="372">
                  <c:v>97.05</c:v>
                </c:pt>
                <c:pt idx="373">
                  <c:v>96.9</c:v>
                </c:pt>
                <c:pt idx="374">
                  <c:v>97.07</c:v>
                </c:pt>
                <c:pt idx="375">
                  <c:v>94.8</c:v>
                </c:pt>
                <c:pt idx="376">
                  <c:v>94.9</c:v>
                </c:pt>
                <c:pt idx="377">
                  <c:v>94.32</c:v>
                </c:pt>
                <c:pt idx="378">
                  <c:v>92.82</c:v>
                </c:pt>
                <c:pt idx="379">
                  <c:v>93.35</c:v>
                </c:pt>
                <c:pt idx="380">
                  <c:v>92.2</c:v>
                </c:pt>
                <c:pt idx="381">
                  <c:v>92.14</c:v>
                </c:pt>
                <c:pt idx="382">
                  <c:v>89.23</c:v>
                </c:pt>
                <c:pt idx="383">
                  <c:v>90.27</c:v>
                </c:pt>
                <c:pt idx="384">
                  <c:v>88.61</c:v>
                </c:pt>
                <c:pt idx="385">
                  <c:v>86</c:v>
                </c:pt>
                <c:pt idx="386">
                  <c:v>83.75</c:v>
                </c:pt>
                <c:pt idx="387">
                  <c:v>86.76</c:v>
                </c:pt>
                <c:pt idx="388">
                  <c:v>86.1</c:v>
                </c:pt>
                <c:pt idx="389">
                  <c:v>85.34</c:v>
                </c:pt>
                <c:pt idx="390">
                  <c:v>86.43</c:v>
                </c:pt>
                <c:pt idx="391">
                  <c:v>84.68</c:v>
                </c:pt>
                <c:pt idx="392">
                  <c:v>86.7</c:v>
                </c:pt>
                <c:pt idx="393">
                  <c:v>86.25</c:v>
                </c:pt>
                <c:pt idx="394">
                  <c:v>85.43</c:v>
                </c:pt>
                <c:pt idx="395">
                  <c:v>86.23</c:v>
                </c:pt>
                <c:pt idx="396">
                  <c:v>86.76</c:v>
                </c:pt>
                <c:pt idx="397">
                  <c:v>86.1</c:v>
                </c:pt>
                <c:pt idx="398">
                  <c:v>85.96</c:v>
                </c:pt>
                <c:pt idx="399">
                  <c:v>83.89</c:v>
                </c:pt>
                <c:pt idx="400">
                  <c:v>83.31</c:v>
                </c:pt>
                <c:pt idx="401">
                  <c:v>83.6</c:v>
                </c:pt>
                <c:pt idx="402">
                  <c:v>82.5</c:v>
                </c:pt>
                <c:pt idx="403">
                  <c:v>82</c:v>
                </c:pt>
                <c:pt idx="404">
                  <c:v>80.67</c:v>
                </c:pt>
                <c:pt idx="405">
                  <c:v>77.53</c:v>
                </c:pt>
                <c:pt idx="406">
                  <c:v>79.599999999999994</c:v>
                </c:pt>
                <c:pt idx="407">
                  <c:v>79.08</c:v>
                </c:pt>
                <c:pt idx="408">
                  <c:v>78.41</c:v>
                </c:pt>
                <c:pt idx="409">
                  <c:v>78.05</c:v>
                </c:pt>
                <c:pt idx="410">
                  <c:v>79.790000000000006</c:v>
                </c:pt>
                <c:pt idx="411">
                  <c:v>80.36</c:v>
                </c:pt>
                <c:pt idx="412">
                  <c:v>79.400000000000006</c:v>
                </c:pt>
                <c:pt idx="413">
                  <c:v>78.17</c:v>
                </c:pt>
                <c:pt idx="414">
                  <c:v>77.53</c:v>
                </c:pt>
                <c:pt idx="415">
                  <c:v>72.819999999999993</c:v>
                </c:pt>
                <c:pt idx="416">
                  <c:v>70.02</c:v>
                </c:pt>
                <c:pt idx="417">
                  <c:v>73.31</c:v>
                </c:pt>
                <c:pt idx="418">
                  <c:v>71.489999999999995</c:v>
                </c:pt>
                <c:pt idx="419">
                  <c:v>70.5</c:v>
                </c:pt>
                <c:pt idx="420">
                  <c:v>69.89</c:v>
                </c:pt>
                <c:pt idx="421">
                  <c:v>69.05</c:v>
                </c:pt>
                <c:pt idx="422">
                  <c:v>66.52</c:v>
                </c:pt>
                <c:pt idx="423">
                  <c:v>66.790000000000006</c:v>
                </c:pt>
                <c:pt idx="424">
                  <c:v>64.56</c:v>
                </c:pt>
                <c:pt idx="425">
                  <c:v>63.55</c:v>
                </c:pt>
                <c:pt idx="426">
                  <c:v>61.92</c:v>
                </c:pt>
                <c:pt idx="427">
                  <c:v>60.52</c:v>
                </c:pt>
                <c:pt idx="428">
                  <c:v>59.8</c:v>
                </c:pt>
                <c:pt idx="429">
                  <c:v>60.64</c:v>
                </c:pt>
                <c:pt idx="430">
                  <c:v>59.81</c:v>
                </c:pt>
                <c:pt idx="431">
                  <c:v>62.15</c:v>
                </c:pt>
                <c:pt idx="432">
                  <c:v>60.13</c:v>
                </c:pt>
                <c:pt idx="433">
                  <c:v>61.55</c:v>
                </c:pt>
                <c:pt idx="434">
                  <c:v>60.15</c:v>
                </c:pt>
                <c:pt idx="435">
                  <c:v>60.15</c:v>
                </c:pt>
                <c:pt idx="436">
                  <c:v>59.52</c:v>
                </c:pt>
                <c:pt idx="437">
                  <c:v>47.2</c:v>
                </c:pt>
                <c:pt idx="438">
                  <c:v>46.79</c:v>
                </c:pt>
                <c:pt idx="439">
                  <c:v>48.61</c:v>
                </c:pt>
                <c:pt idx="440">
                  <c:v>48.36</c:v>
                </c:pt>
                <c:pt idx="441">
                  <c:v>49.9</c:v>
                </c:pt>
                <c:pt idx="442">
                  <c:v>48.85</c:v>
                </c:pt>
                <c:pt idx="443">
                  <c:v>48.17</c:v>
                </c:pt>
                <c:pt idx="444">
                  <c:v>48.75</c:v>
                </c:pt>
                <c:pt idx="445">
                  <c:v>49</c:v>
                </c:pt>
                <c:pt idx="446">
                  <c:v>48.55</c:v>
                </c:pt>
                <c:pt idx="447">
                  <c:v>48.11</c:v>
                </c:pt>
                <c:pt idx="448">
                  <c:v>49.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712192"/>
        <c:axId val="629068864"/>
      </c:lineChart>
      <c:dateAx>
        <c:axId val="640711168"/>
        <c:scaling>
          <c:orientation val="minMax"/>
          <c:max val="42031"/>
          <c:min val="41648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8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9065984"/>
        <c:crosses val="autoZero"/>
        <c:auto val="1"/>
        <c:lblOffset val="100"/>
        <c:baseTimeUnit val="days"/>
        <c:majorUnit val="30"/>
        <c:majorTimeUnit val="days"/>
        <c:minorUnit val="20"/>
        <c:minorTimeUnit val="days"/>
      </c:dateAx>
      <c:valAx>
        <c:axId val="629065984"/>
        <c:scaling>
          <c:orientation val="minMax"/>
          <c:min val="25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9645504009731E-4"/>
              <c:y val="0.2417551029261838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711168"/>
        <c:crosses val="autoZero"/>
        <c:crossBetween val="between"/>
      </c:valAx>
      <c:dateAx>
        <c:axId val="64071219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29068864"/>
        <c:crosses val="autoZero"/>
        <c:auto val="0"/>
        <c:lblOffset val="100"/>
        <c:baseTimeUnit val="days"/>
      </c:dateAx>
      <c:valAx>
        <c:axId val="629068864"/>
        <c:scaling>
          <c:orientation val="minMax"/>
          <c:min val="4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712192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3452745988615403"/>
          <c:y val="0.90065222012537682"/>
          <c:w val="0.49978804286743755"/>
          <c:h val="6.8509229734712962E-2"/>
        </c:manualLayout>
      </c:layout>
      <c:overlay val="0"/>
      <c:txPr>
        <a:bodyPr/>
        <a:lstStyle/>
        <a:p>
          <a:pPr>
            <a:defRPr sz="850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100" b="1" i="1" u="none" strike="noStrike" baseline="0">
                <a:solidFill>
                  <a:srgbClr val="000000"/>
                </a:solidFill>
                <a:latin typeface="Calibri"/>
              </a:rPr>
              <a:t>2010-2011: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100" b="1" i="1" u="none" strike="noStrike" baseline="0">
                <a:solidFill>
                  <a:srgbClr val="000000"/>
                </a:solidFill>
                <a:latin typeface="Calibri"/>
              </a:rPr>
              <a:t>BRENT                + 19,95 %</a:t>
            </a:r>
            <a:endParaRPr lang="ru-RU" sz="1050" b="1" i="1" u="none" strike="noStrike" baseline="0">
              <a:solidFill>
                <a:srgbClr val="FF0000"/>
              </a:solidFill>
              <a:latin typeface="Calibri"/>
            </a:endParaRP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1" u="none" strike="noStrike" baseline="0">
                <a:solidFill>
                  <a:srgbClr val="FF0000"/>
                </a:solidFill>
                <a:latin typeface="Calibri"/>
              </a:rPr>
              <a:t>Регуляр-92       </a:t>
            </a:r>
            <a:r>
              <a:rPr lang="ru-RU" sz="1100" b="1" i="1" u="none" strike="noStrike" baseline="0">
                <a:solidFill>
                  <a:srgbClr val="FF0000"/>
                </a:solidFill>
                <a:latin typeface="Calibri"/>
              </a:rPr>
              <a:t> + 20,76 % </a:t>
            </a:r>
          </a:p>
        </c:rich>
      </c:tx>
      <c:layout>
        <c:manualLayout>
          <c:xMode val="edge"/>
          <c:yMode val="edge"/>
          <c:x val="7.3627402368154862E-2"/>
          <c:y val="0.11057225511044697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0666388888896665E-2"/>
          <c:y val="4.1359101541253725E-2"/>
          <c:w val="0.85042671552848392"/>
          <c:h val="0.8646149975054771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 w="190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J$218:$J$1462</c:f>
              <c:numCache>
                <c:formatCode>General</c:formatCode>
                <c:ptCount val="1245"/>
                <c:pt idx="0">
                  <c:v>19521</c:v>
                </c:pt>
                <c:pt idx="1">
                  <c:v>21074</c:v>
                </c:pt>
                <c:pt idx="2">
                  <c:v>20757</c:v>
                </c:pt>
                <c:pt idx="3">
                  <c:v>21517</c:v>
                </c:pt>
                <c:pt idx="4">
                  <c:v>21790</c:v>
                </c:pt>
                <c:pt idx="5">
                  <c:v>22061</c:v>
                </c:pt>
                <c:pt idx="6">
                  <c:v>22069</c:v>
                </c:pt>
                <c:pt idx="7">
                  <c:v>22211</c:v>
                </c:pt>
                <c:pt idx="8">
                  <c:v>22371</c:v>
                </c:pt>
                <c:pt idx="9">
                  <c:v>22279</c:v>
                </c:pt>
                <c:pt idx="10">
                  <c:v>22373</c:v>
                </c:pt>
                <c:pt idx="11">
                  <c:v>21931</c:v>
                </c:pt>
                <c:pt idx="12">
                  <c:v>22338</c:v>
                </c:pt>
                <c:pt idx="13">
                  <c:v>22441</c:v>
                </c:pt>
                <c:pt idx="14">
                  <c:v>22446</c:v>
                </c:pt>
                <c:pt idx="15">
                  <c:v>23061</c:v>
                </c:pt>
                <c:pt idx="16">
                  <c:v>22119</c:v>
                </c:pt>
                <c:pt idx="17">
                  <c:v>23161</c:v>
                </c:pt>
                <c:pt idx="18">
                  <c:v>22819</c:v>
                </c:pt>
                <c:pt idx="19">
                  <c:v>23130</c:v>
                </c:pt>
                <c:pt idx="20">
                  <c:v>23411</c:v>
                </c:pt>
                <c:pt idx="21">
                  <c:v>23571</c:v>
                </c:pt>
                <c:pt idx="22">
                  <c:v>23186</c:v>
                </c:pt>
                <c:pt idx="23">
                  <c:v>22819</c:v>
                </c:pt>
                <c:pt idx="24">
                  <c:v>23561</c:v>
                </c:pt>
                <c:pt idx="25">
                  <c:v>23721</c:v>
                </c:pt>
                <c:pt idx="26">
                  <c:v>23721</c:v>
                </c:pt>
                <c:pt idx="27">
                  <c:v>23411</c:v>
                </c:pt>
                <c:pt idx="28">
                  <c:v>23571</c:v>
                </c:pt>
                <c:pt idx="29">
                  <c:v>22769</c:v>
                </c:pt>
                <c:pt idx="30">
                  <c:v>23311</c:v>
                </c:pt>
                <c:pt idx="31">
                  <c:v>22385</c:v>
                </c:pt>
                <c:pt idx="32">
                  <c:v>22481</c:v>
                </c:pt>
                <c:pt idx="33">
                  <c:v>22558</c:v>
                </c:pt>
                <c:pt idx="34">
                  <c:v>23411</c:v>
                </c:pt>
                <c:pt idx="35">
                  <c:v>22469</c:v>
                </c:pt>
                <c:pt idx="36">
                  <c:v>22544</c:v>
                </c:pt>
                <c:pt idx="37">
                  <c:v>22544</c:v>
                </c:pt>
                <c:pt idx="38">
                  <c:v>22459</c:v>
                </c:pt>
                <c:pt idx="39">
                  <c:v>22769</c:v>
                </c:pt>
                <c:pt idx="40">
                  <c:v>23016</c:v>
                </c:pt>
                <c:pt idx="41">
                  <c:v>23120</c:v>
                </c:pt>
                <c:pt idx="42">
                  <c:v>22819</c:v>
                </c:pt>
                <c:pt idx="43">
                  <c:v>22860</c:v>
                </c:pt>
                <c:pt idx="44">
                  <c:v>22935</c:v>
                </c:pt>
                <c:pt idx="45">
                  <c:v>22935</c:v>
                </c:pt>
                <c:pt idx="46">
                  <c:v>22752</c:v>
                </c:pt>
                <c:pt idx="47">
                  <c:v>22619</c:v>
                </c:pt>
                <c:pt idx="48">
                  <c:v>22950</c:v>
                </c:pt>
                <c:pt idx="49">
                  <c:v>23053</c:v>
                </c:pt>
                <c:pt idx="50">
                  <c:v>23061</c:v>
                </c:pt>
                <c:pt idx="51">
                  <c:v>23179</c:v>
                </c:pt>
                <c:pt idx="52">
                  <c:v>23127</c:v>
                </c:pt>
                <c:pt idx="53">
                  <c:v>23311</c:v>
                </c:pt>
                <c:pt idx="54">
                  <c:v>22932</c:v>
                </c:pt>
                <c:pt idx="55">
                  <c:v>23561</c:v>
                </c:pt>
                <c:pt idx="56">
                  <c:v>23721</c:v>
                </c:pt>
                <c:pt idx="57">
                  <c:v>23561</c:v>
                </c:pt>
                <c:pt idx="58">
                  <c:v>23561</c:v>
                </c:pt>
                <c:pt idx="59">
                  <c:v>23721</c:v>
                </c:pt>
                <c:pt idx="60">
                  <c:v>23711</c:v>
                </c:pt>
                <c:pt idx="61">
                  <c:v>23871</c:v>
                </c:pt>
                <c:pt idx="62">
                  <c:v>24161</c:v>
                </c:pt>
                <c:pt idx="63">
                  <c:v>24261</c:v>
                </c:pt>
                <c:pt idx="64">
                  <c:v>24421</c:v>
                </c:pt>
                <c:pt idx="65">
                  <c:v>24395</c:v>
                </c:pt>
                <c:pt idx="66">
                  <c:v>24513</c:v>
                </c:pt>
                <c:pt idx="67">
                  <c:v>24513</c:v>
                </c:pt>
                <c:pt idx="68">
                  <c:v>24336</c:v>
                </c:pt>
                <c:pt idx="69">
                  <c:v>23981</c:v>
                </c:pt>
                <c:pt idx="70">
                  <c:v>24154</c:v>
                </c:pt>
                <c:pt idx="71">
                  <c:v>24280</c:v>
                </c:pt>
                <c:pt idx="72">
                  <c:v>24460</c:v>
                </c:pt>
                <c:pt idx="73">
                  <c:v>24542</c:v>
                </c:pt>
                <c:pt idx="74">
                  <c:v>24619</c:v>
                </c:pt>
                <c:pt idx="75">
                  <c:v>24461</c:v>
                </c:pt>
                <c:pt idx="76">
                  <c:v>24419</c:v>
                </c:pt>
                <c:pt idx="77">
                  <c:v>24658</c:v>
                </c:pt>
                <c:pt idx="78">
                  <c:v>24724</c:v>
                </c:pt>
                <c:pt idx="79">
                  <c:v>24813</c:v>
                </c:pt>
                <c:pt idx="80">
                  <c:v>25136</c:v>
                </c:pt>
                <c:pt idx="81">
                  <c:v>24791</c:v>
                </c:pt>
                <c:pt idx="82">
                  <c:v>24530</c:v>
                </c:pt>
                <c:pt idx="83">
                  <c:v>24677</c:v>
                </c:pt>
                <c:pt idx="84">
                  <c:v>24680</c:v>
                </c:pt>
                <c:pt idx="85">
                  <c:v>24461</c:v>
                </c:pt>
                <c:pt idx="86">
                  <c:v>24420</c:v>
                </c:pt>
                <c:pt idx="87">
                  <c:v>24319</c:v>
                </c:pt>
                <c:pt idx="88">
                  <c:v>24586</c:v>
                </c:pt>
                <c:pt idx="89">
                  <c:v>24369</c:v>
                </c:pt>
                <c:pt idx="90">
                  <c:v>24562</c:v>
                </c:pt>
                <c:pt idx="91">
                  <c:v>24296</c:v>
                </c:pt>
                <c:pt idx="92">
                  <c:v>24456</c:v>
                </c:pt>
                <c:pt idx="93">
                  <c:v>24211</c:v>
                </c:pt>
                <c:pt idx="94">
                  <c:v>24086</c:v>
                </c:pt>
                <c:pt idx="95">
                  <c:v>23861</c:v>
                </c:pt>
                <c:pt idx="96">
                  <c:v>23861</c:v>
                </c:pt>
                <c:pt idx="97">
                  <c:v>24004</c:v>
                </c:pt>
                <c:pt idx="98">
                  <c:v>24011</c:v>
                </c:pt>
                <c:pt idx="99">
                  <c:v>23820</c:v>
                </c:pt>
                <c:pt idx="100">
                  <c:v>24036</c:v>
                </c:pt>
                <c:pt idx="101">
                  <c:v>23963</c:v>
                </c:pt>
                <c:pt idx="102">
                  <c:v>23959</c:v>
                </c:pt>
                <c:pt idx="103">
                  <c:v>24166</c:v>
                </c:pt>
                <c:pt idx="104">
                  <c:v>24347</c:v>
                </c:pt>
                <c:pt idx="105">
                  <c:v>22982</c:v>
                </c:pt>
                <c:pt idx="106">
                  <c:v>24219</c:v>
                </c:pt>
                <c:pt idx="107">
                  <c:v>24108</c:v>
                </c:pt>
                <c:pt idx="108">
                  <c:v>23997</c:v>
                </c:pt>
                <c:pt idx="109">
                  <c:v>24176</c:v>
                </c:pt>
                <c:pt idx="110">
                  <c:v>24356</c:v>
                </c:pt>
                <c:pt idx="111">
                  <c:v>24648</c:v>
                </c:pt>
                <c:pt idx="112">
                  <c:v>24646</c:v>
                </c:pt>
                <c:pt idx="113">
                  <c:v>24969</c:v>
                </c:pt>
                <c:pt idx="114">
                  <c:v>24806</c:v>
                </c:pt>
                <c:pt idx="115">
                  <c:v>24975</c:v>
                </c:pt>
                <c:pt idx="116">
                  <c:v>24419</c:v>
                </c:pt>
                <c:pt idx="117">
                  <c:v>24838</c:v>
                </c:pt>
                <c:pt idx="118">
                  <c:v>25080</c:v>
                </c:pt>
                <c:pt idx="119">
                  <c:v>24971</c:v>
                </c:pt>
                <c:pt idx="120">
                  <c:v>24725</c:v>
                </c:pt>
                <c:pt idx="121">
                  <c:v>25119</c:v>
                </c:pt>
                <c:pt idx="122">
                  <c:v>24933</c:v>
                </c:pt>
                <c:pt idx="123">
                  <c:v>24989</c:v>
                </c:pt>
                <c:pt idx="124">
                  <c:v>24788</c:v>
                </c:pt>
                <c:pt idx="125">
                  <c:v>24811</c:v>
                </c:pt>
                <c:pt idx="126">
                  <c:v>24619</c:v>
                </c:pt>
                <c:pt idx="127">
                  <c:v>24811</c:v>
                </c:pt>
                <c:pt idx="128">
                  <c:v>24971</c:v>
                </c:pt>
                <c:pt idx="129">
                  <c:v>24744</c:v>
                </c:pt>
                <c:pt idx="130">
                  <c:v>24717</c:v>
                </c:pt>
                <c:pt idx="131">
                  <c:v>24625</c:v>
                </c:pt>
                <c:pt idx="132">
                  <c:v>24535</c:v>
                </c:pt>
                <c:pt idx="133">
                  <c:v>24119</c:v>
                </c:pt>
                <c:pt idx="134">
                  <c:v>24347</c:v>
                </c:pt>
                <c:pt idx="135">
                  <c:v>24472</c:v>
                </c:pt>
                <c:pt idx="136">
                  <c:v>24294</c:v>
                </c:pt>
                <c:pt idx="137">
                  <c:v>24345</c:v>
                </c:pt>
                <c:pt idx="138">
                  <c:v>24029</c:v>
                </c:pt>
                <c:pt idx="139">
                  <c:v>24119</c:v>
                </c:pt>
                <c:pt idx="140">
                  <c:v>24287</c:v>
                </c:pt>
                <c:pt idx="141">
                  <c:v>24119</c:v>
                </c:pt>
                <c:pt idx="142">
                  <c:v>24435</c:v>
                </c:pt>
                <c:pt idx="143">
                  <c:v>24078</c:v>
                </c:pt>
                <c:pt idx="144">
                  <c:v>24193</c:v>
                </c:pt>
                <c:pt idx="145">
                  <c:v>24510</c:v>
                </c:pt>
                <c:pt idx="146">
                  <c:v>24135</c:v>
                </c:pt>
                <c:pt idx="147">
                  <c:v>23999</c:v>
                </c:pt>
                <c:pt idx="148">
                  <c:v>24244</c:v>
                </c:pt>
                <c:pt idx="149">
                  <c:v>24537</c:v>
                </c:pt>
                <c:pt idx="150">
                  <c:v>24249</c:v>
                </c:pt>
                <c:pt idx="151">
                  <c:v>24124</c:v>
                </c:pt>
                <c:pt idx="152">
                  <c:v>24416</c:v>
                </c:pt>
                <c:pt idx="153">
                  <c:v>24394</c:v>
                </c:pt>
                <c:pt idx="154">
                  <c:v>24611</c:v>
                </c:pt>
                <c:pt idx="155">
                  <c:v>24294</c:v>
                </c:pt>
                <c:pt idx="156">
                  <c:v>24294</c:v>
                </c:pt>
                <c:pt idx="157">
                  <c:v>24469</c:v>
                </c:pt>
                <c:pt idx="158">
                  <c:v>24199</c:v>
                </c:pt>
                <c:pt idx="159">
                  <c:v>24411</c:v>
                </c:pt>
                <c:pt idx="160">
                  <c:v>24311</c:v>
                </c:pt>
                <c:pt idx="161">
                  <c:v>23890</c:v>
                </c:pt>
                <c:pt idx="162">
                  <c:v>23994</c:v>
                </c:pt>
                <c:pt idx="163">
                  <c:v>23705</c:v>
                </c:pt>
                <c:pt idx="164">
                  <c:v>23828</c:v>
                </c:pt>
                <c:pt idx="165">
                  <c:v>24261</c:v>
                </c:pt>
                <c:pt idx="166">
                  <c:v>23619</c:v>
                </c:pt>
                <c:pt idx="167">
                  <c:v>23802</c:v>
                </c:pt>
                <c:pt idx="168">
                  <c:v>24019</c:v>
                </c:pt>
                <c:pt idx="169">
                  <c:v>23964</c:v>
                </c:pt>
                <c:pt idx="170">
                  <c:v>24280</c:v>
                </c:pt>
                <c:pt idx="171">
                  <c:v>23847</c:v>
                </c:pt>
                <c:pt idx="172">
                  <c:v>24519</c:v>
                </c:pt>
                <c:pt idx="173">
                  <c:v>24019</c:v>
                </c:pt>
                <c:pt idx="174">
                  <c:v>24387</c:v>
                </c:pt>
                <c:pt idx="175">
                  <c:v>24319</c:v>
                </c:pt>
                <c:pt idx="176">
                  <c:v>23723</c:v>
                </c:pt>
                <c:pt idx="177">
                  <c:v>24511</c:v>
                </c:pt>
                <c:pt idx="178">
                  <c:v>24070</c:v>
                </c:pt>
                <c:pt idx="179">
                  <c:v>24146</c:v>
                </c:pt>
                <c:pt idx="180">
                  <c:v>24298</c:v>
                </c:pt>
                <c:pt idx="181">
                  <c:v>24182</c:v>
                </c:pt>
                <c:pt idx="182">
                  <c:v>23952</c:v>
                </c:pt>
                <c:pt idx="183">
                  <c:v>24419</c:v>
                </c:pt>
                <c:pt idx="184">
                  <c:v>24716</c:v>
                </c:pt>
                <c:pt idx="185">
                  <c:v>24676</c:v>
                </c:pt>
                <c:pt idx="186">
                  <c:v>24224</c:v>
                </c:pt>
                <c:pt idx="187">
                  <c:v>24563</c:v>
                </c:pt>
                <c:pt idx="188">
                  <c:v>24492</c:v>
                </c:pt>
                <c:pt idx="189">
                  <c:v>24275</c:v>
                </c:pt>
                <c:pt idx="190">
                  <c:v>24500</c:v>
                </c:pt>
                <c:pt idx="191">
                  <c:v>24538</c:v>
                </c:pt>
                <c:pt idx="192">
                  <c:v>24854</c:v>
                </c:pt>
                <c:pt idx="193">
                  <c:v>24819</c:v>
                </c:pt>
                <c:pt idx="194">
                  <c:v>24490</c:v>
                </c:pt>
                <c:pt idx="195">
                  <c:v>25041</c:v>
                </c:pt>
                <c:pt idx="196">
                  <c:v>24919</c:v>
                </c:pt>
                <c:pt idx="197">
                  <c:v>24687</c:v>
                </c:pt>
                <c:pt idx="198">
                  <c:v>24919</c:v>
                </c:pt>
                <c:pt idx="199">
                  <c:v>24919</c:v>
                </c:pt>
                <c:pt idx="200">
                  <c:v>24956</c:v>
                </c:pt>
                <c:pt idx="201">
                  <c:v>24995</c:v>
                </c:pt>
                <c:pt idx="202">
                  <c:v>25321</c:v>
                </c:pt>
                <c:pt idx="203">
                  <c:v>25019</c:v>
                </c:pt>
                <c:pt idx="204">
                  <c:v>25173</c:v>
                </c:pt>
                <c:pt idx="205">
                  <c:v>24922</c:v>
                </c:pt>
                <c:pt idx="206">
                  <c:v>24619</c:v>
                </c:pt>
                <c:pt idx="207">
                  <c:v>25428</c:v>
                </c:pt>
                <c:pt idx="208">
                  <c:v>24894</c:v>
                </c:pt>
                <c:pt idx="209">
                  <c:v>25219</c:v>
                </c:pt>
                <c:pt idx="210">
                  <c:v>25496</c:v>
                </c:pt>
                <c:pt idx="211">
                  <c:v>24934</c:v>
                </c:pt>
                <c:pt idx="212">
                  <c:v>25245</c:v>
                </c:pt>
                <c:pt idx="213">
                  <c:v>25119</c:v>
                </c:pt>
                <c:pt idx="214">
                  <c:v>25142</c:v>
                </c:pt>
                <c:pt idx="215">
                  <c:v>25119</c:v>
                </c:pt>
                <c:pt idx="216">
                  <c:v>25242</c:v>
                </c:pt>
                <c:pt idx="217">
                  <c:v>24956</c:v>
                </c:pt>
                <c:pt idx="218">
                  <c:v>25217</c:v>
                </c:pt>
                <c:pt idx="219">
                  <c:v>25056</c:v>
                </c:pt>
                <c:pt idx="220">
                  <c:v>24676</c:v>
                </c:pt>
                <c:pt idx="221">
                  <c:v>24997</c:v>
                </c:pt>
                <c:pt idx="222">
                  <c:v>25141</c:v>
                </c:pt>
                <c:pt idx="223">
                  <c:v>25011</c:v>
                </c:pt>
                <c:pt idx="224">
                  <c:v>24403</c:v>
                </c:pt>
                <c:pt idx="225">
                  <c:v>24219</c:v>
                </c:pt>
                <c:pt idx="226">
                  <c:v>24383</c:v>
                </c:pt>
                <c:pt idx="227">
                  <c:v>24536</c:v>
                </c:pt>
                <c:pt idx="228">
                  <c:v>24472</c:v>
                </c:pt>
                <c:pt idx="229">
                  <c:v>25318</c:v>
                </c:pt>
                <c:pt idx="230">
                  <c:v>24719</c:v>
                </c:pt>
                <c:pt idx="231">
                  <c:v>24400</c:v>
                </c:pt>
                <c:pt idx="232">
                  <c:v>24397</c:v>
                </c:pt>
                <c:pt idx="233">
                  <c:v>24955</c:v>
                </c:pt>
                <c:pt idx="234">
                  <c:v>24370</c:v>
                </c:pt>
                <c:pt idx="235">
                  <c:v>25044</c:v>
                </c:pt>
                <c:pt idx="236">
                  <c:v>25284</c:v>
                </c:pt>
                <c:pt idx="237">
                  <c:v>25473</c:v>
                </c:pt>
                <c:pt idx="238">
                  <c:v>25161</c:v>
                </c:pt>
                <c:pt idx="239">
                  <c:v>25019</c:v>
                </c:pt>
                <c:pt idx="240">
                  <c:v>25014</c:v>
                </c:pt>
                <c:pt idx="241">
                  <c:v>24857</c:v>
                </c:pt>
                <c:pt idx="242">
                  <c:v>24939</c:v>
                </c:pt>
                <c:pt idx="243">
                  <c:v>24939</c:v>
                </c:pt>
                <c:pt idx="244">
                  <c:v>24939</c:v>
                </c:pt>
                <c:pt idx="245">
                  <c:v>24939</c:v>
                </c:pt>
                <c:pt idx="246">
                  <c:v>24939</c:v>
                </c:pt>
                <c:pt idx="247">
                  <c:v>24939</c:v>
                </c:pt>
                <c:pt idx="248">
                  <c:v>24939</c:v>
                </c:pt>
                <c:pt idx="249">
                  <c:v>24939</c:v>
                </c:pt>
                <c:pt idx="250">
                  <c:v>25912</c:v>
                </c:pt>
                <c:pt idx="251">
                  <c:v>25428</c:v>
                </c:pt>
                <c:pt idx="252">
                  <c:v>26699</c:v>
                </c:pt>
                <c:pt idx="253">
                  <c:v>26774</c:v>
                </c:pt>
                <c:pt idx="254">
                  <c:v>26945</c:v>
                </c:pt>
                <c:pt idx="255">
                  <c:v>25922</c:v>
                </c:pt>
                <c:pt idx="256">
                  <c:v>27183</c:v>
                </c:pt>
                <c:pt idx="257">
                  <c:v>27352</c:v>
                </c:pt>
                <c:pt idx="258">
                  <c:v>28024</c:v>
                </c:pt>
                <c:pt idx="259">
                  <c:v>27274</c:v>
                </c:pt>
                <c:pt idx="260">
                  <c:v>26974</c:v>
                </c:pt>
                <c:pt idx="261">
                  <c:v>26920</c:v>
                </c:pt>
                <c:pt idx="262">
                  <c:v>27924</c:v>
                </c:pt>
                <c:pt idx="263">
                  <c:v>27944</c:v>
                </c:pt>
                <c:pt idx="264">
                  <c:v>27374</c:v>
                </c:pt>
                <c:pt idx="265">
                  <c:v>26924</c:v>
                </c:pt>
                <c:pt idx="266">
                  <c:v>26944</c:v>
                </c:pt>
                <c:pt idx="267">
                  <c:v>26944</c:v>
                </c:pt>
                <c:pt idx="268">
                  <c:v>27218</c:v>
                </c:pt>
                <c:pt idx="269">
                  <c:v>27271</c:v>
                </c:pt>
                <c:pt idx="270">
                  <c:v>27574</c:v>
                </c:pt>
                <c:pt idx="271">
                  <c:v>27594</c:v>
                </c:pt>
                <c:pt idx="272">
                  <c:v>26181</c:v>
                </c:pt>
                <c:pt idx="273">
                  <c:v>26230</c:v>
                </c:pt>
                <c:pt idx="274">
                  <c:v>26018</c:v>
                </c:pt>
                <c:pt idx="275">
                  <c:v>25918</c:v>
                </c:pt>
                <c:pt idx="276">
                  <c:v>25634</c:v>
                </c:pt>
                <c:pt idx="277">
                  <c:v>25782</c:v>
                </c:pt>
                <c:pt idx="278">
                  <c:v>25719</c:v>
                </c:pt>
                <c:pt idx="279">
                  <c:v>25624</c:v>
                </c:pt>
                <c:pt idx="280">
                  <c:v>25555</c:v>
                </c:pt>
                <c:pt idx="281">
                  <c:v>25721</c:v>
                </c:pt>
                <c:pt idx="282">
                  <c:v>25741</c:v>
                </c:pt>
                <c:pt idx="283">
                  <c:v>25732</c:v>
                </c:pt>
                <c:pt idx="284">
                  <c:v>26492</c:v>
                </c:pt>
                <c:pt idx="285">
                  <c:v>25755</c:v>
                </c:pt>
                <c:pt idx="286">
                  <c:v>25535</c:v>
                </c:pt>
                <c:pt idx="287">
                  <c:v>25571</c:v>
                </c:pt>
                <c:pt idx="288">
                  <c:v>25985</c:v>
                </c:pt>
                <c:pt idx="289">
                  <c:v>25925</c:v>
                </c:pt>
                <c:pt idx="290">
                  <c:v>25927</c:v>
                </c:pt>
                <c:pt idx="291">
                  <c:v>25927</c:v>
                </c:pt>
                <c:pt idx="292">
                  <c:v>25927</c:v>
                </c:pt>
                <c:pt idx="293">
                  <c:v>25802</c:v>
                </c:pt>
                <c:pt idx="294">
                  <c:v>25816</c:v>
                </c:pt>
                <c:pt idx="295">
                  <c:v>25816</c:v>
                </c:pt>
                <c:pt idx="296">
                  <c:v>25816</c:v>
                </c:pt>
                <c:pt idx="297">
                  <c:v>27092</c:v>
                </c:pt>
                <c:pt idx="298">
                  <c:v>26360</c:v>
                </c:pt>
                <c:pt idx="299">
                  <c:v>27092</c:v>
                </c:pt>
                <c:pt idx="300">
                  <c:v>27774</c:v>
                </c:pt>
                <c:pt idx="301">
                  <c:v>27794</c:v>
                </c:pt>
                <c:pt idx="302">
                  <c:v>26613</c:v>
                </c:pt>
                <c:pt idx="303">
                  <c:v>27092</c:v>
                </c:pt>
                <c:pt idx="304">
                  <c:v>27102</c:v>
                </c:pt>
                <c:pt idx="305">
                  <c:v>28094</c:v>
                </c:pt>
                <c:pt idx="306">
                  <c:v>28044</c:v>
                </c:pt>
                <c:pt idx="307">
                  <c:v>27502</c:v>
                </c:pt>
                <c:pt idx="308">
                  <c:v>27606</c:v>
                </c:pt>
                <c:pt idx="309">
                  <c:v>27532</c:v>
                </c:pt>
                <c:pt idx="310">
                  <c:v>28192</c:v>
                </c:pt>
                <c:pt idx="311">
                  <c:v>28412</c:v>
                </c:pt>
                <c:pt idx="312">
                  <c:v>28412</c:v>
                </c:pt>
                <c:pt idx="313">
                  <c:v>28412</c:v>
                </c:pt>
                <c:pt idx="314">
                  <c:v>28412</c:v>
                </c:pt>
                <c:pt idx="315">
                  <c:v>28412</c:v>
                </c:pt>
                <c:pt idx="316">
                  <c:v>28412</c:v>
                </c:pt>
                <c:pt idx="317">
                  <c:v>28412</c:v>
                </c:pt>
                <c:pt idx="318">
                  <c:v>28300</c:v>
                </c:pt>
                <c:pt idx="319">
                  <c:v>29655</c:v>
                </c:pt>
                <c:pt idx="320">
                  <c:v>30857</c:v>
                </c:pt>
                <c:pt idx="321">
                  <c:v>33307</c:v>
                </c:pt>
                <c:pt idx="322">
                  <c:v>30297</c:v>
                </c:pt>
                <c:pt idx="323">
                  <c:v>34200</c:v>
                </c:pt>
                <c:pt idx="324">
                  <c:v>34272</c:v>
                </c:pt>
                <c:pt idx="325">
                  <c:v>34331</c:v>
                </c:pt>
                <c:pt idx="326">
                  <c:v>33383</c:v>
                </c:pt>
                <c:pt idx="327">
                  <c:v>33605</c:v>
                </c:pt>
                <c:pt idx="328">
                  <c:v>33935</c:v>
                </c:pt>
                <c:pt idx="329">
                  <c:v>33972</c:v>
                </c:pt>
                <c:pt idx="330">
                  <c:v>34072</c:v>
                </c:pt>
                <c:pt idx="331">
                  <c:v>34032</c:v>
                </c:pt>
                <c:pt idx="332">
                  <c:v>34117</c:v>
                </c:pt>
                <c:pt idx="333">
                  <c:v>34077</c:v>
                </c:pt>
                <c:pt idx="334">
                  <c:v>33699</c:v>
                </c:pt>
                <c:pt idx="335">
                  <c:v>34057</c:v>
                </c:pt>
                <c:pt idx="336">
                  <c:v>34092</c:v>
                </c:pt>
                <c:pt idx="337">
                  <c:v>33964</c:v>
                </c:pt>
                <c:pt idx="338">
                  <c:v>33992</c:v>
                </c:pt>
                <c:pt idx="339">
                  <c:v>33992</c:v>
                </c:pt>
                <c:pt idx="340">
                  <c:v>33892</c:v>
                </c:pt>
                <c:pt idx="341">
                  <c:v>33912</c:v>
                </c:pt>
                <c:pt idx="342">
                  <c:v>33912</c:v>
                </c:pt>
                <c:pt idx="343">
                  <c:v>33912</c:v>
                </c:pt>
                <c:pt idx="344">
                  <c:v>33912</c:v>
                </c:pt>
                <c:pt idx="345">
                  <c:v>31803</c:v>
                </c:pt>
                <c:pt idx="346">
                  <c:v>31624</c:v>
                </c:pt>
                <c:pt idx="347">
                  <c:v>31778</c:v>
                </c:pt>
                <c:pt idx="348">
                  <c:v>31798</c:v>
                </c:pt>
                <c:pt idx="349">
                  <c:v>31792</c:v>
                </c:pt>
                <c:pt idx="350">
                  <c:v>31799</c:v>
                </c:pt>
                <c:pt idx="351">
                  <c:v>31942</c:v>
                </c:pt>
                <c:pt idx="352">
                  <c:v>31948</c:v>
                </c:pt>
                <c:pt idx="353">
                  <c:v>31968</c:v>
                </c:pt>
                <c:pt idx="354">
                  <c:v>31968</c:v>
                </c:pt>
                <c:pt idx="355">
                  <c:v>31968</c:v>
                </c:pt>
                <c:pt idx="356">
                  <c:v>31968</c:v>
                </c:pt>
                <c:pt idx="357">
                  <c:v>32081</c:v>
                </c:pt>
                <c:pt idx="358">
                  <c:v>31984</c:v>
                </c:pt>
                <c:pt idx="359">
                  <c:v>31993</c:v>
                </c:pt>
                <c:pt idx="360">
                  <c:v>32142</c:v>
                </c:pt>
                <c:pt idx="361">
                  <c:v>32192</c:v>
                </c:pt>
                <c:pt idx="362">
                  <c:v>31995</c:v>
                </c:pt>
                <c:pt idx="363">
                  <c:v>31992</c:v>
                </c:pt>
                <c:pt idx="364">
                  <c:v>31883</c:v>
                </c:pt>
                <c:pt idx="365">
                  <c:v>32042</c:v>
                </c:pt>
                <c:pt idx="366">
                  <c:v>32025</c:v>
                </c:pt>
                <c:pt idx="367">
                  <c:v>32036</c:v>
                </c:pt>
                <c:pt idx="368">
                  <c:v>31714</c:v>
                </c:pt>
                <c:pt idx="369">
                  <c:v>31830</c:v>
                </c:pt>
                <c:pt idx="370">
                  <c:v>32271</c:v>
                </c:pt>
                <c:pt idx="371">
                  <c:v>32271</c:v>
                </c:pt>
                <c:pt idx="372">
                  <c:v>31993</c:v>
                </c:pt>
                <c:pt idx="373">
                  <c:v>32393</c:v>
                </c:pt>
                <c:pt idx="374">
                  <c:v>33285</c:v>
                </c:pt>
                <c:pt idx="375">
                  <c:v>33793</c:v>
                </c:pt>
                <c:pt idx="376">
                  <c:v>33893</c:v>
                </c:pt>
                <c:pt idx="377">
                  <c:v>33650</c:v>
                </c:pt>
                <c:pt idx="378">
                  <c:v>34198</c:v>
                </c:pt>
                <c:pt idx="379">
                  <c:v>34193</c:v>
                </c:pt>
                <c:pt idx="380">
                  <c:v>34513</c:v>
                </c:pt>
                <c:pt idx="381">
                  <c:v>35263</c:v>
                </c:pt>
                <c:pt idx="382">
                  <c:v>35103</c:v>
                </c:pt>
                <c:pt idx="383">
                  <c:v>35109</c:v>
                </c:pt>
                <c:pt idx="384">
                  <c:v>35504</c:v>
                </c:pt>
                <c:pt idx="385">
                  <c:v>35590</c:v>
                </c:pt>
                <c:pt idx="386">
                  <c:v>35421</c:v>
                </c:pt>
                <c:pt idx="387">
                  <c:v>35815</c:v>
                </c:pt>
                <c:pt idx="388">
                  <c:v>35815</c:v>
                </c:pt>
                <c:pt idx="389">
                  <c:v>35893</c:v>
                </c:pt>
                <c:pt idx="390">
                  <c:v>35893</c:v>
                </c:pt>
                <c:pt idx="391">
                  <c:v>35793</c:v>
                </c:pt>
                <c:pt idx="392">
                  <c:v>35793</c:v>
                </c:pt>
                <c:pt idx="393">
                  <c:v>35893</c:v>
                </c:pt>
                <c:pt idx="394">
                  <c:v>35454</c:v>
                </c:pt>
                <c:pt idx="395">
                  <c:v>35454</c:v>
                </c:pt>
                <c:pt idx="396">
                  <c:v>34683</c:v>
                </c:pt>
                <c:pt idx="397">
                  <c:v>34683</c:v>
                </c:pt>
                <c:pt idx="398">
                  <c:v>34683</c:v>
                </c:pt>
                <c:pt idx="399">
                  <c:v>34649</c:v>
                </c:pt>
                <c:pt idx="400">
                  <c:v>34649</c:v>
                </c:pt>
                <c:pt idx="401">
                  <c:v>34693</c:v>
                </c:pt>
                <c:pt idx="402">
                  <c:v>34693</c:v>
                </c:pt>
                <c:pt idx="403">
                  <c:v>34693</c:v>
                </c:pt>
                <c:pt idx="404">
                  <c:v>34830</c:v>
                </c:pt>
                <c:pt idx="405">
                  <c:v>35093</c:v>
                </c:pt>
                <c:pt idx="406">
                  <c:v>34936</c:v>
                </c:pt>
                <c:pt idx="407">
                  <c:v>35101</c:v>
                </c:pt>
                <c:pt idx="408">
                  <c:v>35101</c:v>
                </c:pt>
                <c:pt idx="409">
                  <c:v>35193</c:v>
                </c:pt>
                <c:pt idx="410">
                  <c:v>35183</c:v>
                </c:pt>
                <c:pt idx="411">
                  <c:v>35193</c:v>
                </c:pt>
                <c:pt idx="412">
                  <c:v>34800</c:v>
                </c:pt>
                <c:pt idx="413">
                  <c:v>34800</c:v>
                </c:pt>
                <c:pt idx="414">
                  <c:v>34793</c:v>
                </c:pt>
                <c:pt idx="415">
                  <c:v>34793</c:v>
                </c:pt>
                <c:pt idx="416">
                  <c:v>34295</c:v>
                </c:pt>
                <c:pt idx="417">
                  <c:v>34295</c:v>
                </c:pt>
                <c:pt idx="418">
                  <c:v>34283</c:v>
                </c:pt>
                <c:pt idx="419">
                  <c:v>34283</c:v>
                </c:pt>
                <c:pt idx="420">
                  <c:v>34293</c:v>
                </c:pt>
                <c:pt idx="421">
                  <c:v>34022</c:v>
                </c:pt>
                <c:pt idx="422">
                  <c:v>33993</c:v>
                </c:pt>
                <c:pt idx="423">
                  <c:v>33667</c:v>
                </c:pt>
                <c:pt idx="424">
                  <c:v>33593</c:v>
                </c:pt>
                <c:pt idx="425">
                  <c:v>33808</c:v>
                </c:pt>
                <c:pt idx="426">
                  <c:v>33793</c:v>
                </c:pt>
                <c:pt idx="427">
                  <c:v>33793</c:v>
                </c:pt>
                <c:pt idx="428">
                  <c:v>33480</c:v>
                </c:pt>
                <c:pt idx="429">
                  <c:v>33293</c:v>
                </c:pt>
                <c:pt idx="430">
                  <c:v>32861</c:v>
                </c:pt>
                <c:pt idx="431">
                  <c:v>33193</c:v>
                </c:pt>
                <c:pt idx="432">
                  <c:v>33243</c:v>
                </c:pt>
                <c:pt idx="433">
                  <c:v>33293</c:v>
                </c:pt>
                <c:pt idx="434">
                  <c:v>33026</c:v>
                </c:pt>
                <c:pt idx="435">
                  <c:v>32796</c:v>
                </c:pt>
                <c:pt idx="436">
                  <c:v>32853</c:v>
                </c:pt>
                <c:pt idx="437">
                  <c:v>32822</c:v>
                </c:pt>
                <c:pt idx="438">
                  <c:v>32826</c:v>
                </c:pt>
                <c:pt idx="439">
                  <c:v>32826</c:v>
                </c:pt>
                <c:pt idx="440">
                  <c:v>32893</c:v>
                </c:pt>
                <c:pt idx="441">
                  <c:v>32893</c:v>
                </c:pt>
                <c:pt idx="442">
                  <c:v>32893</c:v>
                </c:pt>
                <c:pt idx="443">
                  <c:v>32893</c:v>
                </c:pt>
                <c:pt idx="444">
                  <c:v>33093</c:v>
                </c:pt>
                <c:pt idx="445">
                  <c:v>33093</c:v>
                </c:pt>
                <c:pt idx="446">
                  <c:v>32893</c:v>
                </c:pt>
                <c:pt idx="447">
                  <c:v>32893</c:v>
                </c:pt>
                <c:pt idx="448">
                  <c:v>32893</c:v>
                </c:pt>
                <c:pt idx="449">
                  <c:v>32893</c:v>
                </c:pt>
                <c:pt idx="450">
                  <c:v>32863</c:v>
                </c:pt>
                <c:pt idx="451">
                  <c:v>32893</c:v>
                </c:pt>
                <c:pt idx="452">
                  <c:v>32793</c:v>
                </c:pt>
                <c:pt idx="453">
                  <c:v>32793</c:v>
                </c:pt>
                <c:pt idx="454">
                  <c:v>32552</c:v>
                </c:pt>
                <c:pt idx="455">
                  <c:v>32552</c:v>
                </c:pt>
                <c:pt idx="456">
                  <c:v>31993</c:v>
                </c:pt>
                <c:pt idx="457">
                  <c:v>32093</c:v>
                </c:pt>
                <c:pt idx="458">
                  <c:v>31593</c:v>
                </c:pt>
                <c:pt idx="459">
                  <c:v>31793</c:v>
                </c:pt>
                <c:pt idx="460">
                  <c:v>31593</c:v>
                </c:pt>
                <c:pt idx="461">
                  <c:v>31393</c:v>
                </c:pt>
                <c:pt idx="462">
                  <c:v>31193</c:v>
                </c:pt>
                <c:pt idx="463">
                  <c:v>30793</c:v>
                </c:pt>
                <c:pt idx="464">
                  <c:v>30718</c:v>
                </c:pt>
                <c:pt idx="465">
                  <c:v>30821</c:v>
                </c:pt>
                <c:pt idx="466">
                  <c:v>30186</c:v>
                </c:pt>
                <c:pt idx="467">
                  <c:v>30293</c:v>
                </c:pt>
                <c:pt idx="468">
                  <c:v>30293</c:v>
                </c:pt>
                <c:pt idx="469">
                  <c:v>29803</c:v>
                </c:pt>
                <c:pt idx="470">
                  <c:v>29609</c:v>
                </c:pt>
                <c:pt idx="471">
                  <c:v>29593</c:v>
                </c:pt>
                <c:pt idx="472">
                  <c:v>29393</c:v>
                </c:pt>
                <c:pt idx="473">
                  <c:v>29328</c:v>
                </c:pt>
                <c:pt idx="474">
                  <c:v>29328</c:v>
                </c:pt>
                <c:pt idx="475">
                  <c:v>28154</c:v>
                </c:pt>
                <c:pt idx="476">
                  <c:v>27954</c:v>
                </c:pt>
                <c:pt idx="477">
                  <c:v>27953</c:v>
                </c:pt>
                <c:pt idx="478">
                  <c:v>27960</c:v>
                </c:pt>
                <c:pt idx="479">
                  <c:v>28343</c:v>
                </c:pt>
                <c:pt idx="480">
                  <c:v>27921</c:v>
                </c:pt>
                <c:pt idx="481">
                  <c:v>28293</c:v>
                </c:pt>
                <c:pt idx="482">
                  <c:v>28393</c:v>
                </c:pt>
                <c:pt idx="483">
                  <c:v>28193</c:v>
                </c:pt>
                <c:pt idx="484">
                  <c:v>28193</c:v>
                </c:pt>
                <c:pt idx="485">
                  <c:v>28393</c:v>
                </c:pt>
                <c:pt idx="486">
                  <c:v>28093</c:v>
                </c:pt>
                <c:pt idx="487">
                  <c:v>28093</c:v>
                </c:pt>
                <c:pt idx="488">
                  <c:v>28093</c:v>
                </c:pt>
                <c:pt idx="489">
                  <c:v>27203</c:v>
                </c:pt>
                <c:pt idx="490">
                  <c:v>27128</c:v>
                </c:pt>
                <c:pt idx="491">
                  <c:v>26664</c:v>
                </c:pt>
                <c:pt idx="492">
                  <c:v>27393</c:v>
                </c:pt>
                <c:pt idx="493">
                  <c:v>27035</c:v>
                </c:pt>
                <c:pt idx="494">
                  <c:v>27003</c:v>
                </c:pt>
                <c:pt idx="495">
                  <c:v>26993</c:v>
                </c:pt>
                <c:pt idx="496">
                  <c:v>26446</c:v>
                </c:pt>
                <c:pt idx="497">
                  <c:v>27044</c:v>
                </c:pt>
                <c:pt idx="498">
                  <c:v>26816</c:v>
                </c:pt>
                <c:pt idx="499">
                  <c:v>27474</c:v>
                </c:pt>
                <c:pt idx="500">
                  <c:v>27458</c:v>
                </c:pt>
                <c:pt idx="501">
                  <c:v>27360</c:v>
                </c:pt>
                <c:pt idx="502">
                  <c:v>27157</c:v>
                </c:pt>
                <c:pt idx="503">
                  <c:v>27150</c:v>
                </c:pt>
                <c:pt idx="504">
                  <c:v>27212</c:v>
                </c:pt>
                <c:pt idx="505">
                  <c:v>27147</c:v>
                </c:pt>
                <c:pt idx="506">
                  <c:v>27147</c:v>
                </c:pt>
                <c:pt idx="507">
                  <c:v>27050</c:v>
                </c:pt>
                <c:pt idx="508">
                  <c:v>26877</c:v>
                </c:pt>
                <c:pt idx="509">
                  <c:v>26845</c:v>
                </c:pt>
                <c:pt idx="510">
                  <c:v>26672</c:v>
                </c:pt>
                <c:pt idx="511">
                  <c:v>26661</c:v>
                </c:pt>
                <c:pt idx="512">
                  <c:v>26339</c:v>
                </c:pt>
                <c:pt idx="513">
                  <c:v>26339</c:v>
                </c:pt>
                <c:pt idx="514">
                  <c:v>26173</c:v>
                </c:pt>
                <c:pt idx="515">
                  <c:v>25541</c:v>
                </c:pt>
                <c:pt idx="516">
                  <c:v>25539</c:v>
                </c:pt>
                <c:pt idx="517">
                  <c:v>25614</c:v>
                </c:pt>
                <c:pt idx="518">
                  <c:v>25689</c:v>
                </c:pt>
                <c:pt idx="519">
                  <c:v>25696</c:v>
                </c:pt>
                <c:pt idx="520">
                  <c:v>25895</c:v>
                </c:pt>
                <c:pt idx="521">
                  <c:v>25603</c:v>
                </c:pt>
                <c:pt idx="522">
                  <c:v>26459</c:v>
                </c:pt>
                <c:pt idx="523">
                  <c:v>26295</c:v>
                </c:pt>
                <c:pt idx="524">
                  <c:v>26361</c:v>
                </c:pt>
                <c:pt idx="525">
                  <c:v>26361</c:v>
                </c:pt>
                <c:pt idx="526">
                  <c:v>27434</c:v>
                </c:pt>
                <c:pt idx="527">
                  <c:v>27804</c:v>
                </c:pt>
                <c:pt idx="528">
                  <c:v>28115</c:v>
                </c:pt>
                <c:pt idx="529">
                  <c:v>28168</c:v>
                </c:pt>
                <c:pt idx="530">
                  <c:v>28590</c:v>
                </c:pt>
                <c:pt idx="531">
                  <c:v>29199</c:v>
                </c:pt>
                <c:pt idx="532">
                  <c:v>29330</c:v>
                </c:pt>
                <c:pt idx="533">
                  <c:v>29433</c:v>
                </c:pt>
                <c:pt idx="534">
                  <c:v>29458</c:v>
                </c:pt>
                <c:pt idx="535">
                  <c:v>29439</c:v>
                </c:pt>
                <c:pt idx="536">
                  <c:v>28839</c:v>
                </c:pt>
                <c:pt idx="537">
                  <c:v>28803</c:v>
                </c:pt>
                <c:pt idx="538">
                  <c:v>28823</c:v>
                </c:pt>
                <c:pt idx="539">
                  <c:v>28818</c:v>
                </c:pt>
                <c:pt idx="540">
                  <c:v>28417</c:v>
                </c:pt>
                <c:pt idx="541">
                  <c:v>28395</c:v>
                </c:pt>
                <c:pt idx="542">
                  <c:v>28799</c:v>
                </c:pt>
                <c:pt idx="543">
                  <c:v>28339</c:v>
                </c:pt>
                <c:pt idx="544">
                  <c:v>28449</c:v>
                </c:pt>
                <c:pt idx="545">
                  <c:v>28844</c:v>
                </c:pt>
                <c:pt idx="546">
                  <c:v>28844</c:v>
                </c:pt>
                <c:pt idx="547">
                  <c:v>28939</c:v>
                </c:pt>
                <c:pt idx="548">
                  <c:v>28959</c:v>
                </c:pt>
                <c:pt idx="549">
                  <c:v>29523</c:v>
                </c:pt>
                <c:pt idx="550">
                  <c:v>30233</c:v>
                </c:pt>
                <c:pt idx="551">
                  <c:v>30905</c:v>
                </c:pt>
                <c:pt idx="552">
                  <c:v>29630</c:v>
                </c:pt>
                <c:pt idx="553">
                  <c:v>30033</c:v>
                </c:pt>
                <c:pt idx="554">
                  <c:v>30901</c:v>
                </c:pt>
                <c:pt idx="555">
                  <c:v>31247</c:v>
                </c:pt>
                <c:pt idx="556">
                  <c:v>31416</c:v>
                </c:pt>
                <c:pt idx="557">
                  <c:v>30229</c:v>
                </c:pt>
                <c:pt idx="558">
                  <c:v>31577</c:v>
                </c:pt>
                <c:pt idx="559">
                  <c:v>31897</c:v>
                </c:pt>
                <c:pt idx="560">
                  <c:v>32261</c:v>
                </c:pt>
                <c:pt idx="561">
                  <c:v>32150</c:v>
                </c:pt>
                <c:pt idx="562">
                  <c:v>32283</c:v>
                </c:pt>
                <c:pt idx="563">
                  <c:v>31965</c:v>
                </c:pt>
                <c:pt idx="564">
                  <c:v>32109</c:v>
                </c:pt>
                <c:pt idx="565">
                  <c:v>32419</c:v>
                </c:pt>
                <c:pt idx="566">
                  <c:v>32658</c:v>
                </c:pt>
                <c:pt idx="567">
                  <c:v>32658</c:v>
                </c:pt>
                <c:pt idx="568">
                  <c:v>32658</c:v>
                </c:pt>
                <c:pt idx="569">
                  <c:v>32119</c:v>
                </c:pt>
                <c:pt idx="570">
                  <c:v>32029</c:v>
                </c:pt>
                <c:pt idx="571">
                  <c:v>30503</c:v>
                </c:pt>
                <c:pt idx="572">
                  <c:v>32882</c:v>
                </c:pt>
                <c:pt idx="573">
                  <c:v>32718</c:v>
                </c:pt>
                <c:pt idx="574">
                  <c:v>32696</c:v>
                </c:pt>
                <c:pt idx="575">
                  <c:v>32739</c:v>
                </c:pt>
                <c:pt idx="576">
                  <c:v>32666</c:v>
                </c:pt>
                <c:pt idx="577">
                  <c:v>32849</c:v>
                </c:pt>
                <c:pt idx="578">
                  <c:v>32832</c:v>
                </c:pt>
                <c:pt idx="579">
                  <c:v>32508</c:v>
                </c:pt>
                <c:pt idx="580">
                  <c:v>32696</c:v>
                </c:pt>
                <c:pt idx="581">
                  <c:v>32692</c:v>
                </c:pt>
                <c:pt idx="582">
                  <c:v>32768</c:v>
                </c:pt>
                <c:pt idx="583">
                  <c:v>32615</c:v>
                </c:pt>
                <c:pt idx="584">
                  <c:v>32534</c:v>
                </c:pt>
                <c:pt idx="585">
                  <c:v>33011</c:v>
                </c:pt>
                <c:pt idx="586">
                  <c:v>32876</c:v>
                </c:pt>
                <c:pt idx="587">
                  <c:v>32498</c:v>
                </c:pt>
                <c:pt idx="588">
                  <c:v>31976</c:v>
                </c:pt>
                <c:pt idx="589">
                  <c:v>32389</c:v>
                </c:pt>
                <c:pt idx="590">
                  <c:v>32388</c:v>
                </c:pt>
                <c:pt idx="591">
                  <c:v>32013</c:v>
                </c:pt>
                <c:pt idx="592">
                  <c:v>32155</c:v>
                </c:pt>
                <c:pt idx="593">
                  <c:v>32449</c:v>
                </c:pt>
                <c:pt idx="594">
                  <c:v>32187</c:v>
                </c:pt>
                <c:pt idx="595">
                  <c:v>32064</c:v>
                </c:pt>
                <c:pt idx="596">
                  <c:v>31773</c:v>
                </c:pt>
                <c:pt idx="597">
                  <c:v>31706</c:v>
                </c:pt>
                <c:pt idx="598">
                  <c:v>31568</c:v>
                </c:pt>
                <c:pt idx="599">
                  <c:v>31741</c:v>
                </c:pt>
                <c:pt idx="600">
                  <c:v>31829</c:v>
                </c:pt>
                <c:pt idx="601">
                  <c:v>31876</c:v>
                </c:pt>
                <c:pt idx="602">
                  <c:v>32026</c:v>
                </c:pt>
                <c:pt idx="603">
                  <c:v>31908</c:v>
                </c:pt>
                <c:pt idx="604">
                  <c:v>31748</c:v>
                </c:pt>
                <c:pt idx="605">
                  <c:v>31677</c:v>
                </c:pt>
                <c:pt idx="606">
                  <c:v>31470</c:v>
                </c:pt>
                <c:pt idx="607">
                  <c:v>31328</c:v>
                </c:pt>
                <c:pt idx="608">
                  <c:v>31489</c:v>
                </c:pt>
                <c:pt idx="609">
                  <c:v>31218</c:v>
                </c:pt>
                <c:pt idx="610">
                  <c:v>30938</c:v>
                </c:pt>
                <c:pt idx="611">
                  <c:v>30862</c:v>
                </c:pt>
                <c:pt idx="612">
                  <c:v>30541</c:v>
                </c:pt>
                <c:pt idx="613">
                  <c:v>30735</c:v>
                </c:pt>
                <c:pt idx="614">
                  <c:v>30624</c:v>
                </c:pt>
                <c:pt idx="615">
                  <c:v>31144</c:v>
                </c:pt>
                <c:pt idx="616">
                  <c:v>31239</c:v>
                </c:pt>
                <c:pt idx="617">
                  <c:v>31742</c:v>
                </c:pt>
                <c:pt idx="618">
                  <c:v>31866</c:v>
                </c:pt>
                <c:pt idx="619">
                  <c:v>31939</c:v>
                </c:pt>
                <c:pt idx="620">
                  <c:v>31919</c:v>
                </c:pt>
                <c:pt idx="621">
                  <c:v>31893</c:v>
                </c:pt>
                <c:pt idx="622">
                  <c:v>31635</c:v>
                </c:pt>
                <c:pt idx="623">
                  <c:v>31600</c:v>
                </c:pt>
                <c:pt idx="624">
                  <c:v>31356</c:v>
                </c:pt>
                <c:pt idx="625">
                  <c:v>31264</c:v>
                </c:pt>
                <c:pt idx="626">
                  <c:v>31209</c:v>
                </c:pt>
                <c:pt idx="627">
                  <c:v>30936</c:v>
                </c:pt>
                <c:pt idx="628">
                  <c:v>30870</c:v>
                </c:pt>
                <c:pt idx="629">
                  <c:v>31154</c:v>
                </c:pt>
                <c:pt idx="630">
                  <c:v>31264</c:v>
                </c:pt>
                <c:pt idx="631">
                  <c:v>31149</c:v>
                </c:pt>
                <c:pt idx="632">
                  <c:v>31221</c:v>
                </c:pt>
                <c:pt idx="633">
                  <c:v>31362</c:v>
                </c:pt>
                <c:pt idx="634">
                  <c:v>31477</c:v>
                </c:pt>
                <c:pt idx="635">
                  <c:v>31280</c:v>
                </c:pt>
                <c:pt idx="636">
                  <c:v>31439</c:v>
                </c:pt>
                <c:pt idx="637">
                  <c:v>31439</c:v>
                </c:pt>
                <c:pt idx="638">
                  <c:v>32086</c:v>
                </c:pt>
                <c:pt idx="639">
                  <c:v>31450</c:v>
                </c:pt>
                <c:pt idx="640">
                  <c:v>31452</c:v>
                </c:pt>
                <c:pt idx="641">
                  <c:v>31598</c:v>
                </c:pt>
                <c:pt idx="642">
                  <c:v>31651</c:v>
                </c:pt>
                <c:pt idx="643">
                  <c:v>31686</c:v>
                </c:pt>
                <c:pt idx="644">
                  <c:v>31357</c:v>
                </c:pt>
                <c:pt idx="645">
                  <c:v>31664</c:v>
                </c:pt>
                <c:pt idx="646">
                  <c:v>31681</c:v>
                </c:pt>
                <c:pt idx="647">
                  <c:v>31529</c:v>
                </c:pt>
                <c:pt idx="648">
                  <c:v>31964</c:v>
                </c:pt>
                <c:pt idx="649">
                  <c:v>31980</c:v>
                </c:pt>
                <c:pt idx="650">
                  <c:v>32013</c:v>
                </c:pt>
                <c:pt idx="651">
                  <c:v>32090</c:v>
                </c:pt>
                <c:pt idx="652">
                  <c:v>31927</c:v>
                </c:pt>
                <c:pt idx="653">
                  <c:v>31992</c:v>
                </c:pt>
                <c:pt idx="654">
                  <c:v>31919</c:v>
                </c:pt>
                <c:pt idx="655">
                  <c:v>32267</c:v>
                </c:pt>
                <c:pt idx="656">
                  <c:v>32247</c:v>
                </c:pt>
                <c:pt idx="657">
                  <c:v>32112</c:v>
                </c:pt>
                <c:pt idx="658">
                  <c:v>32532</c:v>
                </c:pt>
                <c:pt idx="659">
                  <c:v>32931</c:v>
                </c:pt>
                <c:pt idx="660">
                  <c:v>32941</c:v>
                </c:pt>
                <c:pt idx="661">
                  <c:v>33571</c:v>
                </c:pt>
                <c:pt idx="662">
                  <c:v>33895</c:v>
                </c:pt>
                <c:pt idx="663">
                  <c:v>34323</c:v>
                </c:pt>
                <c:pt idx="664">
                  <c:v>34312</c:v>
                </c:pt>
                <c:pt idx="665">
                  <c:v>34385</c:v>
                </c:pt>
                <c:pt idx="666">
                  <c:v>34144</c:v>
                </c:pt>
                <c:pt idx="667">
                  <c:v>33870</c:v>
                </c:pt>
                <c:pt idx="668">
                  <c:v>34460</c:v>
                </c:pt>
                <c:pt idx="669">
                  <c:v>34444</c:v>
                </c:pt>
                <c:pt idx="670">
                  <c:v>34348</c:v>
                </c:pt>
                <c:pt idx="671">
                  <c:v>35055</c:v>
                </c:pt>
                <c:pt idx="672">
                  <c:v>35880</c:v>
                </c:pt>
                <c:pt idx="673">
                  <c:v>35804</c:v>
                </c:pt>
                <c:pt idx="674">
                  <c:v>35607</c:v>
                </c:pt>
                <c:pt idx="675">
                  <c:v>35881</c:v>
                </c:pt>
                <c:pt idx="676">
                  <c:v>35561</c:v>
                </c:pt>
                <c:pt idx="677">
                  <c:v>33353</c:v>
                </c:pt>
                <c:pt idx="678">
                  <c:v>35824</c:v>
                </c:pt>
                <c:pt idx="679">
                  <c:v>36044</c:v>
                </c:pt>
                <c:pt idx="680">
                  <c:v>35814</c:v>
                </c:pt>
                <c:pt idx="681">
                  <c:v>36029</c:v>
                </c:pt>
                <c:pt idx="682">
                  <c:v>36024</c:v>
                </c:pt>
                <c:pt idx="683">
                  <c:v>35677</c:v>
                </c:pt>
                <c:pt idx="684">
                  <c:v>35449</c:v>
                </c:pt>
                <c:pt idx="685">
                  <c:v>35365</c:v>
                </c:pt>
                <c:pt idx="686">
                  <c:v>35015</c:v>
                </c:pt>
                <c:pt idx="687">
                  <c:v>35228</c:v>
                </c:pt>
                <c:pt idx="688">
                  <c:v>35067</c:v>
                </c:pt>
                <c:pt idx="689">
                  <c:v>34535</c:v>
                </c:pt>
                <c:pt idx="690">
                  <c:v>34364</c:v>
                </c:pt>
                <c:pt idx="691">
                  <c:v>34070</c:v>
                </c:pt>
                <c:pt idx="692">
                  <c:v>33906</c:v>
                </c:pt>
                <c:pt idx="693">
                  <c:v>33784</c:v>
                </c:pt>
                <c:pt idx="694">
                  <c:v>34374</c:v>
                </c:pt>
                <c:pt idx="695">
                  <c:v>33584</c:v>
                </c:pt>
                <c:pt idx="696">
                  <c:v>33518</c:v>
                </c:pt>
                <c:pt idx="697">
                  <c:v>32863</c:v>
                </c:pt>
                <c:pt idx="698">
                  <c:v>33674</c:v>
                </c:pt>
                <c:pt idx="699">
                  <c:v>33690</c:v>
                </c:pt>
                <c:pt idx="700">
                  <c:v>33547</c:v>
                </c:pt>
                <c:pt idx="701">
                  <c:v>33210</c:v>
                </c:pt>
                <c:pt idx="702">
                  <c:v>33112</c:v>
                </c:pt>
                <c:pt idx="703">
                  <c:v>33009</c:v>
                </c:pt>
                <c:pt idx="704">
                  <c:v>33148</c:v>
                </c:pt>
                <c:pt idx="705">
                  <c:v>33197</c:v>
                </c:pt>
                <c:pt idx="706">
                  <c:v>33008</c:v>
                </c:pt>
                <c:pt idx="707">
                  <c:v>33172</c:v>
                </c:pt>
                <c:pt idx="708">
                  <c:v>33231</c:v>
                </c:pt>
                <c:pt idx="709">
                  <c:v>33216</c:v>
                </c:pt>
                <c:pt idx="710">
                  <c:v>32746</c:v>
                </c:pt>
                <c:pt idx="711">
                  <c:v>33037</c:v>
                </c:pt>
                <c:pt idx="712">
                  <c:v>32149</c:v>
                </c:pt>
                <c:pt idx="713">
                  <c:v>31937</c:v>
                </c:pt>
                <c:pt idx="714">
                  <c:v>31944</c:v>
                </c:pt>
                <c:pt idx="715">
                  <c:v>32065</c:v>
                </c:pt>
                <c:pt idx="716">
                  <c:v>31732</c:v>
                </c:pt>
                <c:pt idx="717">
                  <c:v>31509</c:v>
                </c:pt>
                <c:pt idx="718">
                  <c:v>31522</c:v>
                </c:pt>
                <c:pt idx="719">
                  <c:v>31442</c:v>
                </c:pt>
                <c:pt idx="720">
                  <c:v>31498</c:v>
                </c:pt>
                <c:pt idx="721">
                  <c:v>31499</c:v>
                </c:pt>
                <c:pt idx="722">
                  <c:v>31347</c:v>
                </c:pt>
                <c:pt idx="723">
                  <c:v>30817</c:v>
                </c:pt>
                <c:pt idx="724">
                  <c:v>30563</c:v>
                </c:pt>
                <c:pt idx="725">
                  <c:v>30444</c:v>
                </c:pt>
                <c:pt idx="726">
                  <c:v>30773</c:v>
                </c:pt>
                <c:pt idx="727">
                  <c:v>31209</c:v>
                </c:pt>
                <c:pt idx="728">
                  <c:v>29634</c:v>
                </c:pt>
                <c:pt idx="729">
                  <c:v>28851</c:v>
                </c:pt>
                <c:pt idx="730">
                  <c:v>28253</c:v>
                </c:pt>
                <c:pt idx="731">
                  <c:v>27930</c:v>
                </c:pt>
                <c:pt idx="732">
                  <c:v>27946</c:v>
                </c:pt>
                <c:pt idx="733">
                  <c:v>27831</c:v>
                </c:pt>
                <c:pt idx="734">
                  <c:v>27958</c:v>
                </c:pt>
                <c:pt idx="735">
                  <c:v>27631</c:v>
                </c:pt>
                <c:pt idx="736">
                  <c:v>27458</c:v>
                </c:pt>
                <c:pt idx="737">
                  <c:v>27605</c:v>
                </c:pt>
                <c:pt idx="738">
                  <c:v>27591</c:v>
                </c:pt>
                <c:pt idx="739">
                  <c:v>27628</c:v>
                </c:pt>
                <c:pt idx="740">
                  <c:v>27832</c:v>
                </c:pt>
                <c:pt idx="741">
                  <c:v>27992</c:v>
                </c:pt>
                <c:pt idx="742">
                  <c:v>28604</c:v>
                </c:pt>
                <c:pt idx="743">
                  <c:v>28904</c:v>
                </c:pt>
                <c:pt idx="744">
                  <c:v>28311</c:v>
                </c:pt>
                <c:pt idx="745">
                  <c:v>28599</c:v>
                </c:pt>
                <c:pt idx="746">
                  <c:v>29730</c:v>
                </c:pt>
                <c:pt idx="747">
                  <c:v>30637</c:v>
                </c:pt>
                <c:pt idx="748">
                  <c:v>30731</c:v>
                </c:pt>
                <c:pt idx="749">
                  <c:v>30494</c:v>
                </c:pt>
                <c:pt idx="750">
                  <c:v>30418</c:v>
                </c:pt>
                <c:pt idx="751">
                  <c:v>30500</c:v>
                </c:pt>
                <c:pt idx="752">
                  <c:v>30532</c:v>
                </c:pt>
                <c:pt idx="753">
                  <c:v>30389</c:v>
                </c:pt>
                <c:pt idx="754">
                  <c:v>30317</c:v>
                </c:pt>
                <c:pt idx="755">
                  <c:v>30344</c:v>
                </c:pt>
                <c:pt idx="756">
                  <c:v>30393</c:v>
                </c:pt>
                <c:pt idx="757">
                  <c:v>30270</c:v>
                </c:pt>
                <c:pt idx="758">
                  <c:v>30318</c:v>
                </c:pt>
                <c:pt idx="759">
                  <c:v>30593</c:v>
                </c:pt>
                <c:pt idx="760">
                  <c:v>30570</c:v>
                </c:pt>
                <c:pt idx="761">
                  <c:v>30956</c:v>
                </c:pt>
                <c:pt idx="762">
                  <c:v>31185</c:v>
                </c:pt>
                <c:pt idx="763">
                  <c:v>31455</c:v>
                </c:pt>
                <c:pt idx="764">
                  <c:v>31682</c:v>
                </c:pt>
                <c:pt idx="765">
                  <c:v>31681</c:v>
                </c:pt>
                <c:pt idx="766">
                  <c:v>31983</c:v>
                </c:pt>
                <c:pt idx="767">
                  <c:v>31970</c:v>
                </c:pt>
                <c:pt idx="768">
                  <c:v>31388</c:v>
                </c:pt>
                <c:pt idx="769">
                  <c:v>31613</c:v>
                </c:pt>
                <c:pt idx="770">
                  <c:v>31577</c:v>
                </c:pt>
                <c:pt idx="771">
                  <c:v>31349</c:v>
                </c:pt>
                <c:pt idx="772">
                  <c:v>31353</c:v>
                </c:pt>
                <c:pt idx="773">
                  <c:v>31473</c:v>
                </c:pt>
                <c:pt idx="774">
                  <c:v>31703</c:v>
                </c:pt>
                <c:pt idx="775">
                  <c:v>31460</c:v>
                </c:pt>
                <c:pt idx="776">
                  <c:v>31083</c:v>
                </c:pt>
                <c:pt idx="777">
                  <c:v>31085</c:v>
                </c:pt>
                <c:pt idx="778">
                  <c:v>31076</c:v>
                </c:pt>
                <c:pt idx="779">
                  <c:v>30854</c:v>
                </c:pt>
                <c:pt idx="780">
                  <c:v>30995</c:v>
                </c:pt>
                <c:pt idx="781">
                  <c:v>30793</c:v>
                </c:pt>
                <c:pt idx="782">
                  <c:v>30763</c:v>
                </c:pt>
                <c:pt idx="783">
                  <c:v>30926</c:v>
                </c:pt>
                <c:pt idx="784">
                  <c:v>30733</c:v>
                </c:pt>
                <c:pt idx="785">
                  <c:v>30548</c:v>
                </c:pt>
                <c:pt idx="786">
                  <c:v>30131</c:v>
                </c:pt>
                <c:pt idx="787">
                  <c:v>29930</c:v>
                </c:pt>
                <c:pt idx="788">
                  <c:v>30484</c:v>
                </c:pt>
                <c:pt idx="789">
                  <c:v>30209</c:v>
                </c:pt>
                <c:pt idx="790">
                  <c:v>30086</c:v>
                </c:pt>
                <c:pt idx="791">
                  <c:v>29233</c:v>
                </c:pt>
                <c:pt idx="792">
                  <c:v>30367</c:v>
                </c:pt>
                <c:pt idx="793">
                  <c:v>29637</c:v>
                </c:pt>
                <c:pt idx="794">
                  <c:v>29910</c:v>
                </c:pt>
                <c:pt idx="795">
                  <c:v>29778</c:v>
                </c:pt>
                <c:pt idx="796">
                  <c:v>29695</c:v>
                </c:pt>
                <c:pt idx="797">
                  <c:v>29574</c:v>
                </c:pt>
                <c:pt idx="798">
                  <c:v>29421</c:v>
                </c:pt>
                <c:pt idx="799">
                  <c:v>29505</c:v>
                </c:pt>
                <c:pt idx="800">
                  <c:v>29336</c:v>
                </c:pt>
                <c:pt idx="801">
                  <c:v>29609</c:v>
                </c:pt>
                <c:pt idx="802">
                  <c:v>29825</c:v>
                </c:pt>
                <c:pt idx="803">
                  <c:v>29942</c:v>
                </c:pt>
                <c:pt idx="804">
                  <c:v>29492</c:v>
                </c:pt>
                <c:pt idx="805">
                  <c:v>30099</c:v>
                </c:pt>
                <c:pt idx="806">
                  <c:v>29678</c:v>
                </c:pt>
                <c:pt idx="807">
                  <c:v>30173</c:v>
                </c:pt>
                <c:pt idx="808">
                  <c:v>30193</c:v>
                </c:pt>
                <c:pt idx="809">
                  <c:v>30227</c:v>
                </c:pt>
                <c:pt idx="810">
                  <c:v>30155</c:v>
                </c:pt>
                <c:pt idx="811">
                  <c:v>29168</c:v>
                </c:pt>
                <c:pt idx="812">
                  <c:v>29527</c:v>
                </c:pt>
                <c:pt idx="813">
                  <c:v>28739</c:v>
                </c:pt>
                <c:pt idx="814">
                  <c:v>29543</c:v>
                </c:pt>
                <c:pt idx="815">
                  <c:v>28942</c:v>
                </c:pt>
                <c:pt idx="816">
                  <c:v>29141</c:v>
                </c:pt>
                <c:pt idx="817">
                  <c:v>28593</c:v>
                </c:pt>
                <c:pt idx="818">
                  <c:v>28769</c:v>
                </c:pt>
                <c:pt idx="819">
                  <c:v>28147</c:v>
                </c:pt>
                <c:pt idx="820">
                  <c:v>28718</c:v>
                </c:pt>
                <c:pt idx="821">
                  <c:v>28602</c:v>
                </c:pt>
                <c:pt idx="822">
                  <c:v>28422</c:v>
                </c:pt>
                <c:pt idx="823">
                  <c:v>28471</c:v>
                </c:pt>
                <c:pt idx="824">
                  <c:v>28995</c:v>
                </c:pt>
                <c:pt idx="825">
                  <c:v>29021</c:v>
                </c:pt>
                <c:pt idx="826">
                  <c:v>28877</c:v>
                </c:pt>
                <c:pt idx="827">
                  <c:v>29105</c:v>
                </c:pt>
                <c:pt idx="828">
                  <c:v>29166</c:v>
                </c:pt>
                <c:pt idx="829">
                  <c:v>28711</c:v>
                </c:pt>
                <c:pt idx="830">
                  <c:v>28407</c:v>
                </c:pt>
                <c:pt idx="831">
                  <c:v>28709</c:v>
                </c:pt>
                <c:pt idx="832">
                  <c:v>28724</c:v>
                </c:pt>
                <c:pt idx="833">
                  <c:v>28638</c:v>
                </c:pt>
                <c:pt idx="834">
                  <c:v>29154</c:v>
                </c:pt>
                <c:pt idx="835">
                  <c:v>28806</c:v>
                </c:pt>
                <c:pt idx="836">
                  <c:v>28907</c:v>
                </c:pt>
                <c:pt idx="837">
                  <c:v>28429</c:v>
                </c:pt>
                <c:pt idx="838">
                  <c:v>28733</c:v>
                </c:pt>
                <c:pt idx="839">
                  <c:v>28454</c:v>
                </c:pt>
                <c:pt idx="840">
                  <c:v>28800</c:v>
                </c:pt>
                <c:pt idx="841">
                  <c:v>28997</c:v>
                </c:pt>
                <c:pt idx="842">
                  <c:v>28597</c:v>
                </c:pt>
                <c:pt idx="843">
                  <c:v>28715</c:v>
                </c:pt>
                <c:pt idx="844">
                  <c:v>28768</c:v>
                </c:pt>
                <c:pt idx="845">
                  <c:v>28832</c:v>
                </c:pt>
                <c:pt idx="846">
                  <c:v>28313</c:v>
                </c:pt>
                <c:pt idx="847">
                  <c:v>28465</c:v>
                </c:pt>
                <c:pt idx="848">
                  <c:v>28604</c:v>
                </c:pt>
                <c:pt idx="849">
                  <c:v>28436</c:v>
                </c:pt>
                <c:pt idx="850">
                  <c:v>28875</c:v>
                </c:pt>
                <c:pt idx="851">
                  <c:v>28980</c:v>
                </c:pt>
                <c:pt idx="852">
                  <c:v>28870</c:v>
                </c:pt>
                <c:pt idx="853">
                  <c:v>28870</c:v>
                </c:pt>
                <c:pt idx="854">
                  <c:v>28816</c:v>
                </c:pt>
                <c:pt idx="855">
                  <c:v>28863</c:v>
                </c:pt>
                <c:pt idx="856">
                  <c:v>28846</c:v>
                </c:pt>
                <c:pt idx="857">
                  <c:v>28876</c:v>
                </c:pt>
                <c:pt idx="858">
                  <c:v>28947</c:v>
                </c:pt>
                <c:pt idx="859">
                  <c:v>29052</c:v>
                </c:pt>
                <c:pt idx="860">
                  <c:v>29582</c:v>
                </c:pt>
                <c:pt idx="861">
                  <c:v>29114</c:v>
                </c:pt>
                <c:pt idx="862">
                  <c:v>29525</c:v>
                </c:pt>
                <c:pt idx="863">
                  <c:v>30070</c:v>
                </c:pt>
                <c:pt idx="864">
                  <c:v>30272</c:v>
                </c:pt>
                <c:pt idx="865">
                  <c:v>30496</c:v>
                </c:pt>
                <c:pt idx="866">
                  <c:v>30550</c:v>
                </c:pt>
                <c:pt idx="867">
                  <c:v>31225</c:v>
                </c:pt>
                <c:pt idx="868">
                  <c:v>31305</c:v>
                </c:pt>
                <c:pt idx="869">
                  <c:v>31431</c:v>
                </c:pt>
                <c:pt idx="870">
                  <c:v>31571</c:v>
                </c:pt>
                <c:pt idx="871">
                  <c:v>31954</c:v>
                </c:pt>
                <c:pt idx="872">
                  <c:v>32852</c:v>
                </c:pt>
                <c:pt idx="873">
                  <c:v>33309</c:v>
                </c:pt>
                <c:pt idx="874">
                  <c:v>33510</c:v>
                </c:pt>
                <c:pt idx="875">
                  <c:v>34340</c:v>
                </c:pt>
                <c:pt idx="876">
                  <c:v>34050</c:v>
                </c:pt>
                <c:pt idx="877">
                  <c:v>35320</c:v>
                </c:pt>
                <c:pt idx="878">
                  <c:v>35566</c:v>
                </c:pt>
                <c:pt idx="879">
                  <c:v>35894</c:v>
                </c:pt>
                <c:pt idx="880">
                  <c:v>35916</c:v>
                </c:pt>
                <c:pt idx="881">
                  <c:v>35454</c:v>
                </c:pt>
                <c:pt idx="882">
                  <c:v>36630</c:v>
                </c:pt>
                <c:pt idx="883">
                  <c:v>37891</c:v>
                </c:pt>
                <c:pt idx="884">
                  <c:v>37743</c:v>
                </c:pt>
                <c:pt idx="885">
                  <c:v>34947</c:v>
                </c:pt>
                <c:pt idx="886">
                  <c:v>37381</c:v>
                </c:pt>
                <c:pt idx="887">
                  <c:v>37427</c:v>
                </c:pt>
                <c:pt idx="888">
                  <c:v>36029</c:v>
                </c:pt>
                <c:pt idx="889">
                  <c:v>36810</c:v>
                </c:pt>
                <c:pt idx="890">
                  <c:v>36295</c:v>
                </c:pt>
                <c:pt idx="891">
                  <c:v>36423</c:v>
                </c:pt>
                <c:pt idx="892">
                  <c:v>36084</c:v>
                </c:pt>
                <c:pt idx="893">
                  <c:v>36147</c:v>
                </c:pt>
                <c:pt idx="894">
                  <c:v>35823</c:v>
                </c:pt>
                <c:pt idx="895">
                  <c:v>36095</c:v>
                </c:pt>
                <c:pt idx="896">
                  <c:v>36146</c:v>
                </c:pt>
                <c:pt idx="897">
                  <c:v>36388</c:v>
                </c:pt>
                <c:pt idx="898">
                  <c:v>36622</c:v>
                </c:pt>
                <c:pt idx="899">
                  <c:v>36974</c:v>
                </c:pt>
                <c:pt idx="900">
                  <c:v>37083</c:v>
                </c:pt>
                <c:pt idx="901">
                  <c:v>37009</c:v>
                </c:pt>
                <c:pt idx="902">
                  <c:v>36492</c:v>
                </c:pt>
                <c:pt idx="903">
                  <c:v>36664</c:v>
                </c:pt>
                <c:pt idx="904">
                  <c:v>36725</c:v>
                </c:pt>
                <c:pt idx="905">
                  <c:v>36802</c:v>
                </c:pt>
                <c:pt idx="906">
                  <c:v>36947</c:v>
                </c:pt>
                <c:pt idx="907">
                  <c:v>36836</c:v>
                </c:pt>
                <c:pt idx="908">
                  <c:v>37176</c:v>
                </c:pt>
                <c:pt idx="909">
                  <c:v>37155</c:v>
                </c:pt>
                <c:pt idx="910">
                  <c:v>37043</c:v>
                </c:pt>
                <c:pt idx="911">
                  <c:v>36874</c:v>
                </c:pt>
                <c:pt idx="912">
                  <c:v>36650</c:v>
                </c:pt>
                <c:pt idx="913">
                  <c:v>36717</c:v>
                </c:pt>
                <c:pt idx="914">
                  <c:v>36645</c:v>
                </c:pt>
                <c:pt idx="915">
                  <c:v>35989</c:v>
                </c:pt>
                <c:pt idx="916">
                  <c:v>36141</c:v>
                </c:pt>
                <c:pt idx="917">
                  <c:v>35952</c:v>
                </c:pt>
                <c:pt idx="918">
                  <c:v>35973</c:v>
                </c:pt>
                <c:pt idx="919">
                  <c:v>35432</c:v>
                </c:pt>
                <c:pt idx="920">
                  <c:v>35369</c:v>
                </c:pt>
                <c:pt idx="921">
                  <c:v>35089</c:v>
                </c:pt>
                <c:pt idx="922">
                  <c:v>34996</c:v>
                </c:pt>
                <c:pt idx="923">
                  <c:v>34917</c:v>
                </c:pt>
                <c:pt idx="924">
                  <c:v>34845</c:v>
                </c:pt>
                <c:pt idx="925">
                  <c:v>34741</c:v>
                </c:pt>
                <c:pt idx="926">
                  <c:v>35018</c:v>
                </c:pt>
                <c:pt idx="927">
                  <c:v>34651</c:v>
                </c:pt>
                <c:pt idx="928">
                  <c:v>34589</c:v>
                </c:pt>
                <c:pt idx="929">
                  <c:v>34790</c:v>
                </c:pt>
                <c:pt idx="930">
                  <c:v>34739</c:v>
                </c:pt>
                <c:pt idx="931">
                  <c:v>34550</c:v>
                </c:pt>
                <c:pt idx="932">
                  <c:v>34706</c:v>
                </c:pt>
                <c:pt idx="933">
                  <c:v>34720</c:v>
                </c:pt>
                <c:pt idx="934">
                  <c:v>34540</c:v>
                </c:pt>
                <c:pt idx="935">
                  <c:v>34425</c:v>
                </c:pt>
                <c:pt idx="936">
                  <c:v>34445</c:v>
                </c:pt>
                <c:pt idx="937">
                  <c:v>34490</c:v>
                </c:pt>
                <c:pt idx="938">
                  <c:v>34356</c:v>
                </c:pt>
                <c:pt idx="939">
                  <c:v>34556</c:v>
                </c:pt>
                <c:pt idx="940">
                  <c:v>34391</c:v>
                </c:pt>
                <c:pt idx="941">
                  <c:v>34268</c:v>
                </c:pt>
                <c:pt idx="942">
                  <c:v>34330</c:v>
                </c:pt>
                <c:pt idx="943">
                  <c:v>34142</c:v>
                </c:pt>
                <c:pt idx="944">
                  <c:v>33917</c:v>
                </c:pt>
                <c:pt idx="945">
                  <c:v>33620</c:v>
                </c:pt>
                <c:pt idx="946">
                  <c:v>33480</c:v>
                </c:pt>
                <c:pt idx="947">
                  <c:v>33449</c:v>
                </c:pt>
                <c:pt idx="948">
                  <c:v>33525</c:v>
                </c:pt>
                <c:pt idx="949">
                  <c:v>33540</c:v>
                </c:pt>
                <c:pt idx="950">
                  <c:v>33522</c:v>
                </c:pt>
                <c:pt idx="951">
                  <c:v>33450</c:v>
                </c:pt>
                <c:pt idx="952">
                  <c:v>33290</c:v>
                </c:pt>
                <c:pt idx="953">
                  <c:v>33237</c:v>
                </c:pt>
                <c:pt idx="954">
                  <c:v>33241</c:v>
                </c:pt>
                <c:pt idx="955">
                  <c:v>32883</c:v>
                </c:pt>
                <c:pt idx="956">
                  <c:v>32645</c:v>
                </c:pt>
                <c:pt idx="957">
                  <c:v>32717</c:v>
                </c:pt>
                <c:pt idx="958">
                  <c:v>32440</c:v>
                </c:pt>
                <c:pt idx="959">
                  <c:v>32240</c:v>
                </c:pt>
                <c:pt idx="960">
                  <c:v>31916</c:v>
                </c:pt>
                <c:pt idx="961">
                  <c:v>31692</c:v>
                </c:pt>
                <c:pt idx="962">
                  <c:v>31786</c:v>
                </c:pt>
                <c:pt idx="963">
                  <c:v>31704</c:v>
                </c:pt>
                <c:pt idx="964">
                  <c:v>31520</c:v>
                </c:pt>
                <c:pt idx="965">
                  <c:v>31493</c:v>
                </c:pt>
                <c:pt idx="966">
                  <c:v>31110</c:v>
                </c:pt>
                <c:pt idx="967">
                  <c:v>31113</c:v>
                </c:pt>
                <c:pt idx="968">
                  <c:v>31226</c:v>
                </c:pt>
                <c:pt idx="969">
                  <c:v>31526</c:v>
                </c:pt>
                <c:pt idx="970">
                  <c:v>31218</c:v>
                </c:pt>
                <c:pt idx="971">
                  <c:v>31224</c:v>
                </c:pt>
                <c:pt idx="972">
                  <c:v>31383</c:v>
                </c:pt>
                <c:pt idx="973">
                  <c:v>31464</c:v>
                </c:pt>
                <c:pt idx="974">
                  <c:v>31584</c:v>
                </c:pt>
                <c:pt idx="975">
                  <c:v>31248</c:v>
                </c:pt>
                <c:pt idx="976">
                  <c:v>31245</c:v>
                </c:pt>
                <c:pt idx="977">
                  <c:v>31296</c:v>
                </c:pt>
                <c:pt idx="978">
                  <c:v>31353</c:v>
                </c:pt>
                <c:pt idx="979">
                  <c:v>31228</c:v>
                </c:pt>
                <c:pt idx="980">
                  <c:v>31141</c:v>
                </c:pt>
                <c:pt idx="981">
                  <c:v>31005</c:v>
                </c:pt>
                <c:pt idx="982">
                  <c:v>31122</c:v>
                </c:pt>
                <c:pt idx="983">
                  <c:v>31272</c:v>
                </c:pt>
                <c:pt idx="984">
                  <c:v>31163</c:v>
                </c:pt>
                <c:pt idx="985">
                  <c:v>31374</c:v>
                </c:pt>
                <c:pt idx="986">
                  <c:v>31331</c:v>
                </c:pt>
                <c:pt idx="987">
                  <c:v>31491</c:v>
                </c:pt>
                <c:pt idx="988">
                  <c:v>31112</c:v>
                </c:pt>
                <c:pt idx="989">
                  <c:v>30864</c:v>
                </c:pt>
                <c:pt idx="990">
                  <c:v>30991</c:v>
                </c:pt>
                <c:pt idx="991">
                  <c:v>31071</c:v>
                </c:pt>
                <c:pt idx="992">
                  <c:v>31261</c:v>
                </c:pt>
                <c:pt idx="993">
                  <c:v>31280</c:v>
                </c:pt>
                <c:pt idx="994">
                  <c:v>31435</c:v>
                </c:pt>
                <c:pt idx="995">
                  <c:v>31469</c:v>
                </c:pt>
                <c:pt idx="996">
                  <c:v>31529</c:v>
                </c:pt>
                <c:pt idx="997">
                  <c:v>32071</c:v>
                </c:pt>
                <c:pt idx="998">
                  <c:v>32628</c:v>
                </c:pt>
                <c:pt idx="999">
                  <c:v>32964</c:v>
                </c:pt>
                <c:pt idx="1000">
                  <c:v>32539</c:v>
                </c:pt>
                <c:pt idx="1001">
                  <c:v>32482</c:v>
                </c:pt>
                <c:pt idx="1002">
                  <c:v>32710</c:v>
                </c:pt>
                <c:pt idx="1003">
                  <c:v>32911</c:v>
                </c:pt>
                <c:pt idx="1004">
                  <c:v>33207</c:v>
                </c:pt>
                <c:pt idx="1005">
                  <c:v>33247</c:v>
                </c:pt>
                <c:pt idx="1006">
                  <c:v>33128</c:v>
                </c:pt>
                <c:pt idx="1007">
                  <c:v>32967</c:v>
                </c:pt>
                <c:pt idx="1008">
                  <c:v>33024</c:v>
                </c:pt>
                <c:pt idx="1009">
                  <c:v>32957</c:v>
                </c:pt>
                <c:pt idx="1010">
                  <c:v>32878</c:v>
                </c:pt>
                <c:pt idx="1011">
                  <c:v>32788</c:v>
                </c:pt>
                <c:pt idx="1012">
                  <c:v>32752</c:v>
                </c:pt>
                <c:pt idx="1013">
                  <c:v>32727</c:v>
                </c:pt>
                <c:pt idx="1014">
                  <c:v>32859</c:v>
                </c:pt>
                <c:pt idx="1015">
                  <c:v>33150</c:v>
                </c:pt>
                <c:pt idx="1016">
                  <c:v>33369</c:v>
                </c:pt>
                <c:pt idx="1017">
                  <c:v>33448</c:v>
                </c:pt>
                <c:pt idx="1018">
                  <c:v>33857</c:v>
                </c:pt>
                <c:pt idx="1019">
                  <c:v>34151</c:v>
                </c:pt>
                <c:pt idx="1020">
                  <c:v>34188</c:v>
                </c:pt>
                <c:pt idx="1021">
                  <c:v>34219</c:v>
                </c:pt>
                <c:pt idx="1022">
                  <c:v>34035</c:v>
                </c:pt>
                <c:pt idx="1023">
                  <c:v>33634</c:v>
                </c:pt>
                <c:pt idx="1024">
                  <c:v>33955</c:v>
                </c:pt>
                <c:pt idx="1025">
                  <c:v>34206</c:v>
                </c:pt>
                <c:pt idx="1026">
                  <c:v>34587</c:v>
                </c:pt>
                <c:pt idx="1027">
                  <c:v>35311</c:v>
                </c:pt>
                <c:pt idx="1028">
                  <c:v>35868</c:v>
                </c:pt>
                <c:pt idx="1029">
                  <c:v>35467</c:v>
                </c:pt>
                <c:pt idx="1030">
                  <c:v>35479</c:v>
                </c:pt>
                <c:pt idx="1031">
                  <c:v>35583</c:v>
                </c:pt>
                <c:pt idx="1032">
                  <c:v>35534</c:v>
                </c:pt>
                <c:pt idx="1033">
                  <c:v>35446</c:v>
                </c:pt>
                <c:pt idx="1034">
                  <c:v>35476</c:v>
                </c:pt>
                <c:pt idx="1035">
                  <c:v>35365</c:v>
                </c:pt>
                <c:pt idx="1036">
                  <c:v>34818</c:v>
                </c:pt>
                <c:pt idx="1037">
                  <c:v>34668</c:v>
                </c:pt>
                <c:pt idx="1038">
                  <c:v>34689</c:v>
                </c:pt>
                <c:pt idx="1039">
                  <c:v>34702</c:v>
                </c:pt>
                <c:pt idx="1040">
                  <c:v>34667</c:v>
                </c:pt>
                <c:pt idx="1041">
                  <c:v>34706</c:v>
                </c:pt>
                <c:pt idx="1042">
                  <c:v>34833</c:v>
                </c:pt>
                <c:pt idx="1043">
                  <c:v>34935</c:v>
                </c:pt>
                <c:pt idx="1044">
                  <c:v>34921</c:v>
                </c:pt>
                <c:pt idx="1045">
                  <c:v>35000</c:v>
                </c:pt>
                <c:pt idx="1046">
                  <c:v>35270</c:v>
                </c:pt>
                <c:pt idx="1047">
                  <c:v>35352</c:v>
                </c:pt>
                <c:pt idx="1048">
                  <c:v>35338</c:v>
                </c:pt>
                <c:pt idx="1049">
                  <c:v>35457</c:v>
                </c:pt>
                <c:pt idx="1050">
                  <c:v>35229</c:v>
                </c:pt>
                <c:pt idx="1051">
                  <c:v>35158</c:v>
                </c:pt>
                <c:pt idx="1052">
                  <c:v>35269</c:v>
                </c:pt>
                <c:pt idx="1053">
                  <c:v>35241</c:v>
                </c:pt>
                <c:pt idx="1054">
                  <c:v>35200</c:v>
                </c:pt>
                <c:pt idx="1055">
                  <c:v>35145</c:v>
                </c:pt>
                <c:pt idx="1056">
                  <c:v>35010</c:v>
                </c:pt>
                <c:pt idx="1057">
                  <c:v>34811</c:v>
                </c:pt>
                <c:pt idx="1058">
                  <c:v>34686</c:v>
                </c:pt>
                <c:pt idx="1059">
                  <c:v>34824</c:v>
                </c:pt>
                <c:pt idx="1060">
                  <c:v>34750</c:v>
                </c:pt>
                <c:pt idx="1061">
                  <c:v>34534</c:v>
                </c:pt>
                <c:pt idx="1062">
                  <c:v>34553</c:v>
                </c:pt>
                <c:pt idx="1063">
                  <c:v>34534</c:v>
                </c:pt>
                <c:pt idx="1064">
                  <c:v>34570</c:v>
                </c:pt>
                <c:pt idx="1065">
                  <c:v>34550</c:v>
                </c:pt>
                <c:pt idx="1066">
                  <c:v>34600</c:v>
                </c:pt>
                <c:pt idx="1067">
                  <c:v>34554</c:v>
                </c:pt>
                <c:pt idx="1068">
                  <c:v>34259</c:v>
                </c:pt>
                <c:pt idx="1069">
                  <c:v>34601</c:v>
                </c:pt>
                <c:pt idx="1070">
                  <c:v>34424</c:v>
                </c:pt>
                <c:pt idx="1071">
                  <c:v>34427</c:v>
                </c:pt>
                <c:pt idx="1072">
                  <c:v>34841</c:v>
                </c:pt>
                <c:pt idx="1073">
                  <c:v>35048</c:v>
                </c:pt>
                <c:pt idx="1074">
                  <c:v>35165</c:v>
                </c:pt>
                <c:pt idx="1075">
                  <c:v>35406</c:v>
                </c:pt>
                <c:pt idx="1076">
                  <c:v>35446</c:v>
                </c:pt>
                <c:pt idx="1077">
                  <c:v>35567</c:v>
                </c:pt>
                <c:pt idx="1078">
                  <c:v>35393</c:v>
                </c:pt>
                <c:pt idx="1079">
                  <c:v>35425</c:v>
                </c:pt>
                <c:pt idx="1080">
                  <c:v>35674</c:v>
                </c:pt>
                <c:pt idx="1081">
                  <c:v>35736</c:v>
                </c:pt>
                <c:pt idx="1082">
                  <c:v>35678</c:v>
                </c:pt>
                <c:pt idx="1083">
                  <c:v>35652</c:v>
                </c:pt>
                <c:pt idx="1084">
                  <c:v>35672</c:v>
                </c:pt>
                <c:pt idx="1085">
                  <c:v>35775</c:v>
                </c:pt>
                <c:pt idx="1086">
                  <c:v>35915</c:v>
                </c:pt>
                <c:pt idx="1087">
                  <c:v>36059</c:v>
                </c:pt>
                <c:pt idx="1088">
                  <c:v>36105</c:v>
                </c:pt>
                <c:pt idx="1089">
                  <c:v>36133</c:v>
                </c:pt>
                <c:pt idx="1090">
                  <c:v>36219</c:v>
                </c:pt>
                <c:pt idx="1091">
                  <c:v>36262</c:v>
                </c:pt>
                <c:pt idx="1092">
                  <c:v>36069</c:v>
                </c:pt>
                <c:pt idx="1093">
                  <c:v>36308</c:v>
                </c:pt>
                <c:pt idx="1094">
                  <c:v>36326</c:v>
                </c:pt>
                <c:pt idx="1095">
                  <c:v>36461</c:v>
                </c:pt>
                <c:pt idx="1096">
                  <c:v>36952</c:v>
                </c:pt>
                <c:pt idx="1097">
                  <c:v>37461</c:v>
                </c:pt>
                <c:pt idx="1098">
                  <c:v>37846</c:v>
                </c:pt>
                <c:pt idx="1099">
                  <c:v>38259</c:v>
                </c:pt>
                <c:pt idx="1100">
                  <c:v>37914</c:v>
                </c:pt>
                <c:pt idx="1101">
                  <c:v>37861</c:v>
                </c:pt>
                <c:pt idx="1102">
                  <c:v>38002</c:v>
                </c:pt>
                <c:pt idx="1103">
                  <c:v>38190</c:v>
                </c:pt>
                <c:pt idx="1104">
                  <c:v>38315</c:v>
                </c:pt>
                <c:pt idx="1105">
                  <c:v>38454</c:v>
                </c:pt>
                <c:pt idx="1106">
                  <c:v>38314</c:v>
                </c:pt>
                <c:pt idx="1107">
                  <c:v>38426</c:v>
                </c:pt>
                <c:pt idx="1108">
                  <c:v>38651</c:v>
                </c:pt>
                <c:pt idx="1109">
                  <c:v>38760</c:v>
                </c:pt>
                <c:pt idx="1110">
                  <c:v>39003</c:v>
                </c:pt>
                <c:pt idx="1111">
                  <c:v>39256</c:v>
                </c:pt>
                <c:pt idx="1112">
                  <c:v>39500</c:v>
                </c:pt>
                <c:pt idx="1113">
                  <c:v>39759</c:v>
                </c:pt>
                <c:pt idx="1114">
                  <c:v>39371</c:v>
                </c:pt>
                <c:pt idx="1115">
                  <c:v>39016</c:v>
                </c:pt>
                <c:pt idx="1116">
                  <c:v>38912</c:v>
                </c:pt>
                <c:pt idx="1117">
                  <c:v>38729</c:v>
                </c:pt>
                <c:pt idx="1118">
                  <c:v>38650</c:v>
                </c:pt>
                <c:pt idx="1119">
                  <c:v>38735</c:v>
                </c:pt>
                <c:pt idx="1120">
                  <c:v>38705</c:v>
                </c:pt>
                <c:pt idx="1121">
                  <c:v>38787</c:v>
                </c:pt>
                <c:pt idx="1122">
                  <c:v>39071</c:v>
                </c:pt>
                <c:pt idx="1123">
                  <c:v>39157</c:v>
                </c:pt>
                <c:pt idx="1124">
                  <c:v>39344</c:v>
                </c:pt>
                <c:pt idx="1125">
                  <c:v>39400</c:v>
                </c:pt>
                <c:pt idx="1126">
                  <c:v>39686</c:v>
                </c:pt>
                <c:pt idx="1127">
                  <c:v>39834</c:v>
                </c:pt>
                <c:pt idx="1128">
                  <c:v>40114</c:v>
                </c:pt>
                <c:pt idx="1129">
                  <c:v>40011</c:v>
                </c:pt>
                <c:pt idx="1130">
                  <c:v>39864</c:v>
                </c:pt>
                <c:pt idx="1131">
                  <c:v>39732</c:v>
                </c:pt>
                <c:pt idx="1132">
                  <c:v>39888</c:v>
                </c:pt>
                <c:pt idx="1133">
                  <c:v>39837</c:v>
                </c:pt>
                <c:pt idx="1134">
                  <c:v>39862</c:v>
                </c:pt>
                <c:pt idx="1135">
                  <c:v>39970</c:v>
                </c:pt>
                <c:pt idx="1136">
                  <c:v>39977</c:v>
                </c:pt>
                <c:pt idx="1137">
                  <c:v>39917</c:v>
                </c:pt>
                <c:pt idx="1138">
                  <c:v>39926</c:v>
                </c:pt>
                <c:pt idx="1139">
                  <c:v>40027</c:v>
                </c:pt>
                <c:pt idx="1140">
                  <c:v>40158</c:v>
                </c:pt>
                <c:pt idx="1141">
                  <c:v>40325</c:v>
                </c:pt>
                <c:pt idx="1142">
                  <c:v>40568</c:v>
                </c:pt>
                <c:pt idx="1143">
                  <c:v>40675</c:v>
                </c:pt>
                <c:pt idx="1144">
                  <c:v>40828</c:v>
                </c:pt>
                <c:pt idx="1145">
                  <c:v>40815</c:v>
                </c:pt>
                <c:pt idx="1146">
                  <c:v>40975</c:v>
                </c:pt>
                <c:pt idx="1147">
                  <c:v>41088</c:v>
                </c:pt>
                <c:pt idx="1148">
                  <c:v>40990</c:v>
                </c:pt>
                <c:pt idx="1149">
                  <c:v>41005</c:v>
                </c:pt>
                <c:pt idx="1150">
                  <c:v>41177</c:v>
                </c:pt>
                <c:pt idx="1151">
                  <c:v>41382</c:v>
                </c:pt>
                <c:pt idx="1152">
                  <c:v>41804</c:v>
                </c:pt>
                <c:pt idx="1153">
                  <c:v>41846</c:v>
                </c:pt>
                <c:pt idx="1154">
                  <c:v>41870</c:v>
                </c:pt>
                <c:pt idx="1155">
                  <c:v>41815</c:v>
                </c:pt>
                <c:pt idx="1156">
                  <c:v>41771</c:v>
                </c:pt>
                <c:pt idx="1157">
                  <c:v>41545</c:v>
                </c:pt>
                <c:pt idx="1158">
                  <c:v>41224</c:v>
                </c:pt>
                <c:pt idx="1159">
                  <c:v>41001</c:v>
                </c:pt>
                <c:pt idx="1160">
                  <c:v>41147</c:v>
                </c:pt>
                <c:pt idx="1161">
                  <c:v>41407</c:v>
                </c:pt>
                <c:pt idx="1162">
                  <c:v>41579</c:v>
                </c:pt>
                <c:pt idx="1163">
                  <c:v>41293</c:v>
                </c:pt>
                <c:pt idx="1164">
                  <c:v>41332</c:v>
                </c:pt>
                <c:pt idx="1165">
                  <c:v>41291</c:v>
                </c:pt>
                <c:pt idx="1166">
                  <c:v>41366</c:v>
                </c:pt>
                <c:pt idx="1167">
                  <c:v>41278</c:v>
                </c:pt>
                <c:pt idx="1168">
                  <c:v>41369</c:v>
                </c:pt>
                <c:pt idx="1169">
                  <c:v>41499</c:v>
                </c:pt>
                <c:pt idx="1170">
                  <c:v>41589</c:v>
                </c:pt>
                <c:pt idx="1171">
                  <c:v>41695</c:v>
                </c:pt>
                <c:pt idx="1172">
                  <c:v>41630</c:v>
                </c:pt>
                <c:pt idx="1173">
                  <c:v>41644</c:v>
                </c:pt>
                <c:pt idx="1174">
                  <c:v>41652</c:v>
                </c:pt>
                <c:pt idx="1175">
                  <c:v>41646</c:v>
                </c:pt>
                <c:pt idx="1176">
                  <c:v>41534</c:v>
                </c:pt>
                <c:pt idx="1177">
                  <c:v>41313</c:v>
                </c:pt>
                <c:pt idx="1178">
                  <c:v>41639</c:v>
                </c:pt>
                <c:pt idx="1179">
                  <c:v>41573</c:v>
                </c:pt>
                <c:pt idx="1180">
                  <c:v>41600</c:v>
                </c:pt>
                <c:pt idx="1181">
                  <c:v>41672</c:v>
                </c:pt>
                <c:pt idx="1182">
                  <c:v>41608</c:v>
                </c:pt>
                <c:pt idx="1183">
                  <c:v>41694</c:v>
                </c:pt>
                <c:pt idx="1184">
                  <c:v>41792</c:v>
                </c:pt>
                <c:pt idx="1185">
                  <c:v>41690</c:v>
                </c:pt>
                <c:pt idx="1186">
                  <c:v>41491</c:v>
                </c:pt>
                <c:pt idx="1187">
                  <c:v>41153</c:v>
                </c:pt>
                <c:pt idx="1188">
                  <c:v>40722</c:v>
                </c:pt>
                <c:pt idx="1189">
                  <c:v>40569</c:v>
                </c:pt>
                <c:pt idx="1190">
                  <c:v>40484</c:v>
                </c:pt>
                <c:pt idx="1191">
                  <c:v>40449</c:v>
                </c:pt>
                <c:pt idx="1192">
                  <c:v>40283</c:v>
                </c:pt>
                <c:pt idx="1193">
                  <c:v>40066</c:v>
                </c:pt>
                <c:pt idx="1194">
                  <c:v>39953</c:v>
                </c:pt>
                <c:pt idx="1195">
                  <c:v>40015</c:v>
                </c:pt>
                <c:pt idx="1196">
                  <c:v>40048</c:v>
                </c:pt>
                <c:pt idx="1197">
                  <c:v>39840</c:v>
                </c:pt>
                <c:pt idx="1198">
                  <c:v>39680</c:v>
                </c:pt>
                <c:pt idx="1199">
                  <c:v>39564</c:v>
                </c:pt>
                <c:pt idx="1200">
                  <c:v>39842</c:v>
                </c:pt>
                <c:pt idx="1201">
                  <c:v>39571</c:v>
                </c:pt>
                <c:pt idx="1202">
                  <c:v>38991</c:v>
                </c:pt>
                <c:pt idx="1203">
                  <c:v>38764</c:v>
                </c:pt>
                <c:pt idx="1204">
                  <c:v>38504</c:v>
                </c:pt>
                <c:pt idx="1205">
                  <c:v>38196</c:v>
                </c:pt>
                <c:pt idx="1206">
                  <c:v>37862</c:v>
                </c:pt>
                <c:pt idx="1207">
                  <c:v>37698</c:v>
                </c:pt>
                <c:pt idx="1208">
                  <c:v>37447</c:v>
                </c:pt>
                <c:pt idx="1209">
                  <c:v>36704</c:v>
                </c:pt>
                <c:pt idx="1210">
                  <c:v>35700</c:v>
                </c:pt>
                <c:pt idx="1211">
                  <c:v>35091</c:v>
                </c:pt>
                <c:pt idx="1212">
                  <c:v>34611</c:v>
                </c:pt>
                <c:pt idx="1213">
                  <c:v>34563</c:v>
                </c:pt>
                <c:pt idx="1214">
                  <c:v>34240</c:v>
                </c:pt>
                <c:pt idx="1215">
                  <c:v>34565</c:v>
                </c:pt>
                <c:pt idx="1216">
                  <c:v>34508</c:v>
                </c:pt>
                <c:pt idx="1217">
                  <c:v>33685</c:v>
                </c:pt>
                <c:pt idx="1218">
                  <c:v>33237</c:v>
                </c:pt>
                <c:pt idx="1219">
                  <c:v>32966</c:v>
                </c:pt>
                <c:pt idx="1220">
                  <c:v>32914</c:v>
                </c:pt>
                <c:pt idx="1221">
                  <c:v>32530</c:v>
                </c:pt>
                <c:pt idx="1222">
                  <c:v>32874</c:v>
                </c:pt>
                <c:pt idx="1223">
                  <c:v>32638</c:v>
                </c:pt>
                <c:pt idx="1224">
                  <c:v>32001</c:v>
                </c:pt>
                <c:pt idx="1225">
                  <c:v>31542</c:v>
                </c:pt>
                <c:pt idx="1226">
                  <c:v>31458</c:v>
                </c:pt>
                <c:pt idx="1227">
                  <c:v>31795</c:v>
                </c:pt>
                <c:pt idx="1228">
                  <c:v>32332</c:v>
                </c:pt>
                <c:pt idx="1229">
                  <c:v>32627</c:v>
                </c:pt>
                <c:pt idx="1230">
                  <c:v>32810</c:v>
                </c:pt>
                <c:pt idx="1231">
                  <c:v>32734</c:v>
                </c:pt>
                <c:pt idx="1232">
                  <c:v>32515</c:v>
                </c:pt>
                <c:pt idx="1233">
                  <c:v>33126</c:v>
                </c:pt>
                <c:pt idx="1234">
                  <c:v>32950</c:v>
                </c:pt>
                <c:pt idx="1235">
                  <c:v>32428</c:v>
                </c:pt>
                <c:pt idx="1236">
                  <c:v>31963</c:v>
                </c:pt>
                <c:pt idx="1237">
                  <c:v>31556</c:v>
                </c:pt>
                <c:pt idx="1238">
                  <c:v>31363</c:v>
                </c:pt>
                <c:pt idx="1239">
                  <c:v>31117</c:v>
                </c:pt>
                <c:pt idx="1240">
                  <c:v>30209</c:v>
                </c:pt>
                <c:pt idx="1241">
                  <c:v>29261</c:v>
                </c:pt>
                <c:pt idx="1242">
                  <c:v>29379</c:v>
                </c:pt>
                <c:pt idx="1243">
                  <c:v>30063</c:v>
                </c:pt>
                <c:pt idx="1244">
                  <c:v>30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560640"/>
        <c:axId val="629064256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B$2</c:f>
              <c:strCache>
                <c:ptCount val="1"/>
                <c:pt idx="0">
                  <c:v>BRENT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B$218:$B$1462</c:f>
              <c:numCache>
                <c:formatCode>General</c:formatCode>
                <c:ptCount val="1245"/>
                <c:pt idx="0">
                  <c:v>81.290000000000006</c:v>
                </c:pt>
                <c:pt idx="1">
                  <c:v>79.63</c:v>
                </c:pt>
                <c:pt idx="2">
                  <c:v>78.8</c:v>
                </c:pt>
                <c:pt idx="3">
                  <c:v>78.42</c:v>
                </c:pt>
                <c:pt idx="4">
                  <c:v>77.150000000000006</c:v>
                </c:pt>
                <c:pt idx="5">
                  <c:v>77.2</c:v>
                </c:pt>
                <c:pt idx="6">
                  <c:v>77.08</c:v>
                </c:pt>
                <c:pt idx="7">
                  <c:v>77.72</c:v>
                </c:pt>
                <c:pt idx="8">
                  <c:v>74.62</c:v>
                </c:pt>
                <c:pt idx="9">
                  <c:v>72.42</c:v>
                </c:pt>
                <c:pt idx="10">
                  <c:v>72.38</c:v>
                </c:pt>
                <c:pt idx="11">
                  <c:v>73.14</c:v>
                </c:pt>
                <c:pt idx="12">
                  <c:v>72.28</c:v>
                </c:pt>
                <c:pt idx="13">
                  <c:v>72.260000000000005</c:v>
                </c:pt>
                <c:pt idx="14">
                  <c:v>71.37</c:v>
                </c:pt>
                <c:pt idx="15">
                  <c:v>73.61</c:v>
                </c:pt>
                <c:pt idx="16">
                  <c:v>76.16</c:v>
                </c:pt>
                <c:pt idx="17">
                  <c:v>75.849999999999994</c:v>
                </c:pt>
                <c:pt idx="18">
                  <c:v>71.86</c:v>
                </c:pt>
                <c:pt idx="19">
                  <c:v>70.28</c:v>
                </c:pt>
                <c:pt idx="20">
                  <c:v>69.88</c:v>
                </c:pt>
                <c:pt idx="21">
                  <c:v>72.16</c:v>
                </c:pt>
                <c:pt idx="22">
                  <c:v>73.13</c:v>
                </c:pt>
                <c:pt idx="23">
                  <c:v>73.94</c:v>
                </c:pt>
                <c:pt idx="24">
                  <c:v>73.099999999999994</c:v>
                </c:pt>
                <c:pt idx="25">
                  <c:v>72.63</c:v>
                </c:pt>
                <c:pt idx="26">
                  <c:v>75.739999999999995</c:v>
                </c:pt>
                <c:pt idx="27">
                  <c:v>76.430000000000007</c:v>
                </c:pt>
                <c:pt idx="28">
                  <c:v>77.86</c:v>
                </c:pt>
                <c:pt idx="29">
                  <c:v>76.45</c:v>
                </c:pt>
                <c:pt idx="30">
                  <c:v>77.650000000000006</c:v>
                </c:pt>
                <c:pt idx="31">
                  <c:v>78.03</c:v>
                </c:pt>
                <c:pt idx="32">
                  <c:v>77.069999999999993</c:v>
                </c:pt>
                <c:pt idx="33">
                  <c:v>78.239999999999995</c:v>
                </c:pt>
                <c:pt idx="34">
                  <c:v>79.5</c:v>
                </c:pt>
                <c:pt idx="35">
                  <c:v>79.02</c:v>
                </c:pt>
                <c:pt idx="36">
                  <c:v>80.08</c:v>
                </c:pt>
                <c:pt idx="37">
                  <c:v>80.180000000000007</c:v>
                </c:pt>
                <c:pt idx="38">
                  <c:v>80.58</c:v>
                </c:pt>
                <c:pt idx="39">
                  <c:v>80.900000000000006</c:v>
                </c:pt>
                <c:pt idx="40">
                  <c:v>79.94</c:v>
                </c:pt>
                <c:pt idx="41">
                  <c:v>79.98</c:v>
                </c:pt>
                <c:pt idx="42">
                  <c:v>78.78</c:v>
                </c:pt>
                <c:pt idx="43">
                  <c:v>80.81</c:v>
                </c:pt>
                <c:pt idx="44">
                  <c:v>81.8</c:v>
                </c:pt>
                <c:pt idx="45">
                  <c:v>79.790000000000006</c:v>
                </c:pt>
                <c:pt idx="46">
                  <c:v>79.8</c:v>
                </c:pt>
                <c:pt idx="47">
                  <c:v>80.790000000000006</c:v>
                </c:pt>
                <c:pt idx="48">
                  <c:v>79.36</c:v>
                </c:pt>
                <c:pt idx="49">
                  <c:v>79.3</c:v>
                </c:pt>
                <c:pt idx="50">
                  <c:v>79.41</c:v>
                </c:pt>
                <c:pt idx="51">
                  <c:v>81.47</c:v>
                </c:pt>
                <c:pt idx="52">
                  <c:v>81.34</c:v>
                </c:pt>
                <c:pt idx="53">
                  <c:v>82.17</c:v>
                </c:pt>
                <c:pt idx="54">
                  <c:v>84.22</c:v>
                </c:pt>
                <c:pt idx="55">
                  <c:v>84.42</c:v>
                </c:pt>
                <c:pt idx="56">
                  <c:v>85.97</c:v>
                </c:pt>
                <c:pt idx="57">
                  <c:v>86.11</c:v>
                </c:pt>
                <c:pt idx="58">
                  <c:v>85.37</c:v>
                </c:pt>
                <c:pt idx="59">
                  <c:v>85.07</c:v>
                </c:pt>
                <c:pt idx="60">
                  <c:v>84.78</c:v>
                </c:pt>
                <c:pt idx="61">
                  <c:v>85.73</c:v>
                </c:pt>
                <c:pt idx="62">
                  <c:v>85.53</c:v>
                </c:pt>
                <c:pt idx="63">
                  <c:v>86.94</c:v>
                </c:pt>
                <c:pt idx="64">
                  <c:v>87.64</c:v>
                </c:pt>
                <c:pt idx="65">
                  <c:v>85.89</c:v>
                </c:pt>
                <c:pt idx="66">
                  <c:v>85.66</c:v>
                </c:pt>
                <c:pt idx="67">
                  <c:v>84.77</c:v>
                </c:pt>
                <c:pt idx="68">
                  <c:v>85.93</c:v>
                </c:pt>
                <c:pt idx="69">
                  <c:v>85.75</c:v>
                </c:pt>
                <c:pt idx="70">
                  <c:v>87.24</c:v>
                </c:pt>
                <c:pt idx="71">
                  <c:v>87.21</c:v>
                </c:pt>
                <c:pt idx="72">
                  <c:v>85.33</c:v>
                </c:pt>
                <c:pt idx="73">
                  <c:v>85.97</c:v>
                </c:pt>
                <c:pt idx="74">
                  <c:v>86.95</c:v>
                </c:pt>
                <c:pt idx="75">
                  <c:v>87.35</c:v>
                </c:pt>
                <c:pt idx="76">
                  <c:v>87.47</c:v>
                </c:pt>
                <c:pt idx="77">
                  <c:v>82.51</c:v>
                </c:pt>
                <c:pt idx="78">
                  <c:v>79.569999999999993</c:v>
                </c:pt>
                <c:pt idx="79">
                  <c:v>78.569999999999993</c:v>
                </c:pt>
                <c:pt idx="80">
                  <c:v>78.58</c:v>
                </c:pt>
                <c:pt idx="81">
                  <c:v>81.69</c:v>
                </c:pt>
                <c:pt idx="82">
                  <c:v>81.150000000000006</c:v>
                </c:pt>
                <c:pt idx="83">
                  <c:v>78.11</c:v>
                </c:pt>
                <c:pt idx="84">
                  <c:v>78.5</c:v>
                </c:pt>
                <c:pt idx="85">
                  <c:v>74.58</c:v>
                </c:pt>
                <c:pt idx="86">
                  <c:v>73.88</c:v>
                </c:pt>
                <c:pt idx="87">
                  <c:v>71.14</c:v>
                </c:pt>
                <c:pt idx="88">
                  <c:v>71.8</c:v>
                </c:pt>
                <c:pt idx="89">
                  <c:v>71.11</c:v>
                </c:pt>
                <c:pt idx="90">
                  <c:v>69.959999999999994</c:v>
                </c:pt>
                <c:pt idx="91">
                  <c:v>71.41</c:v>
                </c:pt>
                <c:pt idx="92">
                  <c:v>74.819999999999993</c:v>
                </c:pt>
                <c:pt idx="93">
                  <c:v>74.12</c:v>
                </c:pt>
                <c:pt idx="94">
                  <c:v>74.2</c:v>
                </c:pt>
                <c:pt idx="95">
                  <c:v>74.599999999999994</c:v>
                </c:pt>
                <c:pt idx="96">
                  <c:v>72.31</c:v>
                </c:pt>
                <c:pt idx="97">
                  <c:v>74.45</c:v>
                </c:pt>
                <c:pt idx="98">
                  <c:v>75.400000000000006</c:v>
                </c:pt>
                <c:pt idx="99">
                  <c:v>71.66</c:v>
                </c:pt>
                <c:pt idx="100">
                  <c:v>72.39</c:v>
                </c:pt>
                <c:pt idx="101">
                  <c:v>73.92</c:v>
                </c:pt>
                <c:pt idx="102">
                  <c:v>76.319999999999993</c:v>
                </c:pt>
                <c:pt idx="103">
                  <c:v>75.52</c:v>
                </c:pt>
                <c:pt idx="104">
                  <c:v>75.59</c:v>
                </c:pt>
                <c:pt idx="105">
                  <c:v>75.31</c:v>
                </c:pt>
                <c:pt idx="106">
                  <c:v>77.31</c:v>
                </c:pt>
                <c:pt idx="107">
                  <c:v>78.400000000000006</c:v>
                </c:pt>
                <c:pt idx="108">
                  <c:v>78.42</c:v>
                </c:pt>
                <c:pt idx="109">
                  <c:v>77.849999999999994</c:v>
                </c:pt>
                <c:pt idx="110">
                  <c:v>75.8</c:v>
                </c:pt>
                <c:pt idx="111">
                  <c:v>76.260000000000005</c:v>
                </c:pt>
                <c:pt idx="112">
                  <c:v>78.45</c:v>
                </c:pt>
                <c:pt idx="113">
                  <c:v>78.41</c:v>
                </c:pt>
                <c:pt idx="114">
                  <c:v>75.069999999999993</c:v>
                </c:pt>
                <c:pt idx="115">
                  <c:v>74.66</c:v>
                </c:pt>
                <c:pt idx="116">
                  <c:v>72.17</c:v>
                </c:pt>
                <c:pt idx="117">
                  <c:v>71.760000000000005</c:v>
                </c:pt>
                <c:pt idx="118">
                  <c:v>71.930000000000007</c:v>
                </c:pt>
                <c:pt idx="119">
                  <c:v>71.75</c:v>
                </c:pt>
                <c:pt idx="120">
                  <c:v>73.94</c:v>
                </c:pt>
                <c:pt idx="121">
                  <c:v>75.2</c:v>
                </c:pt>
                <c:pt idx="122">
                  <c:v>75.5</c:v>
                </c:pt>
                <c:pt idx="123">
                  <c:v>75.16</c:v>
                </c:pt>
                <c:pt idx="124">
                  <c:v>76.77</c:v>
                </c:pt>
                <c:pt idx="125">
                  <c:v>76.540000000000006</c:v>
                </c:pt>
                <c:pt idx="126">
                  <c:v>76.290000000000006</c:v>
                </c:pt>
                <c:pt idx="127">
                  <c:v>75.34</c:v>
                </c:pt>
                <c:pt idx="128">
                  <c:v>75.349999999999994</c:v>
                </c:pt>
                <c:pt idx="129">
                  <c:v>76.44</c:v>
                </c:pt>
                <c:pt idx="130">
                  <c:v>75.19</c:v>
                </c:pt>
                <c:pt idx="131">
                  <c:v>77.59</c:v>
                </c:pt>
                <c:pt idx="132">
                  <c:v>77.63</c:v>
                </c:pt>
                <c:pt idx="133">
                  <c:v>77.34</c:v>
                </c:pt>
                <c:pt idx="134">
                  <c:v>75.599999999999994</c:v>
                </c:pt>
                <c:pt idx="135">
                  <c:v>76</c:v>
                </c:pt>
                <c:pt idx="136">
                  <c:v>77.349999999999994</c:v>
                </c:pt>
                <c:pt idx="137">
                  <c:v>78.260000000000005</c:v>
                </c:pt>
                <c:pt idx="138">
                  <c:v>78.17</c:v>
                </c:pt>
                <c:pt idx="139">
                  <c:v>82.7</c:v>
                </c:pt>
                <c:pt idx="140">
                  <c:v>82.1</c:v>
                </c:pt>
                <c:pt idx="141">
                  <c:v>81.73</c:v>
                </c:pt>
                <c:pt idx="142">
                  <c:v>80.36</c:v>
                </c:pt>
                <c:pt idx="143">
                  <c:v>80.3</c:v>
                </c:pt>
                <c:pt idx="144">
                  <c:v>79.97</c:v>
                </c:pt>
                <c:pt idx="145">
                  <c:v>77.67</c:v>
                </c:pt>
                <c:pt idx="146">
                  <c:v>75.88</c:v>
                </c:pt>
                <c:pt idx="147">
                  <c:v>75.739999999999995</c:v>
                </c:pt>
                <c:pt idx="148">
                  <c:v>75.2</c:v>
                </c:pt>
                <c:pt idx="149">
                  <c:v>76.89</c:v>
                </c:pt>
                <c:pt idx="150">
                  <c:v>76.3</c:v>
                </c:pt>
                <c:pt idx="151">
                  <c:v>75.38</c:v>
                </c:pt>
                <c:pt idx="152">
                  <c:v>74.430000000000007</c:v>
                </c:pt>
                <c:pt idx="153">
                  <c:v>74.33</c:v>
                </c:pt>
                <c:pt idx="154">
                  <c:v>72.180000000000007</c:v>
                </c:pt>
                <c:pt idx="155">
                  <c:v>73.72</c:v>
                </c:pt>
                <c:pt idx="156">
                  <c:v>74.88</c:v>
                </c:pt>
                <c:pt idx="157">
                  <c:v>76.87</c:v>
                </c:pt>
                <c:pt idx="158">
                  <c:v>76.930000000000007</c:v>
                </c:pt>
                <c:pt idx="159">
                  <c:v>74.42</c:v>
                </c:pt>
                <c:pt idx="160">
                  <c:v>76.37</c:v>
                </c:pt>
                <c:pt idx="161">
                  <c:v>76.89</c:v>
                </c:pt>
                <c:pt idx="162">
                  <c:v>76.569999999999993</c:v>
                </c:pt>
                <c:pt idx="163">
                  <c:v>76.62</c:v>
                </c:pt>
                <c:pt idx="164">
                  <c:v>77.260000000000005</c:v>
                </c:pt>
                <c:pt idx="165">
                  <c:v>77.930000000000007</c:v>
                </c:pt>
                <c:pt idx="166">
                  <c:v>77.209999999999994</c:v>
                </c:pt>
                <c:pt idx="167">
                  <c:v>78.41</c:v>
                </c:pt>
                <c:pt idx="168">
                  <c:v>78.36</c:v>
                </c:pt>
                <c:pt idx="169">
                  <c:v>79.099999999999994</c:v>
                </c:pt>
                <c:pt idx="170">
                  <c:v>79.2</c:v>
                </c:pt>
                <c:pt idx="171">
                  <c:v>78.47</c:v>
                </c:pt>
                <c:pt idx="172">
                  <c:v>77.97</c:v>
                </c:pt>
                <c:pt idx="173">
                  <c:v>78.23</c:v>
                </c:pt>
                <c:pt idx="174">
                  <c:v>78.099999999999994</c:v>
                </c:pt>
                <c:pt idx="175">
                  <c:v>77.98</c:v>
                </c:pt>
                <c:pt idx="176">
                  <c:v>77.930000000000007</c:v>
                </c:pt>
                <c:pt idx="177">
                  <c:v>78.8</c:v>
                </c:pt>
                <c:pt idx="178">
                  <c:v>78.94</c:v>
                </c:pt>
                <c:pt idx="179">
                  <c:v>78.849999999999994</c:v>
                </c:pt>
                <c:pt idx="180">
                  <c:v>80.67</c:v>
                </c:pt>
                <c:pt idx="181">
                  <c:v>82.11</c:v>
                </c:pt>
                <c:pt idx="182">
                  <c:v>83.81</c:v>
                </c:pt>
                <c:pt idx="183">
                  <c:v>83.69</c:v>
                </c:pt>
                <c:pt idx="184">
                  <c:v>84.65</c:v>
                </c:pt>
                <c:pt idx="185">
                  <c:v>85.3</c:v>
                </c:pt>
                <c:pt idx="186">
                  <c:v>83.11</c:v>
                </c:pt>
                <c:pt idx="187">
                  <c:v>84.19</c:v>
                </c:pt>
                <c:pt idx="188">
                  <c:v>84.33</c:v>
                </c:pt>
                <c:pt idx="189">
                  <c:v>83.39</c:v>
                </c:pt>
                <c:pt idx="190">
                  <c:v>84.84</c:v>
                </c:pt>
                <c:pt idx="191">
                  <c:v>84.02</c:v>
                </c:pt>
                <c:pt idx="192">
                  <c:v>82.76</c:v>
                </c:pt>
                <c:pt idx="193">
                  <c:v>82.52</c:v>
                </c:pt>
                <c:pt idx="194">
                  <c:v>80.89</c:v>
                </c:pt>
                <c:pt idx="195">
                  <c:v>83.65</c:v>
                </c:pt>
                <c:pt idx="196">
                  <c:v>82.04</c:v>
                </c:pt>
                <c:pt idx="197">
                  <c:v>82.9</c:v>
                </c:pt>
                <c:pt idx="198">
                  <c:v>82.95</c:v>
                </c:pt>
                <c:pt idx="199">
                  <c:v>83.5</c:v>
                </c:pt>
                <c:pt idx="200">
                  <c:v>83.34</c:v>
                </c:pt>
                <c:pt idx="201">
                  <c:v>83.55</c:v>
                </c:pt>
                <c:pt idx="202">
                  <c:v>83.14</c:v>
                </c:pt>
                <c:pt idx="203">
                  <c:v>83.26</c:v>
                </c:pt>
                <c:pt idx="204">
                  <c:v>85.65</c:v>
                </c:pt>
                <c:pt idx="205">
                  <c:v>86.57</c:v>
                </c:pt>
                <c:pt idx="206">
                  <c:v>88.13</c:v>
                </c:pt>
                <c:pt idx="207">
                  <c:v>88.47</c:v>
                </c:pt>
                <c:pt idx="208">
                  <c:v>89</c:v>
                </c:pt>
                <c:pt idx="209">
                  <c:v>88.72</c:v>
                </c:pt>
                <c:pt idx="210">
                  <c:v>86.21</c:v>
                </c:pt>
                <c:pt idx="211">
                  <c:v>86.54</c:v>
                </c:pt>
                <c:pt idx="212">
                  <c:v>86.54</c:v>
                </c:pt>
                <c:pt idx="213">
                  <c:v>84.75</c:v>
                </c:pt>
                <c:pt idx="214">
                  <c:v>83.16</c:v>
                </c:pt>
                <c:pt idx="215">
                  <c:v>85.35</c:v>
                </c:pt>
                <c:pt idx="216">
                  <c:v>84.13</c:v>
                </c:pt>
                <c:pt idx="217">
                  <c:v>84.68</c:v>
                </c:pt>
                <c:pt idx="218">
                  <c:v>83</c:v>
                </c:pt>
                <c:pt idx="219">
                  <c:v>86.21</c:v>
                </c:pt>
                <c:pt idx="220">
                  <c:v>85.91</c:v>
                </c:pt>
                <c:pt idx="221">
                  <c:v>85.8</c:v>
                </c:pt>
                <c:pt idx="222">
                  <c:v>85.79</c:v>
                </c:pt>
                <c:pt idx="223">
                  <c:v>85.45</c:v>
                </c:pt>
                <c:pt idx="224">
                  <c:v>88.92</c:v>
                </c:pt>
                <c:pt idx="225">
                  <c:v>90.64</c:v>
                </c:pt>
                <c:pt idx="226">
                  <c:v>91.68</c:v>
                </c:pt>
                <c:pt idx="227">
                  <c:v>91.73</c:v>
                </c:pt>
                <c:pt idx="228">
                  <c:v>90.9</c:v>
                </c:pt>
                <c:pt idx="229">
                  <c:v>91.18</c:v>
                </c:pt>
                <c:pt idx="230">
                  <c:v>90.97</c:v>
                </c:pt>
                <c:pt idx="231">
                  <c:v>90.73</c:v>
                </c:pt>
                <c:pt idx="232">
                  <c:v>90.95</c:v>
                </c:pt>
                <c:pt idx="233">
                  <c:v>91.48</c:v>
                </c:pt>
                <c:pt idx="234">
                  <c:v>91.9</c:v>
                </c:pt>
                <c:pt idx="235">
                  <c:v>91.81</c:v>
                </c:pt>
                <c:pt idx="236">
                  <c:v>91.75</c:v>
                </c:pt>
                <c:pt idx="237">
                  <c:v>91.93</c:v>
                </c:pt>
                <c:pt idx="238">
                  <c:v>92.6</c:v>
                </c:pt>
                <c:pt idx="239">
                  <c:v>93.8</c:v>
                </c:pt>
                <c:pt idx="240">
                  <c:v>94.32</c:v>
                </c:pt>
                <c:pt idx="241">
                  <c:v>93.46</c:v>
                </c:pt>
                <c:pt idx="242">
                  <c:v>93.55</c:v>
                </c:pt>
                <c:pt idx="243">
                  <c:v>94.21</c:v>
                </c:pt>
                <c:pt idx="244">
                  <c:v>94.03</c:v>
                </c:pt>
                <c:pt idx="245">
                  <c:v>92.71</c:v>
                </c:pt>
                <c:pt idx="246">
                  <c:v>97.51</c:v>
                </c:pt>
                <c:pt idx="247">
                  <c:v>98.33</c:v>
                </c:pt>
                <c:pt idx="248">
                  <c:v>98.4</c:v>
                </c:pt>
                <c:pt idx="249">
                  <c:v>98.68</c:v>
                </c:pt>
                <c:pt idx="250">
                  <c:v>98.42</c:v>
                </c:pt>
                <c:pt idx="251">
                  <c:v>97.53</c:v>
                </c:pt>
                <c:pt idx="252">
                  <c:v>97.95</c:v>
                </c:pt>
                <c:pt idx="253">
                  <c:v>96.42</c:v>
                </c:pt>
                <c:pt idx="254">
                  <c:v>97.59</c:v>
                </c:pt>
                <c:pt idx="255">
                  <c:v>97.55</c:v>
                </c:pt>
                <c:pt idx="256">
                  <c:v>95.27</c:v>
                </c:pt>
                <c:pt idx="257">
                  <c:v>98.2</c:v>
                </c:pt>
                <c:pt idx="258">
                  <c:v>97.15</c:v>
                </c:pt>
                <c:pt idx="259">
                  <c:v>99.33</c:v>
                </c:pt>
                <c:pt idx="260">
                  <c:v>99.81</c:v>
                </c:pt>
                <c:pt idx="261">
                  <c:v>101.62</c:v>
                </c:pt>
                <c:pt idx="262">
                  <c:v>102.35</c:v>
                </c:pt>
                <c:pt idx="263">
                  <c:v>101.75</c:v>
                </c:pt>
                <c:pt idx="264">
                  <c:v>100.1</c:v>
                </c:pt>
                <c:pt idx="265">
                  <c:v>100.35</c:v>
                </c:pt>
                <c:pt idx="266">
                  <c:v>100.23</c:v>
                </c:pt>
                <c:pt idx="267">
                  <c:v>102.02</c:v>
                </c:pt>
                <c:pt idx="268">
                  <c:v>101.73</c:v>
                </c:pt>
                <c:pt idx="269">
                  <c:v>101.43</c:v>
                </c:pt>
                <c:pt idx="270">
                  <c:v>101.55</c:v>
                </c:pt>
                <c:pt idx="271">
                  <c:v>101.83</c:v>
                </c:pt>
                <c:pt idx="272">
                  <c:v>104.29</c:v>
                </c:pt>
                <c:pt idx="273">
                  <c:v>102.97</c:v>
                </c:pt>
                <c:pt idx="274">
                  <c:v>102.82</c:v>
                </c:pt>
                <c:pt idx="275">
                  <c:v>103.35</c:v>
                </c:pt>
                <c:pt idx="276">
                  <c:v>106.37</c:v>
                </c:pt>
                <c:pt idx="277">
                  <c:v>112.21</c:v>
                </c:pt>
                <c:pt idx="278">
                  <c:v>112.43</c:v>
                </c:pt>
                <c:pt idx="279">
                  <c:v>113.88</c:v>
                </c:pt>
                <c:pt idx="280">
                  <c:v>116.32</c:v>
                </c:pt>
                <c:pt idx="281">
                  <c:v>116.48</c:v>
                </c:pt>
                <c:pt idx="282">
                  <c:v>114.59</c:v>
                </c:pt>
                <c:pt idx="283">
                  <c:v>115.99</c:v>
                </c:pt>
                <c:pt idx="284">
                  <c:v>116.35</c:v>
                </c:pt>
                <c:pt idx="285">
                  <c:v>114.7</c:v>
                </c:pt>
                <c:pt idx="286">
                  <c:v>115.14</c:v>
                </c:pt>
                <c:pt idx="287">
                  <c:v>113.44</c:v>
                </c:pt>
                <c:pt idx="288">
                  <c:v>113.86</c:v>
                </c:pt>
                <c:pt idx="289">
                  <c:v>108.19</c:v>
                </c:pt>
                <c:pt idx="290">
                  <c:v>110.4</c:v>
                </c:pt>
                <c:pt idx="291">
                  <c:v>115</c:v>
                </c:pt>
                <c:pt idx="292">
                  <c:v>114.49</c:v>
                </c:pt>
                <c:pt idx="293">
                  <c:v>115.65</c:v>
                </c:pt>
                <c:pt idx="294">
                  <c:v>116.09</c:v>
                </c:pt>
                <c:pt idx="295">
                  <c:v>115.27</c:v>
                </c:pt>
                <c:pt idx="296">
                  <c:v>115.75</c:v>
                </c:pt>
                <c:pt idx="297">
                  <c:v>116.02</c:v>
                </c:pt>
                <c:pt idx="298">
                  <c:v>115.66</c:v>
                </c:pt>
                <c:pt idx="299">
                  <c:v>115.09</c:v>
                </c:pt>
                <c:pt idx="300">
                  <c:v>115.12</c:v>
                </c:pt>
                <c:pt idx="301">
                  <c:v>117.17</c:v>
                </c:pt>
                <c:pt idx="302">
                  <c:v>119.1</c:v>
                </c:pt>
                <c:pt idx="303">
                  <c:v>120.86</c:v>
                </c:pt>
                <c:pt idx="304">
                  <c:v>121.6</c:v>
                </c:pt>
                <c:pt idx="305">
                  <c:v>122.1</c:v>
                </c:pt>
                <c:pt idx="306">
                  <c:v>122.56</c:v>
                </c:pt>
                <c:pt idx="307">
                  <c:v>126.9</c:v>
                </c:pt>
                <c:pt idx="308">
                  <c:v>126.28</c:v>
                </c:pt>
                <c:pt idx="309">
                  <c:v>120.7</c:v>
                </c:pt>
                <c:pt idx="310">
                  <c:v>122.62</c:v>
                </c:pt>
                <c:pt idx="311">
                  <c:v>122.2</c:v>
                </c:pt>
                <c:pt idx="312">
                  <c:v>123.73</c:v>
                </c:pt>
                <c:pt idx="313">
                  <c:v>123.51</c:v>
                </c:pt>
                <c:pt idx="314">
                  <c:v>121.29</c:v>
                </c:pt>
                <c:pt idx="315">
                  <c:v>123.9</c:v>
                </c:pt>
                <c:pt idx="316">
                  <c:v>124.04</c:v>
                </c:pt>
                <c:pt idx="317">
                  <c:v>124.23</c:v>
                </c:pt>
                <c:pt idx="318">
                  <c:v>123.55</c:v>
                </c:pt>
                <c:pt idx="319">
                  <c:v>123.7</c:v>
                </c:pt>
                <c:pt idx="320">
                  <c:v>125.47</c:v>
                </c:pt>
                <c:pt idx="321">
                  <c:v>124.59</c:v>
                </c:pt>
                <c:pt idx="322">
                  <c:v>126.03</c:v>
                </c:pt>
                <c:pt idx="323">
                  <c:v>122.15</c:v>
                </c:pt>
                <c:pt idx="324">
                  <c:v>120.64</c:v>
                </c:pt>
                <c:pt idx="325">
                  <c:v>110.74</c:v>
                </c:pt>
                <c:pt idx="326">
                  <c:v>109.24</c:v>
                </c:pt>
                <c:pt idx="327">
                  <c:v>109.65</c:v>
                </c:pt>
                <c:pt idx="328">
                  <c:v>115.52</c:v>
                </c:pt>
                <c:pt idx="329">
                  <c:v>117.24</c:v>
                </c:pt>
                <c:pt idx="330">
                  <c:v>113.26</c:v>
                </c:pt>
                <c:pt idx="331">
                  <c:v>112.57</c:v>
                </c:pt>
                <c:pt idx="332">
                  <c:v>110.58</c:v>
                </c:pt>
                <c:pt idx="333">
                  <c:v>112.3</c:v>
                </c:pt>
                <c:pt idx="334">
                  <c:v>111.4</c:v>
                </c:pt>
                <c:pt idx="335">
                  <c:v>112.42</c:v>
                </c:pt>
                <c:pt idx="336">
                  <c:v>111.9</c:v>
                </c:pt>
                <c:pt idx="337">
                  <c:v>109.9</c:v>
                </c:pt>
                <c:pt idx="338">
                  <c:v>112.3</c:v>
                </c:pt>
                <c:pt idx="339">
                  <c:v>115</c:v>
                </c:pt>
                <c:pt idx="340">
                  <c:v>114.99</c:v>
                </c:pt>
                <c:pt idx="341">
                  <c:v>115</c:v>
                </c:pt>
                <c:pt idx="342">
                  <c:v>114.54</c:v>
                </c:pt>
                <c:pt idx="343">
                  <c:v>114.03</c:v>
                </c:pt>
                <c:pt idx="344">
                  <c:v>115.89</c:v>
                </c:pt>
                <c:pt idx="345">
                  <c:v>116.05</c:v>
                </c:pt>
                <c:pt idx="346">
                  <c:v>116.1</c:v>
                </c:pt>
                <c:pt idx="347">
                  <c:v>119.1</c:v>
                </c:pt>
                <c:pt idx="348">
                  <c:v>117.97</c:v>
                </c:pt>
                <c:pt idx="349">
                  <c:v>117.92</c:v>
                </c:pt>
                <c:pt idx="350">
                  <c:v>118.08</c:v>
                </c:pt>
                <c:pt idx="351">
                  <c:v>119.11</c:v>
                </c:pt>
                <c:pt idx="352">
                  <c:v>113.2</c:v>
                </c:pt>
                <c:pt idx="353">
                  <c:v>113.06</c:v>
                </c:pt>
                <c:pt idx="354">
                  <c:v>111.58</c:v>
                </c:pt>
                <c:pt idx="355">
                  <c:v>110.7</c:v>
                </c:pt>
                <c:pt idx="356">
                  <c:v>113.25</c:v>
                </c:pt>
                <c:pt idx="357">
                  <c:v>105.67</c:v>
                </c:pt>
                <c:pt idx="358">
                  <c:v>105.05</c:v>
                </c:pt>
                <c:pt idx="359">
                  <c:v>106.67</c:v>
                </c:pt>
                <c:pt idx="360">
                  <c:v>108.87</c:v>
                </c:pt>
                <c:pt idx="361">
                  <c:v>112.6</c:v>
                </c:pt>
                <c:pt idx="362">
                  <c:v>111.24</c:v>
                </c:pt>
                <c:pt idx="363">
                  <c:v>111.89</c:v>
                </c:pt>
                <c:pt idx="364">
                  <c:v>113.83</c:v>
                </c:pt>
                <c:pt idx="365">
                  <c:v>114.3</c:v>
                </c:pt>
                <c:pt idx="366">
                  <c:v>118.3</c:v>
                </c:pt>
                <c:pt idx="367">
                  <c:v>118.3</c:v>
                </c:pt>
                <c:pt idx="368">
                  <c:v>117.25</c:v>
                </c:pt>
                <c:pt idx="369">
                  <c:v>116.07</c:v>
                </c:pt>
                <c:pt idx="370">
                  <c:v>117.55</c:v>
                </c:pt>
                <c:pt idx="371">
                  <c:v>116.6</c:v>
                </c:pt>
                <c:pt idx="372">
                  <c:v>117.66</c:v>
                </c:pt>
                <c:pt idx="373">
                  <c:v>117.64</c:v>
                </c:pt>
                <c:pt idx="374">
                  <c:v>117.37</c:v>
                </c:pt>
                <c:pt idx="375">
                  <c:v>118.15</c:v>
                </c:pt>
                <c:pt idx="376">
                  <c:v>117.78</c:v>
                </c:pt>
                <c:pt idx="377">
                  <c:v>118.51</c:v>
                </c:pt>
                <c:pt idx="378">
                  <c:v>118.12</c:v>
                </c:pt>
                <c:pt idx="379">
                  <c:v>118</c:v>
                </c:pt>
                <c:pt idx="380">
                  <c:v>117.32</c:v>
                </c:pt>
                <c:pt idx="381">
                  <c:v>117.21</c:v>
                </c:pt>
                <c:pt idx="382">
                  <c:v>116.85</c:v>
                </c:pt>
                <c:pt idx="383">
                  <c:v>117.54</c:v>
                </c:pt>
                <c:pt idx="384">
                  <c:v>115.94</c:v>
                </c:pt>
                <c:pt idx="385">
                  <c:v>113.44</c:v>
                </c:pt>
                <c:pt idx="386">
                  <c:v>107.66</c:v>
                </c:pt>
                <c:pt idx="387">
                  <c:v>109.85</c:v>
                </c:pt>
                <c:pt idx="388">
                  <c:v>106.74</c:v>
                </c:pt>
                <c:pt idx="389">
                  <c:v>104.45</c:v>
                </c:pt>
                <c:pt idx="390">
                  <c:v>105.67</c:v>
                </c:pt>
                <c:pt idx="391">
                  <c:v>107.85</c:v>
                </c:pt>
                <c:pt idx="392">
                  <c:v>107.52</c:v>
                </c:pt>
                <c:pt idx="393">
                  <c:v>107.74</c:v>
                </c:pt>
                <c:pt idx="394">
                  <c:v>109.56</c:v>
                </c:pt>
                <c:pt idx="395">
                  <c:v>110.57</c:v>
                </c:pt>
                <c:pt idx="396">
                  <c:v>106.69</c:v>
                </c:pt>
                <c:pt idx="397">
                  <c:v>109.22</c:v>
                </c:pt>
                <c:pt idx="398">
                  <c:v>110</c:v>
                </c:pt>
                <c:pt idx="399">
                  <c:v>110.48</c:v>
                </c:pt>
                <c:pt idx="400">
                  <c:v>111.25</c:v>
                </c:pt>
                <c:pt idx="401">
                  <c:v>111.2</c:v>
                </c:pt>
                <c:pt idx="402">
                  <c:v>114</c:v>
                </c:pt>
                <c:pt idx="403">
                  <c:v>114.49</c:v>
                </c:pt>
                <c:pt idx="404">
                  <c:v>114.2</c:v>
                </c:pt>
                <c:pt idx="405">
                  <c:v>112.52</c:v>
                </c:pt>
                <c:pt idx="406">
                  <c:v>112.23</c:v>
                </c:pt>
                <c:pt idx="407">
                  <c:v>113.35</c:v>
                </c:pt>
                <c:pt idx="408">
                  <c:v>116.22</c:v>
                </c:pt>
                <c:pt idx="409">
                  <c:v>114.1</c:v>
                </c:pt>
                <c:pt idx="410">
                  <c:v>110.52</c:v>
                </c:pt>
                <c:pt idx="411">
                  <c:v>109.93</c:v>
                </c:pt>
                <c:pt idx="412">
                  <c:v>109.51</c:v>
                </c:pt>
                <c:pt idx="413">
                  <c:v>109.65</c:v>
                </c:pt>
                <c:pt idx="414">
                  <c:v>112.25</c:v>
                </c:pt>
                <c:pt idx="415">
                  <c:v>111.9</c:v>
                </c:pt>
                <c:pt idx="416">
                  <c:v>111.63</c:v>
                </c:pt>
                <c:pt idx="417">
                  <c:v>110.33</c:v>
                </c:pt>
                <c:pt idx="418">
                  <c:v>108.92</c:v>
                </c:pt>
                <c:pt idx="419">
                  <c:v>105.19</c:v>
                </c:pt>
                <c:pt idx="420">
                  <c:v>104.36</c:v>
                </c:pt>
                <c:pt idx="421">
                  <c:v>104.29</c:v>
                </c:pt>
                <c:pt idx="422">
                  <c:v>107.12</c:v>
                </c:pt>
                <c:pt idx="423">
                  <c:v>103.4</c:v>
                </c:pt>
                <c:pt idx="424">
                  <c:v>104.26</c:v>
                </c:pt>
                <c:pt idx="425">
                  <c:v>102.15</c:v>
                </c:pt>
                <c:pt idx="426">
                  <c:v>101.4</c:v>
                </c:pt>
                <c:pt idx="427">
                  <c:v>101.96</c:v>
                </c:pt>
                <c:pt idx="428">
                  <c:v>102.77</c:v>
                </c:pt>
                <c:pt idx="429">
                  <c:v>105.4</c:v>
                </c:pt>
                <c:pt idx="430">
                  <c:v>105.91</c:v>
                </c:pt>
                <c:pt idx="431">
                  <c:v>104.13</c:v>
                </c:pt>
                <c:pt idx="432">
                  <c:v>107.76</c:v>
                </c:pt>
                <c:pt idx="433">
                  <c:v>108.63</c:v>
                </c:pt>
                <c:pt idx="434">
                  <c:v>109.3</c:v>
                </c:pt>
                <c:pt idx="435">
                  <c:v>112.62</c:v>
                </c:pt>
                <c:pt idx="436">
                  <c:v>112.76</c:v>
                </c:pt>
                <c:pt idx="437">
                  <c:v>111.13</c:v>
                </c:pt>
                <c:pt idx="438">
                  <c:v>108.5</c:v>
                </c:pt>
                <c:pt idx="439">
                  <c:v>109.93</c:v>
                </c:pt>
                <c:pt idx="440">
                  <c:v>109.79</c:v>
                </c:pt>
                <c:pt idx="441">
                  <c:v>109.55</c:v>
                </c:pt>
                <c:pt idx="442">
                  <c:v>111.2</c:v>
                </c:pt>
                <c:pt idx="443">
                  <c:v>111.02</c:v>
                </c:pt>
                <c:pt idx="444">
                  <c:v>109.5</c:v>
                </c:pt>
                <c:pt idx="445">
                  <c:v>110.16</c:v>
                </c:pt>
                <c:pt idx="446">
                  <c:v>109.85</c:v>
                </c:pt>
                <c:pt idx="447">
                  <c:v>109.19</c:v>
                </c:pt>
                <c:pt idx="448">
                  <c:v>109.54</c:v>
                </c:pt>
                <c:pt idx="449">
                  <c:v>109.73</c:v>
                </c:pt>
                <c:pt idx="450">
                  <c:v>110.83</c:v>
                </c:pt>
                <c:pt idx="451">
                  <c:v>112.48</c:v>
                </c:pt>
                <c:pt idx="452">
                  <c:v>111.9</c:v>
                </c:pt>
                <c:pt idx="453">
                  <c:v>112.96</c:v>
                </c:pt>
                <c:pt idx="454">
                  <c:v>113.3</c:v>
                </c:pt>
                <c:pt idx="455">
                  <c:v>111.27</c:v>
                </c:pt>
                <c:pt idx="456">
                  <c:v>112.2</c:v>
                </c:pt>
                <c:pt idx="457">
                  <c:v>110.89</c:v>
                </c:pt>
                <c:pt idx="458">
                  <c:v>107.81</c:v>
                </c:pt>
                <c:pt idx="459">
                  <c:v>107.48</c:v>
                </c:pt>
                <c:pt idx="460">
                  <c:v>108.62</c:v>
                </c:pt>
                <c:pt idx="461">
                  <c:v>106.94</c:v>
                </c:pt>
                <c:pt idx="462">
                  <c:v>107.76</c:v>
                </c:pt>
                <c:pt idx="463">
                  <c:v>106.64</c:v>
                </c:pt>
                <c:pt idx="464">
                  <c:v>107.39</c:v>
                </c:pt>
                <c:pt idx="465">
                  <c:v>110.44</c:v>
                </c:pt>
                <c:pt idx="466">
                  <c:v>110.37</c:v>
                </c:pt>
                <c:pt idx="467">
                  <c:v>109.05</c:v>
                </c:pt>
                <c:pt idx="468">
                  <c:v>110.3</c:v>
                </c:pt>
                <c:pt idx="469">
                  <c:v>110.64</c:v>
                </c:pt>
                <c:pt idx="470">
                  <c:v>110.51</c:v>
                </c:pt>
                <c:pt idx="471">
                  <c:v>109.5</c:v>
                </c:pt>
                <c:pt idx="472">
                  <c:v>107.55</c:v>
                </c:pt>
                <c:pt idx="473">
                  <c:v>108.88</c:v>
                </c:pt>
                <c:pt idx="474">
                  <c:v>106.93</c:v>
                </c:pt>
                <c:pt idx="475">
                  <c:v>109.07</c:v>
                </c:pt>
                <c:pt idx="476">
                  <c:v>103.9</c:v>
                </c:pt>
                <c:pt idx="477">
                  <c:v>103.44</c:v>
                </c:pt>
                <c:pt idx="478">
                  <c:v>103.65</c:v>
                </c:pt>
                <c:pt idx="479">
                  <c:v>103.1</c:v>
                </c:pt>
                <c:pt idx="480">
                  <c:v>103.84</c:v>
                </c:pt>
                <c:pt idx="481">
                  <c:v>107</c:v>
                </c:pt>
                <c:pt idx="482">
                  <c:v>107.9</c:v>
                </c:pt>
                <c:pt idx="483">
                  <c:v>107.62</c:v>
                </c:pt>
                <c:pt idx="484">
                  <c:v>108</c:v>
                </c:pt>
                <c:pt idx="485">
                  <c:v>108.96</c:v>
                </c:pt>
                <c:pt idx="486">
                  <c:v>107.41</c:v>
                </c:pt>
                <c:pt idx="487">
                  <c:v>108</c:v>
                </c:pt>
                <c:pt idx="488">
                  <c:v>107.22</c:v>
                </c:pt>
                <c:pt idx="489">
                  <c:v>112.07</c:v>
                </c:pt>
                <c:pt idx="490">
                  <c:v>113.46</c:v>
                </c:pt>
                <c:pt idx="491">
                  <c:v>112.26</c:v>
                </c:pt>
                <c:pt idx="492">
                  <c:v>113.52</c:v>
                </c:pt>
                <c:pt idx="493">
                  <c:v>113.56</c:v>
                </c:pt>
                <c:pt idx="494">
                  <c:v>112.1</c:v>
                </c:pt>
                <c:pt idx="495">
                  <c:v>112.49</c:v>
                </c:pt>
                <c:pt idx="496">
                  <c:v>110.97</c:v>
                </c:pt>
                <c:pt idx="497">
                  <c:v>110.91</c:v>
                </c:pt>
                <c:pt idx="498">
                  <c:v>110.64</c:v>
                </c:pt>
                <c:pt idx="499">
                  <c:v>111.57</c:v>
                </c:pt>
                <c:pt idx="500">
                  <c:v>110.97</c:v>
                </c:pt>
                <c:pt idx="501">
                  <c:v>111.42</c:v>
                </c:pt>
                <c:pt idx="502">
                  <c:v>110.23</c:v>
                </c:pt>
                <c:pt idx="503">
                  <c:v>109.54</c:v>
                </c:pt>
                <c:pt idx="504">
                  <c:v>110.94</c:v>
                </c:pt>
                <c:pt idx="505">
                  <c:v>110.33</c:v>
                </c:pt>
                <c:pt idx="506">
                  <c:v>110.55</c:v>
                </c:pt>
                <c:pt idx="507">
                  <c:v>111.1</c:v>
                </c:pt>
                <c:pt idx="508">
                  <c:v>111.3</c:v>
                </c:pt>
                <c:pt idx="509">
                  <c:v>111.16</c:v>
                </c:pt>
                <c:pt idx="510">
                  <c:v>111.3</c:v>
                </c:pt>
                <c:pt idx="511">
                  <c:v>112.48</c:v>
                </c:pt>
                <c:pt idx="512">
                  <c:v>114.71</c:v>
                </c:pt>
                <c:pt idx="513">
                  <c:v>114.91</c:v>
                </c:pt>
                <c:pt idx="514">
                  <c:v>116.47</c:v>
                </c:pt>
                <c:pt idx="515">
                  <c:v>116.01</c:v>
                </c:pt>
                <c:pt idx="516">
                  <c:v>117.85</c:v>
                </c:pt>
                <c:pt idx="517">
                  <c:v>118.18</c:v>
                </c:pt>
                <c:pt idx="518">
                  <c:v>117.07</c:v>
                </c:pt>
                <c:pt idx="519">
                  <c:v>117.54</c:v>
                </c:pt>
                <c:pt idx="520">
                  <c:v>119.04</c:v>
                </c:pt>
                <c:pt idx="521">
                  <c:v>120.05</c:v>
                </c:pt>
                <c:pt idx="522">
                  <c:v>119.83</c:v>
                </c:pt>
                <c:pt idx="523">
                  <c:v>120.74</c:v>
                </c:pt>
                <c:pt idx="524">
                  <c:v>120</c:v>
                </c:pt>
                <c:pt idx="525">
                  <c:v>122.64</c:v>
                </c:pt>
                <c:pt idx="526">
                  <c:v>124.2</c:v>
                </c:pt>
                <c:pt idx="527">
                  <c:v>125.07</c:v>
                </c:pt>
                <c:pt idx="528">
                  <c:v>125.28</c:v>
                </c:pt>
                <c:pt idx="529">
                  <c:v>123.3</c:v>
                </c:pt>
                <c:pt idx="530">
                  <c:v>125.86</c:v>
                </c:pt>
                <c:pt idx="531">
                  <c:v>123.32</c:v>
                </c:pt>
                <c:pt idx="532">
                  <c:v>123.55</c:v>
                </c:pt>
                <c:pt idx="533">
                  <c:v>122.32</c:v>
                </c:pt>
                <c:pt idx="534">
                  <c:v>124.2</c:v>
                </c:pt>
                <c:pt idx="535">
                  <c:v>125.48</c:v>
                </c:pt>
                <c:pt idx="536">
                  <c:v>125.12</c:v>
                </c:pt>
                <c:pt idx="537">
                  <c:v>125.59</c:v>
                </c:pt>
                <c:pt idx="538">
                  <c:v>124.43</c:v>
                </c:pt>
                <c:pt idx="539">
                  <c:v>122.78</c:v>
                </c:pt>
                <c:pt idx="540">
                  <c:v>126.16</c:v>
                </c:pt>
                <c:pt idx="541">
                  <c:v>125.96</c:v>
                </c:pt>
                <c:pt idx="542">
                  <c:v>124.07</c:v>
                </c:pt>
                <c:pt idx="543">
                  <c:v>124.13</c:v>
                </c:pt>
                <c:pt idx="544">
                  <c:v>123.38</c:v>
                </c:pt>
                <c:pt idx="545">
                  <c:v>125.21</c:v>
                </c:pt>
                <c:pt idx="546">
                  <c:v>125</c:v>
                </c:pt>
                <c:pt idx="547">
                  <c:v>125.26</c:v>
                </c:pt>
                <c:pt idx="548">
                  <c:v>124.3</c:v>
                </c:pt>
                <c:pt idx="549">
                  <c:v>122.55</c:v>
                </c:pt>
                <c:pt idx="550">
                  <c:v>122.8</c:v>
                </c:pt>
                <c:pt idx="551">
                  <c:v>122.75</c:v>
                </c:pt>
                <c:pt idx="552">
                  <c:v>124.45</c:v>
                </c:pt>
                <c:pt idx="553">
                  <c:v>122.23</c:v>
                </c:pt>
                <c:pt idx="554">
                  <c:v>122.72</c:v>
                </c:pt>
                <c:pt idx="555">
                  <c:v>121.75</c:v>
                </c:pt>
                <c:pt idx="556">
                  <c:v>122.1</c:v>
                </c:pt>
                <c:pt idx="557">
                  <c:v>119.51</c:v>
                </c:pt>
                <c:pt idx="558">
                  <c:v>119.88</c:v>
                </c:pt>
                <c:pt idx="559">
                  <c:v>121.55</c:v>
                </c:pt>
                <c:pt idx="560">
                  <c:v>121.48</c:v>
                </c:pt>
                <c:pt idx="561">
                  <c:v>120.46</c:v>
                </c:pt>
                <c:pt idx="562">
                  <c:v>118.75</c:v>
                </c:pt>
                <c:pt idx="563">
                  <c:v>118.15</c:v>
                </c:pt>
                <c:pt idx="564">
                  <c:v>118.09</c:v>
                </c:pt>
                <c:pt idx="565">
                  <c:v>118.85</c:v>
                </c:pt>
                <c:pt idx="566">
                  <c:v>118.71</c:v>
                </c:pt>
                <c:pt idx="567">
                  <c:v>118.42</c:v>
                </c:pt>
                <c:pt idx="568">
                  <c:v>119.15</c:v>
                </c:pt>
                <c:pt idx="569">
                  <c:v>119.56</c:v>
                </c:pt>
                <c:pt idx="570">
                  <c:v>119.75</c:v>
                </c:pt>
                <c:pt idx="571">
                  <c:v>119.65</c:v>
                </c:pt>
                <c:pt idx="572">
                  <c:v>119.47</c:v>
                </c:pt>
                <c:pt idx="573">
                  <c:v>115.7</c:v>
                </c:pt>
                <c:pt idx="574">
                  <c:v>113.09</c:v>
                </c:pt>
                <c:pt idx="575">
                  <c:v>111</c:v>
                </c:pt>
                <c:pt idx="576">
                  <c:v>113.04</c:v>
                </c:pt>
                <c:pt idx="577">
                  <c:v>112.94</c:v>
                </c:pt>
                <c:pt idx="578">
                  <c:v>112.26</c:v>
                </c:pt>
                <c:pt idx="579">
                  <c:v>111.69</c:v>
                </c:pt>
                <c:pt idx="580">
                  <c:v>111.3</c:v>
                </c:pt>
                <c:pt idx="581">
                  <c:v>110.35</c:v>
                </c:pt>
                <c:pt idx="582">
                  <c:v>110.99</c:v>
                </c:pt>
                <c:pt idx="583">
                  <c:v>109.39</c:v>
                </c:pt>
                <c:pt idx="584">
                  <c:v>106.8</c:v>
                </c:pt>
                <c:pt idx="585">
                  <c:v>107.31</c:v>
                </c:pt>
                <c:pt idx="586">
                  <c:v>106.82</c:v>
                </c:pt>
                <c:pt idx="587">
                  <c:v>108.25</c:v>
                </c:pt>
                <c:pt idx="588">
                  <c:v>106.16</c:v>
                </c:pt>
                <c:pt idx="589">
                  <c:v>106.75</c:v>
                </c:pt>
                <c:pt idx="590">
                  <c:v>106.9</c:v>
                </c:pt>
                <c:pt idx="591">
                  <c:v>106.85</c:v>
                </c:pt>
                <c:pt idx="592">
                  <c:v>106.85</c:v>
                </c:pt>
                <c:pt idx="593">
                  <c:v>103.25</c:v>
                </c:pt>
                <c:pt idx="594">
                  <c:v>101.62</c:v>
                </c:pt>
                <c:pt idx="595">
                  <c:v>98.33</c:v>
                </c:pt>
                <c:pt idx="596">
                  <c:v>97.83</c:v>
                </c:pt>
                <c:pt idx="597">
                  <c:v>98.58</c:v>
                </c:pt>
                <c:pt idx="598">
                  <c:v>98.12</c:v>
                </c:pt>
                <c:pt idx="599">
                  <c:v>100.46</c:v>
                </c:pt>
                <c:pt idx="600">
                  <c:v>98.72</c:v>
                </c:pt>
                <c:pt idx="601">
                  <c:v>99.45</c:v>
                </c:pt>
                <c:pt idx="602">
                  <c:v>101.21</c:v>
                </c:pt>
                <c:pt idx="603">
                  <c:v>97.88</c:v>
                </c:pt>
                <c:pt idx="604">
                  <c:v>97.31</c:v>
                </c:pt>
                <c:pt idx="605">
                  <c:v>98.5</c:v>
                </c:pt>
                <c:pt idx="606">
                  <c:v>95.69</c:v>
                </c:pt>
                <c:pt idx="607">
                  <c:v>95.84</c:v>
                </c:pt>
                <c:pt idx="608">
                  <c:v>92.55</c:v>
                </c:pt>
                <c:pt idx="609">
                  <c:v>89.25</c:v>
                </c:pt>
                <c:pt idx="610">
                  <c:v>91.33</c:v>
                </c:pt>
                <c:pt idx="611">
                  <c:v>91.47</c:v>
                </c:pt>
                <c:pt idx="612">
                  <c:v>93.79</c:v>
                </c:pt>
                <c:pt idx="613">
                  <c:v>92.04</c:v>
                </c:pt>
                <c:pt idx="614">
                  <c:v>97.57</c:v>
                </c:pt>
                <c:pt idx="615">
                  <c:v>97.63</c:v>
                </c:pt>
                <c:pt idx="616">
                  <c:v>97.15</c:v>
                </c:pt>
                <c:pt idx="617">
                  <c:v>99.51</c:v>
                </c:pt>
                <c:pt idx="618">
                  <c:v>99.61</c:v>
                </c:pt>
                <c:pt idx="619">
                  <c:v>97.39</c:v>
                </c:pt>
                <c:pt idx="620">
                  <c:v>97.78</c:v>
                </c:pt>
                <c:pt idx="621">
                  <c:v>99.87</c:v>
                </c:pt>
                <c:pt idx="622">
                  <c:v>100.07</c:v>
                </c:pt>
                <c:pt idx="623">
                  <c:v>99.8</c:v>
                </c:pt>
                <c:pt idx="624">
                  <c:v>101.66</c:v>
                </c:pt>
                <c:pt idx="625">
                  <c:v>101.78</c:v>
                </c:pt>
                <c:pt idx="626">
                  <c:v>103.08</c:v>
                </c:pt>
                <c:pt idx="627">
                  <c:v>105.48</c:v>
                </c:pt>
                <c:pt idx="628">
                  <c:v>107.59</c:v>
                </c:pt>
                <c:pt idx="629">
                  <c:v>106.74</c:v>
                </c:pt>
                <c:pt idx="630">
                  <c:v>106.42</c:v>
                </c:pt>
                <c:pt idx="631">
                  <c:v>103.18</c:v>
                </c:pt>
                <c:pt idx="632">
                  <c:v>103.07</c:v>
                </c:pt>
                <c:pt idx="633">
                  <c:v>105.31</c:v>
                </c:pt>
                <c:pt idx="634">
                  <c:v>106.65</c:v>
                </c:pt>
                <c:pt idx="635">
                  <c:v>106.52</c:v>
                </c:pt>
                <c:pt idx="636">
                  <c:v>104.62</c:v>
                </c:pt>
                <c:pt idx="637">
                  <c:v>104.49</c:v>
                </c:pt>
                <c:pt idx="638">
                  <c:v>104.48</c:v>
                </c:pt>
                <c:pt idx="639">
                  <c:v>107.22</c:v>
                </c:pt>
                <c:pt idx="640">
                  <c:v>107</c:v>
                </c:pt>
                <c:pt idx="641">
                  <c:v>110.02</c:v>
                </c:pt>
                <c:pt idx="642">
                  <c:v>110.39</c:v>
                </c:pt>
                <c:pt idx="643">
                  <c:v>111.79</c:v>
                </c:pt>
                <c:pt idx="644">
                  <c:v>111.55</c:v>
                </c:pt>
                <c:pt idx="645">
                  <c:v>111.45</c:v>
                </c:pt>
                <c:pt idx="646">
                  <c:v>111.63</c:v>
                </c:pt>
                <c:pt idx="647">
                  <c:v>114.45</c:v>
                </c:pt>
                <c:pt idx="648">
                  <c:v>114.3</c:v>
                </c:pt>
                <c:pt idx="649">
                  <c:v>113.76</c:v>
                </c:pt>
                <c:pt idx="650">
                  <c:v>114.05</c:v>
                </c:pt>
                <c:pt idx="651">
                  <c:v>113.62</c:v>
                </c:pt>
                <c:pt idx="652">
                  <c:v>114.98</c:v>
                </c:pt>
                <c:pt idx="653">
                  <c:v>114.37</c:v>
                </c:pt>
                <c:pt idx="654">
                  <c:v>113.51</c:v>
                </c:pt>
                <c:pt idx="655">
                  <c:v>114.18</c:v>
                </c:pt>
                <c:pt idx="656">
                  <c:v>112.58</c:v>
                </c:pt>
                <c:pt idx="657">
                  <c:v>112.35</c:v>
                </c:pt>
                <c:pt idx="658">
                  <c:v>112.72</c:v>
                </c:pt>
                <c:pt idx="659">
                  <c:v>114.92</c:v>
                </c:pt>
                <c:pt idx="660">
                  <c:v>115.23</c:v>
                </c:pt>
                <c:pt idx="661">
                  <c:v>113.6</c:v>
                </c:pt>
                <c:pt idx="662">
                  <c:v>113.4</c:v>
                </c:pt>
                <c:pt idx="663">
                  <c:v>112.17</c:v>
                </c:pt>
                <c:pt idx="664">
                  <c:v>113.82</c:v>
                </c:pt>
                <c:pt idx="665">
                  <c:v>113.9</c:v>
                </c:pt>
                <c:pt idx="666">
                  <c:v>114.4</c:v>
                </c:pt>
                <c:pt idx="667">
                  <c:v>115.23</c:v>
                </c:pt>
                <c:pt idx="668">
                  <c:v>115.72</c:v>
                </c:pt>
                <c:pt idx="669">
                  <c:v>116.92</c:v>
                </c:pt>
                <c:pt idx="670">
                  <c:v>116.75</c:v>
                </c:pt>
                <c:pt idx="671">
                  <c:v>113.5</c:v>
                </c:pt>
                <c:pt idx="672">
                  <c:v>108.35</c:v>
                </c:pt>
                <c:pt idx="673">
                  <c:v>110.61</c:v>
                </c:pt>
                <c:pt idx="674">
                  <c:v>111.42</c:v>
                </c:pt>
                <c:pt idx="675">
                  <c:v>111.31</c:v>
                </c:pt>
                <c:pt idx="676">
                  <c:v>109.87</c:v>
                </c:pt>
                <c:pt idx="677">
                  <c:v>110.1</c:v>
                </c:pt>
                <c:pt idx="678">
                  <c:v>112.41</c:v>
                </c:pt>
                <c:pt idx="679">
                  <c:v>112.22</c:v>
                </c:pt>
                <c:pt idx="680">
                  <c:v>112.14</c:v>
                </c:pt>
                <c:pt idx="681">
                  <c:v>110.55</c:v>
                </c:pt>
                <c:pt idx="682">
                  <c:v>107.34</c:v>
                </c:pt>
                <c:pt idx="683">
                  <c:v>111.36</c:v>
                </c:pt>
                <c:pt idx="684">
                  <c:v>111.13</c:v>
                </c:pt>
                <c:pt idx="685">
                  <c:v>111.02</c:v>
                </c:pt>
                <c:pt idx="686">
                  <c:v>113.35</c:v>
                </c:pt>
                <c:pt idx="687">
                  <c:v>113.28</c:v>
                </c:pt>
                <c:pt idx="688">
                  <c:v>114.77</c:v>
                </c:pt>
                <c:pt idx="689">
                  <c:v>113.38</c:v>
                </c:pt>
                <c:pt idx="690">
                  <c:v>113.12</c:v>
                </c:pt>
                <c:pt idx="691">
                  <c:v>114.48</c:v>
                </c:pt>
                <c:pt idx="692">
                  <c:v>113.21</c:v>
                </c:pt>
                <c:pt idx="693">
                  <c:v>112.44</c:v>
                </c:pt>
                <c:pt idx="694">
                  <c:v>110.32</c:v>
                </c:pt>
                <c:pt idx="695">
                  <c:v>109.77</c:v>
                </c:pt>
                <c:pt idx="696">
                  <c:v>109.79</c:v>
                </c:pt>
                <c:pt idx="697">
                  <c:v>108.3</c:v>
                </c:pt>
                <c:pt idx="698">
                  <c:v>108.5</c:v>
                </c:pt>
                <c:pt idx="699">
                  <c:v>109.7</c:v>
                </c:pt>
                <c:pt idx="700">
                  <c:v>109.19</c:v>
                </c:pt>
                <c:pt idx="701">
                  <c:v>109.33</c:v>
                </c:pt>
                <c:pt idx="702">
                  <c:v>108.4</c:v>
                </c:pt>
                <c:pt idx="703">
                  <c:v>107.5</c:v>
                </c:pt>
                <c:pt idx="704">
                  <c:v>104.88</c:v>
                </c:pt>
                <c:pt idx="705">
                  <c:v>104.7</c:v>
                </c:pt>
                <c:pt idx="706">
                  <c:v>106.05</c:v>
                </c:pt>
                <c:pt idx="707">
                  <c:v>106.18</c:v>
                </c:pt>
                <c:pt idx="708">
                  <c:v>108.79</c:v>
                </c:pt>
                <c:pt idx="709">
                  <c:v>108.3</c:v>
                </c:pt>
                <c:pt idx="710">
                  <c:v>107.82</c:v>
                </c:pt>
                <c:pt idx="711">
                  <c:v>108.75</c:v>
                </c:pt>
                <c:pt idx="712">
                  <c:v>107.69</c:v>
                </c:pt>
                <c:pt idx="713">
                  <c:v>109.02</c:v>
                </c:pt>
                <c:pt idx="714">
                  <c:v>109.5</c:v>
                </c:pt>
                <c:pt idx="715">
                  <c:v>111.59</c:v>
                </c:pt>
                <c:pt idx="716">
                  <c:v>110.46</c:v>
                </c:pt>
                <c:pt idx="717">
                  <c:v>111.03</c:v>
                </c:pt>
                <c:pt idx="718">
                  <c:v>111.39</c:v>
                </c:pt>
                <c:pt idx="719">
                  <c:v>111.35</c:v>
                </c:pt>
                <c:pt idx="720">
                  <c:v>110</c:v>
                </c:pt>
                <c:pt idx="721">
                  <c:v>109.69</c:v>
                </c:pt>
                <c:pt idx="722">
                  <c:v>110.4</c:v>
                </c:pt>
                <c:pt idx="723">
                  <c:v>111.17</c:v>
                </c:pt>
                <c:pt idx="724">
                  <c:v>110.35</c:v>
                </c:pt>
                <c:pt idx="725">
                  <c:v>108.87</c:v>
                </c:pt>
                <c:pt idx="726">
                  <c:v>107.97</c:v>
                </c:pt>
                <c:pt idx="727">
                  <c:v>106.25</c:v>
                </c:pt>
                <c:pt idx="728">
                  <c:v>106.3</c:v>
                </c:pt>
                <c:pt idx="729">
                  <c:v>106.42</c:v>
                </c:pt>
                <c:pt idx="730">
                  <c:v>106.22</c:v>
                </c:pt>
                <c:pt idx="731">
                  <c:v>108.01</c:v>
                </c:pt>
                <c:pt idx="732">
                  <c:v>106.53</c:v>
                </c:pt>
                <c:pt idx="733">
                  <c:v>108.4</c:v>
                </c:pt>
                <c:pt idx="734">
                  <c:v>108.27</c:v>
                </c:pt>
                <c:pt idx="735">
                  <c:v>108.94</c:v>
                </c:pt>
                <c:pt idx="736">
                  <c:v>110.05</c:v>
                </c:pt>
                <c:pt idx="737">
                  <c:v>110.25</c:v>
                </c:pt>
                <c:pt idx="738">
                  <c:v>109.15</c:v>
                </c:pt>
                <c:pt idx="739">
                  <c:v>109.02</c:v>
                </c:pt>
                <c:pt idx="740">
                  <c:v>108.8</c:v>
                </c:pt>
                <c:pt idx="741">
                  <c:v>110.71</c:v>
                </c:pt>
                <c:pt idx="742">
                  <c:v>110.92</c:v>
                </c:pt>
                <c:pt idx="743">
                  <c:v>110.35</c:v>
                </c:pt>
                <c:pt idx="744">
                  <c:v>111.11</c:v>
                </c:pt>
                <c:pt idx="745">
                  <c:v>110.99</c:v>
                </c:pt>
                <c:pt idx="746">
                  <c:v>109.84</c:v>
                </c:pt>
                <c:pt idx="747">
                  <c:v>109.82</c:v>
                </c:pt>
                <c:pt idx="748">
                  <c:v>111.14</c:v>
                </c:pt>
                <c:pt idx="749">
                  <c:v>109.62</c:v>
                </c:pt>
                <c:pt idx="750">
                  <c:v>110.92</c:v>
                </c:pt>
                <c:pt idx="751">
                  <c:v>111.67</c:v>
                </c:pt>
                <c:pt idx="752">
                  <c:v>111.76</c:v>
                </c:pt>
                <c:pt idx="753">
                  <c:v>112.46</c:v>
                </c:pt>
                <c:pt idx="754">
                  <c:v>112.79</c:v>
                </c:pt>
                <c:pt idx="755">
                  <c:v>113.36</c:v>
                </c:pt>
                <c:pt idx="756">
                  <c:v>113.4</c:v>
                </c:pt>
                <c:pt idx="757">
                  <c:v>113.32</c:v>
                </c:pt>
                <c:pt idx="758">
                  <c:v>113.4</c:v>
                </c:pt>
                <c:pt idx="759">
                  <c:v>114.95</c:v>
                </c:pt>
                <c:pt idx="760">
                  <c:v>114.56</c:v>
                </c:pt>
                <c:pt idx="761">
                  <c:v>115.63</c:v>
                </c:pt>
                <c:pt idx="762">
                  <c:v>114.72</c:v>
                </c:pt>
                <c:pt idx="763">
                  <c:v>115.59</c:v>
                </c:pt>
                <c:pt idx="764">
                  <c:v>115.97</c:v>
                </c:pt>
                <c:pt idx="765">
                  <c:v>116.7</c:v>
                </c:pt>
                <c:pt idx="766">
                  <c:v>117.81</c:v>
                </c:pt>
                <c:pt idx="767">
                  <c:v>117.2</c:v>
                </c:pt>
                <c:pt idx="768">
                  <c:v>117.8</c:v>
                </c:pt>
                <c:pt idx="769">
                  <c:v>118</c:v>
                </c:pt>
                <c:pt idx="770">
                  <c:v>118.04</c:v>
                </c:pt>
                <c:pt idx="771">
                  <c:v>117.97</c:v>
                </c:pt>
                <c:pt idx="772">
                  <c:v>117.76</c:v>
                </c:pt>
                <c:pt idx="773">
                  <c:v>117.4</c:v>
                </c:pt>
                <c:pt idx="774">
                  <c:v>115.1</c:v>
                </c:pt>
                <c:pt idx="775">
                  <c:v>113.65</c:v>
                </c:pt>
                <c:pt idx="776">
                  <c:v>114.3</c:v>
                </c:pt>
                <c:pt idx="777">
                  <c:v>113.34</c:v>
                </c:pt>
                <c:pt idx="778">
                  <c:v>112.99</c:v>
                </c:pt>
                <c:pt idx="779">
                  <c:v>112</c:v>
                </c:pt>
                <c:pt idx="780">
                  <c:v>111</c:v>
                </c:pt>
                <c:pt idx="781">
                  <c:v>109.59</c:v>
                </c:pt>
                <c:pt idx="782">
                  <c:v>109.02</c:v>
                </c:pt>
                <c:pt idx="783">
                  <c:v>110.94</c:v>
                </c:pt>
                <c:pt idx="784">
                  <c:v>109.98</c:v>
                </c:pt>
                <c:pt idx="785">
                  <c:v>110.07</c:v>
                </c:pt>
                <c:pt idx="786">
                  <c:v>109.48</c:v>
                </c:pt>
                <c:pt idx="787">
                  <c:v>109.13</c:v>
                </c:pt>
                <c:pt idx="788">
                  <c:v>108.18</c:v>
                </c:pt>
                <c:pt idx="789">
                  <c:v>109.34</c:v>
                </c:pt>
                <c:pt idx="790">
                  <c:v>110.05</c:v>
                </c:pt>
                <c:pt idx="791">
                  <c:v>109.4</c:v>
                </c:pt>
                <c:pt idx="792">
                  <c:v>107.46</c:v>
                </c:pt>
                <c:pt idx="793">
                  <c:v>108.58</c:v>
                </c:pt>
                <c:pt idx="794">
                  <c:v>107.2</c:v>
                </c:pt>
                <c:pt idx="795">
                  <c:v>107.5</c:v>
                </c:pt>
                <c:pt idx="796">
                  <c:v>108.18</c:v>
                </c:pt>
                <c:pt idx="797">
                  <c:v>109.4</c:v>
                </c:pt>
                <c:pt idx="798">
                  <c:v>109.84</c:v>
                </c:pt>
                <c:pt idx="799">
                  <c:v>109.77</c:v>
                </c:pt>
                <c:pt idx="800">
                  <c:v>109.89</c:v>
                </c:pt>
                <c:pt idx="801">
                  <c:v>110.76</c:v>
                </c:pt>
                <c:pt idx="802">
                  <c:v>110.34</c:v>
                </c:pt>
                <c:pt idx="803">
                  <c:v>106.89</c:v>
                </c:pt>
                <c:pt idx="804">
                  <c:v>106.27</c:v>
                </c:pt>
                <c:pt idx="805">
                  <c:v>104.38</c:v>
                </c:pt>
                <c:pt idx="806">
                  <c:v>104.9</c:v>
                </c:pt>
                <c:pt idx="807">
                  <c:v>106.15</c:v>
                </c:pt>
                <c:pt idx="808">
                  <c:v>105.65</c:v>
                </c:pt>
                <c:pt idx="809">
                  <c:v>104.41</c:v>
                </c:pt>
                <c:pt idx="810">
                  <c:v>102.85</c:v>
                </c:pt>
                <c:pt idx="811">
                  <c:v>99.31</c:v>
                </c:pt>
                <c:pt idx="812">
                  <c:v>100.1</c:v>
                </c:pt>
                <c:pt idx="813">
                  <c:v>97.4</c:v>
                </c:pt>
                <c:pt idx="814">
                  <c:v>99.6</c:v>
                </c:pt>
                <c:pt idx="815">
                  <c:v>99.53</c:v>
                </c:pt>
                <c:pt idx="816">
                  <c:v>100.37</c:v>
                </c:pt>
                <c:pt idx="817">
                  <c:v>100.5</c:v>
                </c:pt>
                <c:pt idx="818">
                  <c:v>101.82</c:v>
                </c:pt>
                <c:pt idx="819">
                  <c:v>103.11</c:v>
                </c:pt>
                <c:pt idx="820">
                  <c:v>102.85</c:v>
                </c:pt>
                <c:pt idx="821">
                  <c:v>103.76</c:v>
                </c:pt>
                <c:pt idx="822">
                  <c:v>101.74</c:v>
                </c:pt>
                <c:pt idx="823">
                  <c:v>104.99</c:v>
                </c:pt>
                <c:pt idx="824">
                  <c:v>103.75</c:v>
                </c:pt>
                <c:pt idx="825">
                  <c:v>104.02</c:v>
                </c:pt>
                <c:pt idx="826">
                  <c:v>102.64</c:v>
                </c:pt>
                <c:pt idx="827">
                  <c:v>102.53</c:v>
                </c:pt>
                <c:pt idx="828">
                  <c:v>103.65</c:v>
                </c:pt>
                <c:pt idx="829">
                  <c:v>103.84</c:v>
                </c:pt>
                <c:pt idx="830">
                  <c:v>104.72</c:v>
                </c:pt>
                <c:pt idx="831">
                  <c:v>104.79</c:v>
                </c:pt>
                <c:pt idx="832">
                  <c:v>103.63</c:v>
                </c:pt>
                <c:pt idx="833">
                  <c:v>102.32</c:v>
                </c:pt>
                <c:pt idx="834">
                  <c:v>102.66</c:v>
                </c:pt>
                <c:pt idx="835">
                  <c:v>102.78</c:v>
                </c:pt>
                <c:pt idx="836">
                  <c:v>102.5</c:v>
                </c:pt>
                <c:pt idx="837">
                  <c:v>104.35</c:v>
                </c:pt>
                <c:pt idx="838">
                  <c:v>102.18</c:v>
                </c:pt>
                <c:pt idx="839">
                  <c:v>102.24</c:v>
                </c:pt>
                <c:pt idx="840">
                  <c:v>100.15</c:v>
                </c:pt>
                <c:pt idx="841">
                  <c:v>101.9</c:v>
                </c:pt>
                <c:pt idx="842">
                  <c:v>103.18</c:v>
                </c:pt>
                <c:pt idx="843">
                  <c:v>102.63</c:v>
                </c:pt>
                <c:pt idx="844">
                  <c:v>103.19</c:v>
                </c:pt>
                <c:pt idx="845">
                  <c:v>104.48</c:v>
                </c:pt>
                <c:pt idx="846">
                  <c:v>103.74</c:v>
                </c:pt>
                <c:pt idx="847">
                  <c:v>102.64</c:v>
                </c:pt>
                <c:pt idx="848">
                  <c:v>104.95</c:v>
                </c:pt>
                <c:pt idx="849">
                  <c:v>105.84</c:v>
                </c:pt>
                <c:pt idx="850">
                  <c:v>105.62</c:v>
                </c:pt>
                <c:pt idx="851">
                  <c:v>106.1</c:v>
                </c:pt>
                <c:pt idx="852">
                  <c:v>105.87</c:v>
                </c:pt>
                <c:pt idx="853">
                  <c:v>102.06</c:v>
                </c:pt>
                <c:pt idx="854">
                  <c:v>101.09</c:v>
                </c:pt>
                <c:pt idx="855">
                  <c:v>101.07</c:v>
                </c:pt>
                <c:pt idx="856">
                  <c:v>101.17</c:v>
                </c:pt>
                <c:pt idx="857">
                  <c:v>101.8</c:v>
                </c:pt>
                <c:pt idx="858">
                  <c:v>102.65</c:v>
                </c:pt>
                <c:pt idx="859">
                  <c:v>101.99</c:v>
                </c:pt>
                <c:pt idx="860">
                  <c:v>102.52</c:v>
                </c:pt>
                <c:pt idx="861">
                  <c:v>103.41</c:v>
                </c:pt>
                <c:pt idx="862">
                  <c:v>105.21</c:v>
                </c:pt>
                <c:pt idx="863">
                  <c:v>104.84</c:v>
                </c:pt>
                <c:pt idx="864">
                  <c:v>107.06</c:v>
                </c:pt>
                <c:pt idx="865">
                  <c:v>106.49</c:v>
                </c:pt>
                <c:pt idx="866">
                  <c:v>107.35</c:v>
                </c:pt>
                <c:pt idx="867">
                  <c:v>107.34</c:v>
                </c:pt>
                <c:pt idx="868">
                  <c:v>106.64</c:v>
                </c:pt>
                <c:pt idx="869">
                  <c:v>108.2</c:v>
                </c:pt>
                <c:pt idx="870">
                  <c:v>108.08</c:v>
                </c:pt>
                <c:pt idx="871">
                  <c:v>107.93</c:v>
                </c:pt>
                <c:pt idx="872">
                  <c:v>108.74</c:v>
                </c:pt>
                <c:pt idx="873">
                  <c:v>108.83</c:v>
                </c:pt>
                <c:pt idx="874">
                  <c:v>108.3</c:v>
                </c:pt>
                <c:pt idx="875">
                  <c:v>108.16</c:v>
                </c:pt>
                <c:pt idx="876">
                  <c:v>108.41</c:v>
                </c:pt>
                <c:pt idx="877">
                  <c:v>107.05</c:v>
                </c:pt>
                <c:pt idx="878">
                  <c:v>107.65</c:v>
                </c:pt>
                <c:pt idx="879">
                  <c:v>107.19</c:v>
                </c:pt>
                <c:pt idx="880">
                  <c:v>107.51</c:v>
                </c:pt>
                <c:pt idx="881">
                  <c:v>106.84</c:v>
                </c:pt>
                <c:pt idx="882">
                  <c:v>107.7</c:v>
                </c:pt>
                <c:pt idx="883">
                  <c:v>108.51</c:v>
                </c:pt>
                <c:pt idx="884">
                  <c:v>108.07</c:v>
                </c:pt>
                <c:pt idx="885">
                  <c:v>107.71</c:v>
                </c:pt>
                <c:pt idx="886">
                  <c:v>107.19</c:v>
                </c:pt>
                <c:pt idx="887">
                  <c:v>106.08</c:v>
                </c:pt>
                <c:pt idx="888">
                  <c:v>105.5</c:v>
                </c:pt>
                <c:pt idx="889">
                  <c:v>106.87</c:v>
                </c:pt>
                <c:pt idx="890">
                  <c:v>107.86</c:v>
                </c:pt>
                <c:pt idx="891">
                  <c:v>108.1</c:v>
                </c:pt>
                <c:pt idx="892">
                  <c:v>108.96</c:v>
                </c:pt>
                <c:pt idx="893">
                  <c:v>109.32</c:v>
                </c:pt>
                <c:pt idx="894">
                  <c:v>110.42</c:v>
                </c:pt>
                <c:pt idx="895">
                  <c:v>109.59</c:v>
                </c:pt>
                <c:pt idx="896">
                  <c:v>110.15</c:v>
                </c:pt>
                <c:pt idx="897">
                  <c:v>109.73</c:v>
                </c:pt>
                <c:pt idx="898">
                  <c:v>110</c:v>
                </c:pt>
                <c:pt idx="899">
                  <c:v>111.05</c:v>
                </c:pt>
                <c:pt idx="900">
                  <c:v>110.93</c:v>
                </c:pt>
                <c:pt idx="901">
                  <c:v>115.29</c:v>
                </c:pt>
                <c:pt idx="902">
                  <c:v>116.33</c:v>
                </c:pt>
                <c:pt idx="903">
                  <c:v>114.44</c:v>
                </c:pt>
                <c:pt idx="904">
                  <c:v>114.45</c:v>
                </c:pt>
                <c:pt idx="905">
                  <c:v>112.44</c:v>
                </c:pt>
                <c:pt idx="906">
                  <c:v>113.7</c:v>
                </c:pt>
                <c:pt idx="907">
                  <c:v>113.23</c:v>
                </c:pt>
                <c:pt idx="908">
                  <c:v>113.7</c:v>
                </c:pt>
                <c:pt idx="909">
                  <c:v>114.1</c:v>
                </c:pt>
                <c:pt idx="910">
                  <c:v>111.77</c:v>
                </c:pt>
                <c:pt idx="911" formatCode="#,##0.0">
                  <c:v>109.96</c:v>
                </c:pt>
                <c:pt idx="912" formatCode="#,##0.0">
                  <c:v>110.29</c:v>
                </c:pt>
                <c:pt idx="913" formatCode="#,##0.0">
                  <c:v>111.89</c:v>
                </c:pt>
                <c:pt idx="914" formatCode="#,##0.0">
                  <c:v>111.79</c:v>
                </c:pt>
                <c:pt idx="915" formatCode="#,##0.0">
                  <c:v>109.82</c:v>
                </c:pt>
                <c:pt idx="916" formatCode="#,##0.0">
                  <c:v>107.75</c:v>
                </c:pt>
                <c:pt idx="917" formatCode="#,##0.0">
                  <c:v>110.74</c:v>
                </c:pt>
                <c:pt idx="918" formatCode="#,##0.0">
                  <c:v>108.82</c:v>
                </c:pt>
                <c:pt idx="919" formatCode="#,##0.0">
                  <c:v>109.35</c:v>
                </c:pt>
                <c:pt idx="920" formatCode="#,##0.0">
                  <c:v>108</c:v>
                </c:pt>
                <c:pt idx="921" formatCode="#,##0.0">
                  <c:v>108.77</c:v>
                </c:pt>
                <c:pt idx="922" formatCode="#,##0.0">
                  <c:v>108.06</c:v>
                </c:pt>
                <c:pt idx="923" formatCode="#,##0.0">
                  <c:v>109.22</c:v>
                </c:pt>
                <c:pt idx="924" formatCode="#,##0.0">
                  <c:v>108.43</c:v>
                </c:pt>
                <c:pt idx="925" formatCode="#,##0.0">
                  <c:v>108.2</c:v>
                </c:pt>
                <c:pt idx="926" formatCode="#,##0.0">
                  <c:v>106.92</c:v>
                </c:pt>
                <c:pt idx="927" formatCode="#,##0.0">
                  <c:v>108.03</c:v>
                </c:pt>
                <c:pt idx="928" formatCode="#,##0.0">
                  <c:v>107.69</c:v>
                </c:pt>
                <c:pt idx="929" formatCode="#,##0.0">
                  <c:v>108.46</c:v>
                </c:pt>
                <c:pt idx="930" formatCode="#,##0.0">
                  <c:v>108.74</c:v>
                </c:pt>
                <c:pt idx="931" formatCode="#,##0.0">
                  <c:v>109.42</c:v>
                </c:pt>
                <c:pt idx="932" formatCode="#,##0.0">
                  <c:v>108.25</c:v>
                </c:pt>
                <c:pt idx="933" formatCode="#,##0.0">
                  <c:v>110.87</c:v>
                </c:pt>
                <c:pt idx="934" formatCode="#,##0.0">
                  <c:v>110.29</c:v>
                </c:pt>
                <c:pt idx="935" formatCode="#,##0.0">
                  <c:v>110.18</c:v>
                </c:pt>
                <c:pt idx="936" formatCode="#,##0.0">
                  <c:v>109</c:v>
                </c:pt>
                <c:pt idx="937" formatCode="#,##0.0">
                  <c:v>110.49</c:v>
                </c:pt>
                <c:pt idx="938" formatCode="#,##0.0">
                  <c:v>109</c:v>
                </c:pt>
                <c:pt idx="939" formatCode="#,##0.0">
                  <c:v>109.94</c:v>
                </c:pt>
                <c:pt idx="940" formatCode="#,##0.0">
                  <c:v>109.77</c:v>
                </c:pt>
                <c:pt idx="941" formatCode="#,##0.0">
                  <c:v>110.06</c:v>
                </c:pt>
                <c:pt idx="942" formatCode="#,##0.0">
                  <c:v>107.65</c:v>
                </c:pt>
                <c:pt idx="943" formatCode="#,##0.0">
                  <c:v>106.99</c:v>
                </c:pt>
                <c:pt idx="944" formatCode="#,##0.0">
                  <c:v>107.06</c:v>
                </c:pt>
                <c:pt idx="945" formatCode="#,##0.0">
                  <c:v>109.42</c:v>
                </c:pt>
                <c:pt idx="946" formatCode="#,##0.0">
                  <c:v>108.81</c:v>
                </c:pt>
                <c:pt idx="947" formatCode="#,##0.0">
                  <c:v>109.77</c:v>
                </c:pt>
                <c:pt idx="948" formatCode="#,##0.0">
                  <c:v>108.9</c:v>
                </c:pt>
                <c:pt idx="949">
                  <c:v>106.05</c:v>
                </c:pt>
                <c:pt idx="950">
                  <c:v>105.65</c:v>
                </c:pt>
                <c:pt idx="951">
                  <c:v>104.99</c:v>
                </c:pt>
                <c:pt idx="952">
                  <c:v>103.55</c:v>
                </c:pt>
                <c:pt idx="953">
                  <c:v>105.04</c:v>
                </c:pt>
                <c:pt idx="954">
                  <c:v>106.34</c:v>
                </c:pt>
                <c:pt idx="955">
                  <c:v>105.82</c:v>
                </c:pt>
                <c:pt idx="956">
                  <c:v>106.92</c:v>
                </c:pt>
                <c:pt idx="957">
                  <c:v>108.4</c:v>
                </c:pt>
                <c:pt idx="958">
                  <c:v>108.5</c:v>
                </c:pt>
                <c:pt idx="959">
                  <c:v>108.3</c:v>
                </c:pt>
                <c:pt idx="960">
                  <c:v>107.07</c:v>
                </c:pt>
                <c:pt idx="961">
                  <c:v>107.92</c:v>
                </c:pt>
                <c:pt idx="962">
                  <c:v>110.15</c:v>
                </c:pt>
                <c:pt idx="963">
                  <c:v>110.49</c:v>
                </c:pt>
                <c:pt idx="964">
                  <c:v>111.05</c:v>
                </c:pt>
                <c:pt idx="965">
                  <c:v>111.04</c:v>
                </c:pt>
                <c:pt idx="966">
                  <c:v>111.59</c:v>
                </c:pt>
                <c:pt idx="967">
                  <c:v>110.95</c:v>
                </c:pt>
                <c:pt idx="968">
                  <c:v>110.11</c:v>
                </c:pt>
                <c:pt idx="969">
                  <c:v>111.01</c:v>
                </c:pt>
                <c:pt idx="970">
                  <c:v>112.24</c:v>
                </c:pt>
                <c:pt idx="971">
                  <c:v>111.17</c:v>
                </c:pt>
                <c:pt idx="972">
                  <c:v>110.76</c:v>
                </c:pt>
                <c:pt idx="973">
                  <c:v>111.36</c:v>
                </c:pt>
                <c:pt idx="974">
                  <c:v>108.93</c:v>
                </c:pt>
                <c:pt idx="975">
                  <c:v>109.25</c:v>
                </c:pt>
                <c:pt idx="976">
                  <c:v>109.32</c:v>
                </c:pt>
                <c:pt idx="977">
                  <c:v>108.34</c:v>
                </c:pt>
                <c:pt idx="978">
                  <c:v>108.3</c:v>
                </c:pt>
                <c:pt idx="979">
                  <c:v>109.04</c:v>
                </c:pt>
                <c:pt idx="980">
                  <c:v>108.21</c:v>
                </c:pt>
                <c:pt idx="981">
                  <c:v>109.28</c:v>
                </c:pt>
                <c:pt idx="982">
                  <c:v>110.06</c:v>
                </c:pt>
                <c:pt idx="983">
                  <c:v>111.84</c:v>
                </c:pt>
                <c:pt idx="984">
                  <c:v>111.57</c:v>
                </c:pt>
                <c:pt idx="985">
                  <c:v>112</c:v>
                </c:pt>
                <c:pt idx="987">
                  <c:v>112</c:v>
                </c:pt>
                <c:pt idx="988">
                  <c:v>112.14</c:v>
                </c:pt>
                <c:pt idx="989">
                  <c:v>106</c:v>
                </c:pt>
                <c:pt idx="990">
                  <c:v>106.83</c:v>
                </c:pt>
                <c:pt idx="991">
                  <c:v>105.59</c:v>
                </c:pt>
                <c:pt idx="992">
                  <c:v>105.25</c:v>
                </c:pt>
                <c:pt idx="993">
                  <c:v>105.97</c:v>
                </c:pt>
                <c:pt idx="994">
                  <c:v>105.48</c:v>
                </c:pt>
                <c:pt idx="995">
                  <c:v>106.32</c:v>
                </c:pt>
                <c:pt idx="996">
                  <c:v>106.2</c:v>
                </c:pt>
                <c:pt idx="997">
                  <c:v>106.8</c:v>
                </c:pt>
                <c:pt idx="998">
                  <c:v>108.08</c:v>
                </c:pt>
                <c:pt idx="999">
                  <c:v>107.58</c:v>
                </c:pt>
                <c:pt idx="1000">
                  <c:v>107.89</c:v>
                </c:pt>
                <c:pt idx="1001">
                  <c:v>106.94</c:v>
                </c:pt>
                <c:pt idx="1002">
                  <c:v>107.41</c:v>
                </c:pt>
                <c:pt idx="1003">
                  <c:v>107.75</c:v>
                </c:pt>
                <c:pt idx="1004">
                  <c:v>107.7</c:v>
                </c:pt>
                <c:pt idx="1005">
                  <c:v>105.79</c:v>
                </c:pt>
                <c:pt idx="1006">
                  <c:v>105.27</c:v>
                </c:pt>
                <c:pt idx="1007">
                  <c:v>105.38</c:v>
                </c:pt>
                <c:pt idx="1008">
                  <c:v>105.56</c:v>
                </c:pt>
                <c:pt idx="1009">
                  <c:v>106.75</c:v>
                </c:pt>
                <c:pt idx="1010">
                  <c:v>108.83</c:v>
                </c:pt>
                <c:pt idx="1011">
                  <c:v>107.78</c:v>
                </c:pt>
                <c:pt idx="1012">
                  <c:v>108.2</c:v>
                </c:pt>
                <c:pt idx="1013">
                  <c:v>108.27</c:v>
                </c:pt>
                <c:pt idx="1014">
                  <c:v>108.58</c:v>
                </c:pt>
                <c:pt idx="1015">
                  <c:v>109.05</c:v>
                </c:pt>
                <c:pt idx="1016">
                  <c:v>109.1</c:v>
                </c:pt>
                <c:pt idx="1017">
                  <c:v>110.63</c:v>
                </c:pt>
                <c:pt idx="1018">
                  <c:v>110.42</c:v>
                </c:pt>
                <c:pt idx="1019">
                  <c:v>110.49</c:v>
                </c:pt>
                <c:pt idx="1020">
                  <c:v>109.84</c:v>
                </c:pt>
                <c:pt idx="1021">
                  <c:v>110.71</c:v>
                </c:pt>
                <c:pt idx="1022">
                  <c:v>109.59</c:v>
                </c:pt>
                <c:pt idx="1023">
                  <c:v>109.51</c:v>
                </c:pt>
                <c:pt idx="1024">
                  <c:v>108.77</c:v>
                </c:pt>
                <c:pt idx="1025">
                  <c:v>108.65</c:v>
                </c:pt>
                <c:pt idx="1026">
                  <c:v>110.78</c:v>
                </c:pt>
                <c:pt idx="1027">
                  <c:v>108.62</c:v>
                </c:pt>
                <c:pt idx="1028">
                  <c:v>107.29</c:v>
                </c:pt>
                <c:pt idx="1029">
                  <c:v>107.8</c:v>
                </c:pt>
                <c:pt idx="1030">
                  <c:v>108.23</c:v>
                </c:pt>
                <c:pt idx="1031">
                  <c:v>107.77</c:v>
                </c:pt>
                <c:pt idx="1032">
                  <c:v>107.6</c:v>
                </c:pt>
                <c:pt idx="1033">
                  <c:v>106.99</c:v>
                </c:pt>
                <c:pt idx="1034">
                  <c:v>108.5</c:v>
                </c:pt>
                <c:pt idx="1035">
                  <c:v>106.4</c:v>
                </c:pt>
                <c:pt idx="1036">
                  <c:v>106.65</c:v>
                </c:pt>
                <c:pt idx="1037">
                  <c:v>105.84</c:v>
                </c:pt>
                <c:pt idx="1038">
                  <c:v>106.23</c:v>
                </c:pt>
                <c:pt idx="1039">
                  <c:v>107.2</c:v>
                </c:pt>
                <c:pt idx="1040">
                  <c:v>106.59</c:v>
                </c:pt>
                <c:pt idx="1041">
                  <c:v>106.93</c:v>
                </c:pt>
                <c:pt idx="1042">
                  <c:v>107</c:v>
                </c:pt>
                <c:pt idx="1043">
                  <c:v>107.69</c:v>
                </c:pt>
                <c:pt idx="1044">
                  <c:v>107.97</c:v>
                </c:pt>
                <c:pt idx="1045">
                  <c:v>107.7</c:v>
                </c:pt>
                <c:pt idx="1046">
                  <c:v>105.31</c:v>
                </c:pt>
                <c:pt idx="1047">
                  <c:v>104.7</c:v>
                </c:pt>
                <c:pt idx="1048">
                  <c:v>106.14</c:v>
                </c:pt>
                <c:pt idx="1049">
                  <c:v>106.57</c:v>
                </c:pt>
                <c:pt idx="1050">
                  <c:v>105.98</c:v>
                </c:pt>
                <c:pt idx="1051">
                  <c:v>107.48</c:v>
                </c:pt>
                <c:pt idx="1052">
                  <c:v>107.9</c:v>
                </c:pt>
                <c:pt idx="1053">
                  <c:v>107.39</c:v>
                </c:pt>
                <c:pt idx="1054">
                  <c:v>107.15</c:v>
                </c:pt>
                <c:pt idx="1055">
                  <c:v>108.96</c:v>
                </c:pt>
                <c:pt idx="1056">
                  <c:v>109.18</c:v>
                </c:pt>
                <c:pt idx="1057">
                  <c:v>109.71</c:v>
                </c:pt>
                <c:pt idx="1058">
                  <c:v>109.76</c:v>
                </c:pt>
                <c:pt idx="1059">
                  <c:v>109.72</c:v>
                </c:pt>
                <c:pt idx="1060">
                  <c:v>109.96</c:v>
                </c:pt>
                <c:pt idx="1061">
                  <c:v>109.37</c:v>
                </c:pt>
                <c:pt idx="1062">
                  <c:v>109.14</c:v>
                </c:pt>
                <c:pt idx="1063">
                  <c:v>110.41</c:v>
                </c:pt>
                <c:pt idx="1064">
                  <c:v>109.39</c:v>
                </c:pt>
                <c:pt idx="1065">
                  <c:v>108.12</c:v>
                </c:pt>
                <c:pt idx="1066">
                  <c:v>108.91</c:v>
                </c:pt>
                <c:pt idx="1067">
                  <c:v>108.14</c:v>
                </c:pt>
                <c:pt idx="1068">
                  <c:v>106.98</c:v>
                </c:pt>
                <c:pt idx="1069">
                  <c:v>107.22</c:v>
                </c:pt>
                <c:pt idx="1070">
                  <c:v>107.53</c:v>
                </c:pt>
                <c:pt idx="1071">
                  <c:v>107.49</c:v>
                </c:pt>
                <c:pt idx="1072">
                  <c:v>107.77</c:v>
                </c:pt>
                <c:pt idx="1073">
                  <c:v>108.65</c:v>
                </c:pt>
                <c:pt idx="1074">
                  <c:v>109.2</c:v>
                </c:pt>
                <c:pt idx="1075">
                  <c:v>109.02</c:v>
                </c:pt>
                <c:pt idx="1076">
                  <c:v>109.68</c:v>
                </c:pt>
                <c:pt idx="1077">
                  <c:v>109.36</c:v>
                </c:pt>
                <c:pt idx="1078">
                  <c:v>109.84</c:v>
                </c:pt>
                <c:pt idx="1079">
                  <c:v>110.54</c:v>
                </c:pt>
                <c:pt idx="1080">
                  <c:v>110.39</c:v>
                </c:pt>
                <c:pt idx="1081">
                  <c:v>110.44</c:v>
                </c:pt>
                <c:pt idx="1082">
                  <c:v>110.39</c:v>
                </c:pt>
                <c:pt idx="1083">
                  <c:v>110.19</c:v>
                </c:pt>
                <c:pt idx="1084">
                  <c:v>110.06</c:v>
                </c:pt>
                <c:pt idx="1085">
                  <c:v>110.07</c:v>
                </c:pt>
                <c:pt idx="1086">
                  <c:v>109.49</c:v>
                </c:pt>
                <c:pt idx="1087">
                  <c:v>108.17</c:v>
                </c:pt>
                <c:pt idx="1088">
                  <c:v>108.18</c:v>
                </c:pt>
                <c:pt idx="1089">
                  <c:v>107.43</c:v>
                </c:pt>
                <c:pt idx="1090">
                  <c:v>108.19</c:v>
                </c:pt>
                <c:pt idx="1091">
                  <c:v>108.01</c:v>
                </c:pt>
                <c:pt idx="1092">
                  <c:v>109.1</c:v>
                </c:pt>
                <c:pt idx="1093">
                  <c:v>108.98</c:v>
                </c:pt>
                <c:pt idx="1094">
                  <c:v>109.51</c:v>
                </c:pt>
                <c:pt idx="1095">
                  <c:v>112.83</c:v>
                </c:pt>
                <c:pt idx="1096">
                  <c:v>113.31</c:v>
                </c:pt>
                <c:pt idx="1097">
                  <c:v>114.14</c:v>
                </c:pt>
                <c:pt idx="1098">
                  <c:v>114.92</c:v>
                </c:pt>
                <c:pt idx="1099">
                  <c:v>114.68</c:v>
                </c:pt>
                <c:pt idx="1100">
                  <c:v>113.97</c:v>
                </c:pt>
                <c:pt idx="1101">
                  <c:v>114.13</c:v>
                </c:pt>
                <c:pt idx="1102">
                  <c:v>114.22</c:v>
                </c:pt>
                <c:pt idx="1103">
                  <c:v>113.02</c:v>
                </c:pt>
                <c:pt idx="1104">
                  <c:v>113.18</c:v>
                </c:pt>
                <c:pt idx="1105">
                  <c:v>112.4</c:v>
                </c:pt>
                <c:pt idx="1106">
                  <c:v>111.85</c:v>
                </c:pt>
                <c:pt idx="1107">
                  <c:v>111</c:v>
                </c:pt>
                <c:pt idx="1108">
                  <c:v>110.89</c:v>
                </c:pt>
                <c:pt idx="1109">
                  <c:v>110.49</c:v>
                </c:pt>
                <c:pt idx="1110">
                  <c:v>109.85</c:v>
                </c:pt>
                <c:pt idx="1111">
                  <c:v>109.01</c:v>
                </c:pt>
                <c:pt idx="1112">
                  <c:v>108.32</c:v>
                </c:pt>
                <c:pt idx="1113">
                  <c:v>108.85</c:v>
                </c:pt>
                <c:pt idx="1114">
                  <c:v>107.26</c:v>
                </c:pt>
                <c:pt idx="1115">
                  <c:v>107.6</c:v>
                </c:pt>
                <c:pt idx="1116">
                  <c:v>106.75</c:v>
                </c:pt>
                <c:pt idx="1117">
                  <c:v>107.08</c:v>
                </c:pt>
                <c:pt idx="1118">
                  <c:v>108.45</c:v>
                </c:pt>
                <c:pt idx="1119">
                  <c:v>107.14</c:v>
                </c:pt>
                <c:pt idx="1120">
                  <c:v>107.68</c:v>
                </c:pt>
                <c:pt idx="1121">
                  <c:v>106.89</c:v>
                </c:pt>
                <c:pt idx="1122">
                  <c:v>108.18</c:v>
                </c:pt>
                <c:pt idx="1123">
                  <c:v>107.13</c:v>
                </c:pt>
                <c:pt idx="1124">
                  <c:v>108.13</c:v>
                </c:pt>
                <c:pt idx="1125">
                  <c:v>107.5</c:v>
                </c:pt>
                <c:pt idx="1126">
                  <c:v>107.5</c:v>
                </c:pt>
                <c:pt idx="1127">
                  <c:v>106.03</c:v>
                </c:pt>
                <c:pt idx="1128">
                  <c:v>105.52</c:v>
                </c:pt>
                <c:pt idx="1129">
                  <c:v>105.33</c:v>
                </c:pt>
                <c:pt idx="1130">
                  <c:v>106.17</c:v>
                </c:pt>
                <c:pt idx="1131">
                  <c:v>105.59</c:v>
                </c:pt>
                <c:pt idx="1132">
                  <c:v>105.27</c:v>
                </c:pt>
                <c:pt idx="1133">
                  <c:v>106.37</c:v>
                </c:pt>
                <c:pt idx="1134">
                  <c:v>105.31</c:v>
                </c:pt>
                <c:pt idx="1135">
                  <c:v>105.09</c:v>
                </c:pt>
                <c:pt idx="1136">
                  <c:v>103.8</c:v>
                </c:pt>
                <c:pt idx="1137">
                  <c:v>104.68</c:v>
                </c:pt>
                <c:pt idx="1138">
                  <c:v>102.08</c:v>
                </c:pt>
                <c:pt idx="1139">
                  <c:v>103.4</c:v>
                </c:pt>
                <c:pt idx="1140">
                  <c:v>101.79</c:v>
                </c:pt>
                <c:pt idx="1141">
                  <c:v>101.6</c:v>
                </c:pt>
                <c:pt idx="1142">
                  <c:v>102.29</c:v>
                </c:pt>
                <c:pt idx="1143">
                  <c:v>102.69</c:v>
                </c:pt>
                <c:pt idx="1144">
                  <c:v>102.1</c:v>
                </c:pt>
                <c:pt idx="1145">
                  <c:v>102.66</c:v>
                </c:pt>
                <c:pt idx="1146">
                  <c:v>102.58</c:v>
                </c:pt>
                <c:pt idx="1147">
                  <c:v>102.6</c:v>
                </c:pt>
                <c:pt idx="1148">
                  <c:v>102.47</c:v>
                </c:pt>
                <c:pt idx="1149">
                  <c:v>103.04</c:v>
                </c:pt>
                <c:pt idx="1150">
                  <c:v>103.1</c:v>
                </c:pt>
                <c:pt idx="1151">
                  <c:v>101.24</c:v>
                </c:pt>
                <c:pt idx="1152">
                  <c:v>102.91</c:v>
                </c:pt>
                <c:pt idx="1153">
                  <c:v>102.3</c:v>
                </c:pt>
                <c:pt idx="1154">
                  <c:v>101.53</c:v>
                </c:pt>
                <c:pt idx="1155">
                  <c:v>100.89</c:v>
                </c:pt>
                <c:pt idx="1156">
                  <c:v>100</c:v>
                </c:pt>
                <c:pt idx="1157">
                  <c:v>98.75</c:v>
                </c:pt>
                <c:pt idx="1158">
                  <c:v>98.95</c:v>
                </c:pt>
                <c:pt idx="1159">
                  <c:v>97.8</c:v>
                </c:pt>
                <c:pt idx="1160">
                  <c:v>98</c:v>
                </c:pt>
                <c:pt idx="1161">
                  <c:v>99</c:v>
                </c:pt>
                <c:pt idx="1162">
                  <c:v>98.72</c:v>
                </c:pt>
                <c:pt idx="1163">
                  <c:v>97.62</c:v>
                </c:pt>
                <c:pt idx="1164">
                  <c:v>98.38</c:v>
                </c:pt>
                <c:pt idx="1165">
                  <c:v>96.85</c:v>
                </c:pt>
                <c:pt idx="1166">
                  <c:v>96.94</c:v>
                </c:pt>
                <c:pt idx="1167">
                  <c:v>97.09</c:v>
                </c:pt>
                <c:pt idx="1168">
                  <c:v>97.05</c:v>
                </c:pt>
                <c:pt idx="1169">
                  <c:v>96.9</c:v>
                </c:pt>
                <c:pt idx="1170">
                  <c:v>97.07</c:v>
                </c:pt>
                <c:pt idx="1171">
                  <c:v>94.8</c:v>
                </c:pt>
                <c:pt idx="1172">
                  <c:v>94.9</c:v>
                </c:pt>
                <c:pt idx="1173">
                  <c:v>94.32</c:v>
                </c:pt>
                <c:pt idx="1174">
                  <c:v>92.82</c:v>
                </c:pt>
                <c:pt idx="1175">
                  <c:v>93.35</c:v>
                </c:pt>
                <c:pt idx="1176">
                  <c:v>92.2</c:v>
                </c:pt>
                <c:pt idx="1177">
                  <c:v>92.14</c:v>
                </c:pt>
                <c:pt idx="1178">
                  <c:v>89.23</c:v>
                </c:pt>
                <c:pt idx="1179">
                  <c:v>90.27</c:v>
                </c:pt>
                <c:pt idx="1180">
                  <c:v>88.61</c:v>
                </c:pt>
                <c:pt idx="1181">
                  <c:v>86</c:v>
                </c:pt>
                <c:pt idx="1182">
                  <c:v>83.75</c:v>
                </c:pt>
                <c:pt idx="1183">
                  <c:v>86.76</c:v>
                </c:pt>
                <c:pt idx="1184">
                  <c:v>86.1</c:v>
                </c:pt>
                <c:pt idx="1185">
                  <c:v>85.34</c:v>
                </c:pt>
                <c:pt idx="1186">
                  <c:v>86.43</c:v>
                </c:pt>
                <c:pt idx="1187">
                  <c:v>84.68</c:v>
                </c:pt>
                <c:pt idx="1188">
                  <c:v>86.7</c:v>
                </c:pt>
                <c:pt idx="1189">
                  <c:v>86.25</c:v>
                </c:pt>
                <c:pt idx="1190">
                  <c:v>85.43</c:v>
                </c:pt>
                <c:pt idx="1191">
                  <c:v>86.23</c:v>
                </c:pt>
                <c:pt idx="1192">
                  <c:v>86.76</c:v>
                </c:pt>
                <c:pt idx="1193">
                  <c:v>86.1</c:v>
                </c:pt>
                <c:pt idx="1194">
                  <c:v>85.96</c:v>
                </c:pt>
                <c:pt idx="1195">
                  <c:v>83.89</c:v>
                </c:pt>
                <c:pt idx="1196">
                  <c:v>83.31</c:v>
                </c:pt>
                <c:pt idx="1197">
                  <c:v>83.6</c:v>
                </c:pt>
                <c:pt idx="1198">
                  <c:v>82.5</c:v>
                </c:pt>
                <c:pt idx="1199">
                  <c:v>82</c:v>
                </c:pt>
                <c:pt idx="1200">
                  <c:v>80.67</c:v>
                </c:pt>
                <c:pt idx="1201">
                  <c:v>77.53</c:v>
                </c:pt>
                <c:pt idx="1202">
                  <c:v>79.599999999999994</c:v>
                </c:pt>
                <c:pt idx="1203">
                  <c:v>79.08</c:v>
                </c:pt>
                <c:pt idx="1204">
                  <c:v>78.41</c:v>
                </c:pt>
                <c:pt idx="1205">
                  <c:v>78.05</c:v>
                </c:pt>
                <c:pt idx="1206">
                  <c:v>79.790000000000006</c:v>
                </c:pt>
                <c:pt idx="1207">
                  <c:v>80.36</c:v>
                </c:pt>
                <c:pt idx="1208">
                  <c:v>79.400000000000006</c:v>
                </c:pt>
                <c:pt idx="1209">
                  <c:v>78.17</c:v>
                </c:pt>
                <c:pt idx="1210">
                  <c:v>77.53</c:v>
                </c:pt>
                <c:pt idx="1211">
                  <c:v>72.819999999999993</c:v>
                </c:pt>
                <c:pt idx="1212">
                  <c:v>70.02</c:v>
                </c:pt>
                <c:pt idx="1213">
                  <c:v>73.31</c:v>
                </c:pt>
                <c:pt idx="1214">
                  <c:v>71.489999999999995</c:v>
                </c:pt>
                <c:pt idx="1215">
                  <c:v>70.5</c:v>
                </c:pt>
                <c:pt idx="1216">
                  <c:v>69.89</c:v>
                </c:pt>
                <c:pt idx="1217">
                  <c:v>69.05</c:v>
                </c:pt>
                <c:pt idx="1218">
                  <c:v>66.52</c:v>
                </c:pt>
                <c:pt idx="1219">
                  <c:v>66.790000000000006</c:v>
                </c:pt>
                <c:pt idx="1220">
                  <c:v>64.56</c:v>
                </c:pt>
                <c:pt idx="1221">
                  <c:v>63.55</c:v>
                </c:pt>
                <c:pt idx="1222">
                  <c:v>61.92</c:v>
                </c:pt>
                <c:pt idx="1223">
                  <c:v>60.52</c:v>
                </c:pt>
                <c:pt idx="1224">
                  <c:v>59.8</c:v>
                </c:pt>
                <c:pt idx="1225">
                  <c:v>60.64</c:v>
                </c:pt>
                <c:pt idx="1226">
                  <c:v>59.81</c:v>
                </c:pt>
                <c:pt idx="1227">
                  <c:v>62.15</c:v>
                </c:pt>
                <c:pt idx="1228">
                  <c:v>60.13</c:v>
                </c:pt>
                <c:pt idx="1229">
                  <c:v>61.55</c:v>
                </c:pt>
                <c:pt idx="1230">
                  <c:v>60.15</c:v>
                </c:pt>
                <c:pt idx="1231">
                  <c:v>60.15</c:v>
                </c:pt>
                <c:pt idx="1232">
                  <c:v>59.52</c:v>
                </c:pt>
                <c:pt idx="1233">
                  <c:v>47.2</c:v>
                </c:pt>
                <c:pt idx="1234">
                  <c:v>46.79</c:v>
                </c:pt>
                <c:pt idx="1235">
                  <c:v>48.61</c:v>
                </c:pt>
                <c:pt idx="1236">
                  <c:v>48.36</c:v>
                </c:pt>
                <c:pt idx="1237">
                  <c:v>49.9</c:v>
                </c:pt>
                <c:pt idx="1238">
                  <c:v>48.85</c:v>
                </c:pt>
                <c:pt idx="1239">
                  <c:v>48.17</c:v>
                </c:pt>
                <c:pt idx="1240">
                  <c:v>48.75</c:v>
                </c:pt>
                <c:pt idx="1241">
                  <c:v>49</c:v>
                </c:pt>
                <c:pt idx="1242">
                  <c:v>48.55</c:v>
                </c:pt>
                <c:pt idx="1243">
                  <c:v>48.11</c:v>
                </c:pt>
                <c:pt idx="1244">
                  <c:v>49.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582144"/>
        <c:axId val="639221056"/>
      </c:lineChart>
      <c:catAx>
        <c:axId val="640560640"/>
        <c:scaling>
          <c:orientation val="minMax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7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9064256"/>
        <c:crosses val="autoZero"/>
        <c:auto val="0"/>
        <c:lblAlgn val="ctr"/>
        <c:lblOffset val="100"/>
        <c:tickLblSkip val="100"/>
        <c:tickMarkSkip val="100"/>
        <c:noMultiLvlLbl val="0"/>
      </c:catAx>
      <c:valAx>
        <c:axId val="629064256"/>
        <c:scaling>
          <c:orientation val="minMax"/>
          <c:max val="47000"/>
          <c:min val="15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9645504009731E-4"/>
              <c:y val="0.2417548901277851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560640"/>
        <c:crosses val="autoZero"/>
        <c:crossBetween val="between"/>
      </c:valAx>
      <c:catAx>
        <c:axId val="64058214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39221056"/>
        <c:crosses val="autoZero"/>
        <c:auto val="0"/>
        <c:lblAlgn val="ctr"/>
        <c:lblOffset val="100"/>
        <c:noMultiLvlLbl val="0"/>
      </c:catAx>
      <c:valAx>
        <c:axId val="639221056"/>
        <c:scaling>
          <c:orientation val="minMax"/>
          <c:max val="130"/>
          <c:min val="4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582144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9.0886372200955995E-2"/>
          <c:y val="0.93030844684560421"/>
          <c:w val="0.80381549283669518"/>
          <c:h val="6.8509301300841097E-2"/>
        </c:manualLayout>
      </c:layout>
      <c:overlay val="0"/>
      <c:txPr>
        <a:bodyPr/>
        <a:lstStyle/>
        <a:p>
          <a:pPr>
            <a:defRPr sz="655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400" b="1" i="1" u="none" strike="noStrike" baseline="0">
                <a:solidFill>
                  <a:srgbClr val="000000"/>
                </a:solidFill>
                <a:latin typeface="Calibri"/>
              </a:rPr>
              <a:t>BRENT          - 53,7 %</a:t>
            </a:r>
          </a:p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400" b="1" i="1" u="none" strike="noStrike" baseline="0">
                <a:solidFill>
                  <a:srgbClr val="FF0000"/>
                </a:solidFill>
                <a:latin typeface="Calibri"/>
              </a:rPr>
              <a:t>Регуляр-92  - 1,23 </a:t>
            </a:r>
            <a:r>
              <a:rPr lang="ru-RU" sz="1400" b="0" i="0" u="none" strike="noStrike" baseline="0">
                <a:solidFill>
                  <a:srgbClr val="000000"/>
                </a:solidFill>
                <a:latin typeface="Calibri"/>
              </a:rPr>
              <a:t> </a:t>
            </a:r>
            <a:r>
              <a:rPr lang="ru-RU" sz="1400" b="1" i="1" u="none" strike="noStrike" baseline="0">
                <a:solidFill>
                  <a:srgbClr val="FF0000"/>
                </a:solidFill>
                <a:latin typeface="Calibri"/>
              </a:rPr>
              <a:t>%</a:t>
            </a:r>
          </a:p>
        </c:rich>
      </c:tx>
      <c:layout>
        <c:manualLayout>
          <c:xMode val="edge"/>
          <c:yMode val="edge"/>
          <c:x val="0.56643104120801024"/>
          <c:y val="0.5976422016590992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7435578997835851E-2"/>
          <c:y val="4.3792171963905981E-2"/>
          <c:w val="0.83923494178612257"/>
          <c:h val="0.83595842875980286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1014:$F$1462</c:f>
              <c:numCache>
                <c:formatCode>m/d/yyyy</c:formatCode>
                <c:ptCount val="449"/>
                <c:pt idx="0">
                  <c:v>41358</c:v>
                </c:pt>
                <c:pt idx="1">
                  <c:v>41359</c:v>
                </c:pt>
                <c:pt idx="2">
                  <c:v>41360</c:v>
                </c:pt>
                <c:pt idx="3">
                  <c:v>41361</c:v>
                </c:pt>
                <c:pt idx="4">
                  <c:v>41362</c:v>
                </c:pt>
                <c:pt idx="5">
                  <c:v>41365</c:v>
                </c:pt>
                <c:pt idx="6">
                  <c:v>41366</c:v>
                </c:pt>
                <c:pt idx="7">
                  <c:v>41367</c:v>
                </c:pt>
                <c:pt idx="8">
                  <c:v>41368</c:v>
                </c:pt>
                <c:pt idx="9">
                  <c:v>41369</c:v>
                </c:pt>
                <c:pt idx="10">
                  <c:v>41372</c:v>
                </c:pt>
                <c:pt idx="11">
                  <c:v>41373</c:v>
                </c:pt>
                <c:pt idx="12">
                  <c:v>41374</c:v>
                </c:pt>
                <c:pt idx="13">
                  <c:v>41375</c:v>
                </c:pt>
                <c:pt idx="14">
                  <c:v>41376</c:v>
                </c:pt>
                <c:pt idx="15">
                  <c:v>41379</c:v>
                </c:pt>
                <c:pt idx="16">
                  <c:v>41380</c:v>
                </c:pt>
                <c:pt idx="17">
                  <c:v>41381</c:v>
                </c:pt>
                <c:pt idx="18">
                  <c:v>41382</c:v>
                </c:pt>
                <c:pt idx="19">
                  <c:v>41383</c:v>
                </c:pt>
                <c:pt idx="20">
                  <c:v>41386</c:v>
                </c:pt>
                <c:pt idx="21">
                  <c:v>41387</c:v>
                </c:pt>
                <c:pt idx="22">
                  <c:v>41388</c:v>
                </c:pt>
                <c:pt idx="23">
                  <c:v>41389</c:v>
                </c:pt>
                <c:pt idx="24">
                  <c:v>41390</c:v>
                </c:pt>
                <c:pt idx="25">
                  <c:v>41393</c:v>
                </c:pt>
                <c:pt idx="26">
                  <c:v>41394</c:v>
                </c:pt>
                <c:pt idx="27">
                  <c:v>41400</c:v>
                </c:pt>
                <c:pt idx="28">
                  <c:v>41401</c:v>
                </c:pt>
                <c:pt idx="29">
                  <c:v>41402</c:v>
                </c:pt>
                <c:pt idx="30">
                  <c:v>41407</c:v>
                </c:pt>
                <c:pt idx="31">
                  <c:v>41408</c:v>
                </c:pt>
                <c:pt idx="32">
                  <c:v>41409</c:v>
                </c:pt>
                <c:pt idx="33">
                  <c:v>41410</c:v>
                </c:pt>
                <c:pt idx="34">
                  <c:v>41411</c:v>
                </c:pt>
                <c:pt idx="35">
                  <c:v>41414</c:v>
                </c:pt>
                <c:pt idx="36">
                  <c:v>41415</c:v>
                </c:pt>
                <c:pt idx="37">
                  <c:v>41416</c:v>
                </c:pt>
                <c:pt idx="38">
                  <c:v>41417</c:v>
                </c:pt>
                <c:pt idx="39">
                  <c:v>41418</c:v>
                </c:pt>
                <c:pt idx="40">
                  <c:v>41421</c:v>
                </c:pt>
                <c:pt idx="41">
                  <c:v>41422</c:v>
                </c:pt>
                <c:pt idx="42">
                  <c:v>41423</c:v>
                </c:pt>
                <c:pt idx="43">
                  <c:v>41424</c:v>
                </c:pt>
                <c:pt idx="44">
                  <c:v>41425</c:v>
                </c:pt>
                <c:pt idx="45">
                  <c:v>41428</c:v>
                </c:pt>
                <c:pt idx="46">
                  <c:v>41429</c:v>
                </c:pt>
                <c:pt idx="47">
                  <c:v>41430</c:v>
                </c:pt>
                <c:pt idx="48">
                  <c:v>41431</c:v>
                </c:pt>
                <c:pt idx="49">
                  <c:v>41432</c:v>
                </c:pt>
                <c:pt idx="50">
                  <c:v>41435</c:v>
                </c:pt>
                <c:pt idx="51">
                  <c:v>41436</c:v>
                </c:pt>
                <c:pt idx="52">
                  <c:v>41438</c:v>
                </c:pt>
                <c:pt idx="53">
                  <c:v>41439</c:v>
                </c:pt>
                <c:pt idx="54">
                  <c:v>41442</c:v>
                </c:pt>
                <c:pt idx="55">
                  <c:v>41443</c:v>
                </c:pt>
                <c:pt idx="56">
                  <c:v>41444</c:v>
                </c:pt>
                <c:pt idx="57">
                  <c:v>41445</c:v>
                </c:pt>
                <c:pt idx="58">
                  <c:v>41446</c:v>
                </c:pt>
                <c:pt idx="59">
                  <c:v>41449</c:v>
                </c:pt>
                <c:pt idx="60">
                  <c:v>41450</c:v>
                </c:pt>
                <c:pt idx="61">
                  <c:v>41451</c:v>
                </c:pt>
                <c:pt idx="62">
                  <c:v>41452</c:v>
                </c:pt>
                <c:pt idx="63">
                  <c:v>41453</c:v>
                </c:pt>
                <c:pt idx="64">
                  <c:v>41456</c:v>
                </c:pt>
                <c:pt idx="65">
                  <c:v>41457</c:v>
                </c:pt>
                <c:pt idx="66">
                  <c:v>41458</c:v>
                </c:pt>
                <c:pt idx="67">
                  <c:v>41459</c:v>
                </c:pt>
                <c:pt idx="68">
                  <c:v>41460</c:v>
                </c:pt>
                <c:pt idx="69">
                  <c:v>41463</c:v>
                </c:pt>
                <c:pt idx="70">
                  <c:v>41464</c:v>
                </c:pt>
                <c:pt idx="71">
                  <c:v>41465</c:v>
                </c:pt>
                <c:pt idx="72">
                  <c:v>41466</c:v>
                </c:pt>
                <c:pt idx="73">
                  <c:v>41467</c:v>
                </c:pt>
                <c:pt idx="74">
                  <c:v>41470</c:v>
                </c:pt>
                <c:pt idx="75">
                  <c:v>41471</c:v>
                </c:pt>
                <c:pt idx="76">
                  <c:v>41472</c:v>
                </c:pt>
                <c:pt idx="77">
                  <c:v>41473</c:v>
                </c:pt>
                <c:pt idx="78">
                  <c:v>41474</c:v>
                </c:pt>
                <c:pt idx="79">
                  <c:v>41477</c:v>
                </c:pt>
                <c:pt idx="80">
                  <c:v>41478</c:v>
                </c:pt>
                <c:pt idx="81">
                  <c:v>41479</c:v>
                </c:pt>
                <c:pt idx="82">
                  <c:v>41480</c:v>
                </c:pt>
                <c:pt idx="83">
                  <c:v>41481</c:v>
                </c:pt>
                <c:pt idx="84">
                  <c:v>41484</c:v>
                </c:pt>
                <c:pt idx="85">
                  <c:v>41485</c:v>
                </c:pt>
                <c:pt idx="86">
                  <c:v>41486</c:v>
                </c:pt>
                <c:pt idx="87">
                  <c:v>41487</c:v>
                </c:pt>
                <c:pt idx="88">
                  <c:v>41488</c:v>
                </c:pt>
                <c:pt idx="89">
                  <c:v>41491</c:v>
                </c:pt>
                <c:pt idx="90">
                  <c:v>41492</c:v>
                </c:pt>
                <c:pt idx="91">
                  <c:v>41493</c:v>
                </c:pt>
                <c:pt idx="92">
                  <c:v>41494</c:v>
                </c:pt>
                <c:pt idx="93">
                  <c:v>41495</c:v>
                </c:pt>
                <c:pt idx="94">
                  <c:v>41498</c:v>
                </c:pt>
                <c:pt idx="95">
                  <c:v>41499</c:v>
                </c:pt>
                <c:pt idx="96">
                  <c:v>41500</c:v>
                </c:pt>
                <c:pt idx="97">
                  <c:v>41501</c:v>
                </c:pt>
                <c:pt idx="98">
                  <c:v>41502</c:v>
                </c:pt>
                <c:pt idx="99">
                  <c:v>41505</c:v>
                </c:pt>
                <c:pt idx="100">
                  <c:v>41506</c:v>
                </c:pt>
                <c:pt idx="101">
                  <c:v>41507</c:v>
                </c:pt>
                <c:pt idx="102">
                  <c:v>41508</c:v>
                </c:pt>
                <c:pt idx="103">
                  <c:v>41509</c:v>
                </c:pt>
                <c:pt idx="104">
                  <c:v>41512</c:v>
                </c:pt>
                <c:pt idx="105">
                  <c:v>41513</c:v>
                </c:pt>
                <c:pt idx="106">
                  <c:v>41514</c:v>
                </c:pt>
                <c:pt idx="107">
                  <c:v>41515</c:v>
                </c:pt>
                <c:pt idx="108">
                  <c:v>41516</c:v>
                </c:pt>
                <c:pt idx="109">
                  <c:v>41519</c:v>
                </c:pt>
                <c:pt idx="110">
                  <c:v>41520</c:v>
                </c:pt>
                <c:pt idx="111">
                  <c:v>41521</c:v>
                </c:pt>
                <c:pt idx="112">
                  <c:v>41522</c:v>
                </c:pt>
                <c:pt idx="113">
                  <c:v>41523</c:v>
                </c:pt>
                <c:pt idx="114">
                  <c:v>41526</c:v>
                </c:pt>
                <c:pt idx="115">
                  <c:v>41527</c:v>
                </c:pt>
                <c:pt idx="116">
                  <c:v>41528</c:v>
                </c:pt>
                <c:pt idx="117">
                  <c:v>41529</c:v>
                </c:pt>
                <c:pt idx="118">
                  <c:v>41530</c:v>
                </c:pt>
                <c:pt idx="119">
                  <c:v>41533</c:v>
                </c:pt>
                <c:pt idx="120">
                  <c:v>41534</c:v>
                </c:pt>
                <c:pt idx="121">
                  <c:v>41535</c:v>
                </c:pt>
                <c:pt idx="122">
                  <c:v>41536</c:v>
                </c:pt>
                <c:pt idx="123">
                  <c:v>41537</c:v>
                </c:pt>
                <c:pt idx="124">
                  <c:v>41540</c:v>
                </c:pt>
                <c:pt idx="125">
                  <c:v>41541</c:v>
                </c:pt>
                <c:pt idx="126">
                  <c:v>41542</c:v>
                </c:pt>
                <c:pt idx="127">
                  <c:v>41543</c:v>
                </c:pt>
                <c:pt idx="128">
                  <c:v>41544</c:v>
                </c:pt>
                <c:pt idx="129">
                  <c:v>41547</c:v>
                </c:pt>
                <c:pt idx="130">
                  <c:v>41548</c:v>
                </c:pt>
                <c:pt idx="131">
                  <c:v>41549</c:v>
                </c:pt>
                <c:pt idx="132">
                  <c:v>41550</c:v>
                </c:pt>
                <c:pt idx="133">
                  <c:v>41551</c:v>
                </c:pt>
                <c:pt idx="134">
                  <c:v>41554</c:v>
                </c:pt>
                <c:pt idx="135">
                  <c:v>41555</c:v>
                </c:pt>
                <c:pt idx="136">
                  <c:v>41556</c:v>
                </c:pt>
                <c:pt idx="137">
                  <c:v>41557</c:v>
                </c:pt>
                <c:pt idx="138">
                  <c:v>41558</c:v>
                </c:pt>
                <c:pt idx="139">
                  <c:v>41561</c:v>
                </c:pt>
                <c:pt idx="140">
                  <c:v>41562</c:v>
                </c:pt>
                <c:pt idx="141">
                  <c:v>41563</c:v>
                </c:pt>
                <c:pt idx="142">
                  <c:v>41564</c:v>
                </c:pt>
                <c:pt idx="143">
                  <c:v>41565</c:v>
                </c:pt>
                <c:pt idx="144">
                  <c:v>41568</c:v>
                </c:pt>
                <c:pt idx="145">
                  <c:v>41569</c:v>
                </c:pt>
                <c:pt idx="146">
                  <c:v>41570</c:v>
                </c:pt>
                <c:pt idx="147">
                  <c:v>41571</c:v>
                </c:pt>
                <c:pt idx="148">
                  <c:v>41572</c:v>
                </c:pt>
                <c:pt idx="149">
                  <c:v>41575</c:v>
                </c:pt>
                <c:pt idx="150">
                  <c:v>41576</c:v>
                </c:pt>
                <c:pt idx="151">
                  <c:v>41577</c:v>
                </c:pt>
                <c:pt idx="152">
                  <c:v>41578</c:v>
                </c:pt>
                <c:pt idx="153">
                  <c:v>41579</c:v>
                </c:pt>
                <c:pt idx="154">
                  <c:v>41583</c:v>
                </c:pt>
                <c:pt idx="155">
                  <c:v>41584</c:v>
                </c:pt>
                <c:pt idx="156">
                  <c:v>41585</c:v>
                </c:pt>
                <c:pt idx="157">
                  <c:v>41586</c:v>
                </c:pt>
                <c:pt idx="158">
                  <c:v>41589</c:v>
                </c:pt>
                <c:pt idx="159">
                  <c:v>41590</c:v>
                </c:pt>
                <c:pt idx="160">
                  <c:v>41591</c:v>
                </c:pt>
                <c:pt idx="161">
                  <c:v>41592</c:v>
                </c:pt>
                <c:pt idx="162">
                  <c:v>41593</c:v>
                </c:pt>
                <c:pt idx="163">
                  <c:v>41596</c:v>
                </c:pt>
                <c:pt idx="164">
                  <c:v>41597</c:v>
                </c:pt>
                <c:pt idx="165">
                  <c:v>41598</c:v>
                </c:pt>
                <c:pt idx="166">
                  <c:v>41599</c:v>
                </c:pt>
                <c:pt idx="167">
                  <c:v>41600</c:v>
                </c:pt>
                <c:pt idx="168">
                  <c:v>41603</c:v>
                </c:pt>
                <c:pt idx="169">
                  <c:v>41604</c:v>
                </c:pt>
                <c:pt idx="170">
                  <c:v>41605</c:v>
                </c:pt>
                <c:pt idx="171">
                  <c:v>41606</c:v>
                </c:pt>
                <c:pt idx="172">
                  <c:v>41607</c:v>
                </c:pt>
                <c:pt idx="173">
                  <c:v>41610</c:v>
                </c:pt>
                <c:pt idx="174">
                  <c:v>41611</c:v>
                </c:pt>
                <c:pt idx="175">
                  <c:v>41612</c:v>
                </c:pt>
                <c:pt idx="176">
                  <c:v>41613</c:v>
                </c:pt>
                <c:pt idx="177">
                  <c:v>41614</c:v>
                </c:pt>
                <c:pt idx="178">
                  <c:v>41617</c:v>
                </c:pt>
                <c:pt idx="179">
                  <c:v>41618</c:v>
                </c:pt>
                <c:pt idx="180">
                  <c:v>41619</c:v>
                </c:pt>
                <c:pt idx="181">
                  <c:v>41620</c:v>
                </c:pt>
                <c:pt idx="182">
                  <c:v>41621</c:v>
                </c:pt>
                <c:pt idx="183">
                  <c:v>41624</c:v>
                </c:pt>
                <c:pt idx="184">
                  <c:v>41625</c:v>
                </c:pt>
                <c:pt idx="185">
                  <c:v>41626</c:v>
                </c:pt>
                <c:pt idx="186">
                  <c:v>41627</c:v>
                </c:pt>
                <c:pt idx="187">
                  <c:v>41628</c:v>
                </c:pt>
                <c:pt idx="188">
                  <c:v>41631</c:v>
                </c:pt>
                <c:pt idx="189">
                  <c:v>41632</c:v>
                </c:pt>
                <c:pt idx="190">
                  <c:v>41633</c:v>
                </c:pt>
                <c:pt idx="191">
                  <c:v>41634</c:v>
                </c:pt>
                <c:pt idx="192">
                  <c:v>41635</c:v>
                </c:pt>
                <c:pt idx="193">
                  <c:v>41648</c:v>
                </c:pt>
                <c:pt idx="194">
                  <c:v>41649</c:v>
                </c:pt>
                <c:pt idx="195">
                  <c:v>41652</c:v>
                </c:pt>
                <c:pt idx="196">
                  <c:v>41653</c:v>
                </c:pt>
                <c:pt idx="197">
                  <c:v>41654</c:v>
                </c:pt>
                <c:pt idx="198">
                  <c:v>41655</c:v>
                </c:pt>
                <c:pt idx="199">
                  <c:v>41656</c:v>
                </c:pt>
                <c:pt idx="200">
                  <c:v>41659</c:v>
                </c:pt>
                <c:pt idx="201">
                  <c:v>41660</c:v>
                </c:pt>
                <c:pt idx="202">
                  <c:v>41661</c:v>
                </c:pt>
                <c:pt idx="203">
                  <c:v>41662</c:v>
                </c:pt>
                <c:pt idx="204">
                  <c:v>41663</c:v>
                </c:pt>
                <c:pt idx="205">
                  <c:v>41666</c:v>
                </c:pt>
                <c:pt idx="206">
                  <c:v>41667</c:v>
                </c:pt>
                <c:pt idx="207">
                  <c:v>41668</c:v>
                </c:pt>
                <c:pt idx="208">
                  <c:v>41669</c:v>
                </c:pt>
                <c:pt idx="209">
                  <c:v>41670</c:v>
                </c:pt>
                <c:pt idx="210">
                  <c:v>41673</c:v>
                </c:pt>
                <c:pt idx="211">
                  <c:v>41674</c:v>
                </c:pt>
                <c:pt idx="212">
                  <c:v>41675</c:v>
                </c:pt>
                <c:pt idx="213">
                  <c:v>41676</c:v>
                </c:pt>
                <c:pt idx="214">
                  <c:v>41677</c:v>
                </c:pt>
                <c:pt idx="215">
                  <c:v>41680</c:v>
                </c:pt>
                <c:pt idx="216">
                  <c:v>41681</c:v>
                </c:pt>
                <c:pt idx="217">
                  <c:v>41682</c:v>
                </c:pt>
                <c:pt idx="218">
                  <c:v>41683</c:v>
                </c:pt>
                <c:pt idx="219">
                  <c:v>41684</c:v>
                </c:pt>
                <c:pt idx="220">
                  <c:v>41687</c:v>
                </c:pt>
                <c:pt idx="221">
                  <c:v>41688</c:v>
                </c:pt>
                <c:pt idx="222">
                  <c:v>41689</c:v>
                </c:pt>
                <c:pt idx="223">
                  <c:v>41690</c:v>
                </c:pt>
                <c:pt idx="224">
                  <c:v>41691</c:v>
                </c:pt>
                <c:pt idx="225">
                  <c:v>41694</c:v>
                </c:pt>
                <c:pt idx="226">
                  <c:v>41695</c:v>
                </c:pt>
                <c:pt idx="227">
                  <c:v>41696</c:v>
                </c:pt>
                <c:pt idx="228">
                  <c:v>41697</c:v>
                </c:pt>
                <c:pt idx="229">
                  <c:v>41698</c:v>
                </c:pt>
                <c:pt idx="230">
                  <c:v>41701</c:v>
                </c:pt>
                <c:pt idx="231">
                  <c:v>41702</c:v>
                </c:pt>
                <c:pt idx="232">
                  <c:v>41703</c:v>
                </c:pt>
                <c:pt idx="233">
                  <c:v>41704</c:v>
                </c:pt>
                <c:pt idx="234">
                  <c:v>41705</c:v>
                </c:pt>
                <c:pt idx="235">
                  <c:v>41709</c:v>
                </c:pt>
                <c:pt idx="236">
                  <c:v>41710</c:v>
                </c:pt>
                <c:pt idx="237">
                  <c:v>41711</c:v>
                </c:pt>
                <c:pt idx="238">
                  <c:v>41712</c:v>
                </c:pt>
                <c:pt idx="239">
                  <c:v>41715</c:v>
                </c:pt>
                <c:pt idx="240">
                  <c:v>41716</c:v>
                </c:pt>
                <c:pt idx="241">
                  <c:v>41717</c:v>
                </c:pt>
                <c:pt idx="242">
                  <c:v>41718</c:v>
                </c:pt>
                <c:pt idx="243">
                  <c:v>41719</c:v>
                </c:pt>
                <c:pt idx="244">
                  <c:v>41722</c:v>
                </c:pt>
                <c:pt idx="245">
                  <c:v>41723</c:v>
                </c:pt>
                <c:pt idx="246">
                  <c:v>41724</c:v>
                </c:pt>
                <c:pt idx="247">
                  <c:v>41725</c:v>
                </c:pt>
                <c:pt idx="248">
                  <c:v>41726</c:v>
                </c:pt>
                <c:pt idx="249">
                  <c:v>41729</c:v>
                </c:pt>
                <c:pt idx="250">
                  <c:v>41730</c:v>
                </c:pt>
                <c:pt idx="251">
                  <c:v>41731</c:v>
                </c:pt>
                <c:pt idx="252">
                  <c:v>41732</c:v>
                </c:pt>
                <c:pt idx="253">
                  <c:v>41733</c:v>
                </c:pt>
                <c:pt idx="254">
                  <c:v>41736</c:v>
                </c:pt>
                <c:pt idx="255">
                  <c:v>41737</c:v>
                </c:pt>
                <c:pt idx="256">
                  <c:v>41738</c:v>
                </c:pt>
                <c:pt idx="257">
                  <c:v>41739</c:v>
                </c:pt>
                <c:pt idx="258">
                  <c:v>41740</c:v>
                </c:pt>
                <c:pt idx="259">
                  <c:v>41743</c:v>
                </c:pt>
                <c:pt idx="260">
                  <c:v>41744</c:v>
                </c:pt>
                <c:pt idx="261">
                  <c:v>41745</c:v>
                </c:pt>
                <c:pt idx="262">
                  <c:v>41746</c:v>
                </c:pt>
                <c:pt idx="263">
                  <c:v>41747</c:v>
                </c:pt>
                <c:pt idx="264">
                  <c:v>41750</c:v>
                </c:pt>
                <c:pt idx="265">
                  <c:v>41751</c:v>
                </c:pt>
                <c:pt idx="266">
                  <c:v>41752</c:v>
                </c:pt>
                <c:pt idx="267">
                  <c:v>41753</c:v>
                </c:pt>
                <c:pt idx="268">
                  <c:v>41754</c:v>
                </c:pt>
                <c:pt idx="269">
                  <c:v>41757</c:v>
                </c:pt>
                <c:pt idx="270">
                  <c:v>41758</c:v>
                </c:pt>
                <c:pt idx="271">
                  <c:v>41759</c:v>
                </c:pt>
                <c:pt idx="272">
                  <c:v>41764</c:v>
                </c:pt>
                <c:pt idx="273">
                  <c:v>41765</c:v>
                </c:pt>
                <c:pt idx="274">
                  <c:v>41766</c:v>
                </c:pt>
                <c:pt idx="275">
                  <c:v>41767</c:v>
                </c:pt>
                <c:pt idx="276">
                  <c:v>41771</c:v>
                </c:pt>
                <c:pt idx="277">
                  <c:v>41772</c:v>
                </c:pt>
                <c:pt idx="278">
                  <c:v>41773</c:v>
                </c:pt>
                <c:pt idx="279">
                  <c:v>41774</c:v>
                </c:pt>
                <c:pt idx="280">
                  <c:v>41775</c:v>
                </c:pt>
                <c:pt idx="281">
                  <c:v>41778</c:v>
                </c:pt>
                <c:pt idx="282">
                  <c:v>41779</c:v>
                </c:pt>
                <c:pt idx="283">
                  <c:v>41780</c:v>
                </c:pt>
                <c:pt idx="284">
                  <c:v>41781</c:v>
                </c:pt>
                <c:pt idx="285">
                  <c:v>41782</c:v>
                </c:pt>
                <c:pt idx="286">
                  <c:v>41785</c:v>
                </c:pt>
                <c:pt idx="287">
                  <c:v>41786</c:v>
                </c:pt>
                <c:pt idx="288">
                  <c:v>41787</c:v>
                </c:pt>
                <c:pt idx="289">
                  <c:v>41788</c:v>
                </c:pt>
                <c:pt idx="290">
                  <c:v>41789</c:v>
                </c:pt>
                <c:pt idx="291">
                  <c:v>41792</c:v>
                </c:pt>
                <c:pt idx="292">
                  <c:v>41793</c:v>
                </c:pt>
                <c:pt idx="293">
                  <c:v>41794</c:v>
                </c:pt>
                <c:pt idx="294">
                  <c:v>41795</c:v>
                </c:pt>
                <c:pt idx="295">
                  <c:v>41796</c:v>
                </c:pt>
                <c:pt idx="296">
                  <c:v>41799</c:v>
                </c:pt>
                <c:pt idx="297">
                  <c:v>41800</c:v>
                </c:pt>
                <c:pt idx="298">
                  <c:v>41801</c:v>
                </c:pt>
                <c:pt idx="299">
                  <c:v>41806</c:v>
                </c:pt>
                <c:pt idx="300">
                  <c:v>41807</c:v>
                </c:pt>
                <c:pt idx="301">
                  <c:v>41808</c:v>
                </c:pt>
                <c:pt idx="302">
                  <c:v>41809</c:v>
                </c:pt>
                <c:pt idx="303">
                  <c:v>41810</c:v>
                </c:pt>
                <c:pt idx="304">
                  <c:v>41813</c:v>
                </c:pt>
                <c:pt idx="305">
                  <c:v>41814</c:v>
                </c:pt>
                <c:pt idx="306">
                  <c:v>41815</c:v>
                </c:pt>
                <c:pt idx="307">
                  <c:v>41816</c:v>
                </c:pt>
                <c:pt idx="308">
                  <c:v>41817</c:v>
                </c:pt>
                <c:pt idx="309">
                  <c:v>41820</c:v>
                </c:pt>
                <c:pt idx="310">
                  <c:v>41821</c:v>
                </c:pt>
                <c:pt idx="311">
                  <c:v>41822</c:v>
                </c:pt>
                <c:pt idx="312">
                  <c:v>41823</c:v>
                </c:pt>
                <c:pt idx="313">
                  <c:v>41824</c:v>
                </c:pt>
                <c:pt idx="314">
                  <c:v>41827</c:v>
                </c:pt>
                <c:pt idx="315">
                  <c:v>41828</c:v>
                </c:pt>
                <c:pt idx="316">
                  <c:v>41829</c:v>
                </c:pt>
                <c:pt idx="317">
                  <c:v>41830</c:v>
                </c:pt>
                <c:pt idx="318">
                  <c:v>41831</c:v>
                </c:pt>
                <c:pt idx="319">
                  <c:v>41834</c:v>
                </c:pt>
                <c:pt idx="320">
                  <c:v>41835</c:v>
                </c:pt>
                <c:pt idx="321">
                  <c:v>41836</c:v>
                </c:pt>
                <c:pt idx="322">
                  <c:v>41837</c:v>
                </c:pt>
                <c:pt idx="323">
                  <c:v>41838</c:v>
                </c:pt>
                <c:pt idx="324">
                  <c:v>41841</c:v>
                </c:pt>
                <c:pt idx="325">
                  <c:v>41842</c:v>
                </c:pt>
                <c:pt idx="326">
                  <c:v>41843</c:v>
                </c:pt>
                <c:pt idx="327">
                  <c:v>41844</c:v>
                </c:pt>
                <c:pt idx="328">
                  <c:v>41845</c:v>
                </c:pt>
                <c:pt idx="329">
                  <c:v>41848</c:v>
                </c:pt>
                <c:pt idx="330">
                  <c:v>41849</c:v>
                </c:pt>
                <c:pt idx="331">
                  <c:v>41850</c:v>
                </c:pt>
                <c:pt idx="332">
                  <c:v>41851</c:v>
                </c:pt>
                <c:pt idx="333">
                  <c:v>41852</c:v>
                </c:pt>
                <c:pt idx="334">
                  <c:v>41855</c:v>
                </c:pt>
                <c:pt idx="335">
                  <c:v>41856</c:v>
                </c:pt>
                <c:pt idx="336">
                  <c:v>41857</c:v>
                </c:pt>
                <c:pt idx="337">
                  <c:v>41858</c:v>
                </c:pt>
                <c:pt idx="338">
                  <c:v>41859</c:v>
                </c:pt>
                <c:pt idx="339">
                  <c:v>41862</c:v>
                </c:pt>
                <c:pt idx="340">
                  <c:v>41863</c:v>
                </c:pt>
                <c:pt idx="341">
                  <c:v>41864</c:v>
                </c:pt>
                <c:pt idx="342">
                  <c:v>41865</c:v>
                </c:pt>
                <c:pt idx="343">
                  <c:v>41866</c:v>
                </c:pt>
                <c:pt idx="344">
                  <c:v>41869</c:v>
                </c:pt>
                <c:pt idx="345">
                  <c:v>41870</c:v>
                </c:pt>
                <c:pt idx="346">
                  <c:v>41871</c:v>
                </c:pt>
                <c:pt idx="347">
                  <c:v>41872</c:v>
                </c:pt>
                <c:pt idx="348">
                  <c:v>41873</c:v>
                </c:pt>
                <c:pt idx="349">
                  <c:v>41876</c:v>
                </c:pt>
                <c:pt idx="350">
                  <c:v>41877</c:v>
                </c:pt>
                <c:pt idx="351">
                  <c:v>41878</c:v>
                </c:pt>
                <c:pt idx="352">
                  <c:v>41879</c:v>
                </c:pt>
                <c:pt idx="353">
                  <c:v>41880</c:v>
                </c:pt>
                <c:pt idx="354">
                  <c:v>41883</c:v>
                </c:pt>
                <c:pt idx="355">
                  <c:v>41884</c:v>
                </c:pt>
                <c:pt idx="356">
                  <c:v>41885</c:v>
                </c:pt>
                <c:pt idx="357">
                  <c:v>41886</c:v>
                </c:pt>
                <c:pt idx="358">
                  <c:v>41887</c:v>
                </c:pt>
                <c:pt idx="359">
                  <c:v>41890</c:v>
                </c:pt>
                <c:pt idx="360">
                  <c:v>41891</c:v>
                </c:pt>
                <c:pt idx="361">
                  <c:v>41892</c:v>
                </c:pt>
                <c:pt idx="362">
                  <c:v>41893</c:v>
                </c:pt>
                <c:pt idx="363">
                  <c:v>41894</c:v>
                </c:pt>
                <c:pt idx="364">
                  <c:v>41897</c:v>
                </c:pt>
                <c:pt idx="365">
                  <c:v>41898</c:v>
                </c:pt>
                <c:pt idx="366">
                  <c:v>41899</c:v>
                </c:pt>
                <c:pt idx="367">
                  <c:v>41900</c:v>
                </c:pt>
                <c:pt idx="368">
                  <c:v>41901</c:v>
                </c:pt>
                <c:pt idx="369">
                  <c:v>41904</c:v>
                </c:pt>
                <c:pt idx="370">
                  <c:v>41905</c:v>
                </c:pt>
                <c:pt idx="371">
                  <c:v>41906</c:v>
                </c:pt>
                <c:pt idx="372">
                  <c:v>41907</c:v>
                </c:pt>
                <c:pt idx="373">
                  <c:v>41908</c:v>
                </c:pt>
                <c:pt idx="374">
                  <c:v>41911</c:v>
                </c:pt>
                <c:pt idx="375">
                  <c:v>41912</c:v>
                </c:pt>
                <c:pt idx="376">
                  <c:v>41913</c:v>
                </c:pt>
                <c:pt idx="377">
                  <c:v>41914</c:v>
                </c:pt>
                <c:pt idx="378">
                  <c:v>41915</c:v>
                </c:pt>
                <c:pt idx="379">
                  <c:v>41918</c:v>
                </c:pt>
                <c:pt idx="380">
                  <c:v>41919</c:v>
                </c:pt>
                <c:pt idx="381">
                  <c:v>41920</c:v>
                </c:pt>
                <c:pt idx="382">
                  <c:v>41921</c:v>
                </c:pt>
                <c:pt idx="383">
                  <c:v>41922</c:v>
                </c:pt>
                <c:pt idx="384">
                  <c:v>41925</c:v>
                </c:pt>
                <c:pt idx="385">
                  <c:v>41926</c:v>
                </c:pt>
                <c:pt idx="386">
                  <c:v>41927</c:v>
                </c:pt>
                <c:pt idx="387">
                  <c:v>41928</c:v>
                </c:pt>
                <c:pt idx="388">
                  <c:v>41929</c:v>
                </c:pt>
                <c:pt idx="389">
                  <c:v>41932</c:v>
                </c:pt>
                <c:pt idx="390">
                  <c:v>41933</c:v>
                </c:pt>
                <c:pt idx="391">
                  <c:v>41934</c:v>
                </c:pt>
                <c:pt idx="392">
                  <c:v>41935</c:v>
                </c:pt>
                <c:pt idx="393">
                  <c:v>41936</c:v>
                </c:pt>
                <c:pt idx="394">
                  <c:v>41939</c:v>
                </c:pt>
                <c:pt idx="395">
                  <c:v>41940</c:v>
                </c:pt>
                <c:pt idx="396">
                  <c:v>41941</c:v>
                </c:pt>
                <c:pt idx="397">
                  <c:v>41942</c:v>
                </c:pt>
                <c:pt idx="398">
                  <c:v>41943</c:v>
                </c:pt>
                <c:pt idx="399">
                  <c:v>41948</c:v>
                </c:pt>
                <c:pt idx="400">
                  <c:v>41949</c:v>
                </c:pt>
                <c:pt idx="401">
                  <c:v>41950</c:v>
                </c:pt>
                <c:pt idx="402">
                  <c:v>41953</c:v>
                </c:pt>
                <c:pt idx="403">
                  <c:v>41954</c:v>
                </c:pt>
                <c:pt idx="404">
                  <c:v>41955</c:v>
                </c:pt>
                <c:pt idx="405">
                  <c:v>41956</c:v>
                </c:pt>
                <c:pt idx="406">
                  <c:v>41957</c:v>
                </c:pt>
                <c:pt idx="407">
                  <c:v>41960</c:v>
                </c:pt>
                <c:pt idx="408">
                  <c:v>41961</c:v>
                </c:pt>
                <c:pt idx="409">
                  <c:v>41962</c:v>
                </c:pt>
                <c:pt idx="410">
                  <c:v>41963</c:v>
                </c:pt>
                <c:pt idx="411">
                  <c:v>41964</c:v>
                </c:pt>
                <c:pt idx="412">
                  <c:v>41967</c:v>
                </c:pt>
                <c:pt idx="413">
                  <c:v>41968</c:v>
                </c:pt>
                <c:pt idx="414">
                  <c:v>41969</c:v>
                </c:pt>
                <c:pt idx="415">
                  <c:v>41970</c:v>
                </c:pt>
                <c:pt idx="416">
                  <c:v>41971</c:v>
                </c:pt>
                <c:pt idx="417">
                  <c:v>41974</c:v>
                </c:pt>
                <c:pt idx="418">
                  <c:v>41975</c:v>
                </c:pt>
                <c:pt idx="419">
                  <c:v>41976</c:v>
                </c:pt>
                <c:pt idx="420">
                  <c:v>41977</c:v>
                </c:pt>
                <c:pt idx="421">
                  <c:v>41978</c:v>
                </c:pt>
                <c:pt idx="422">
                  <c:v>41981</c:v>
                </c:pt>
                <c:pt idx="423">
                  <c:v>41982</c:v>
                </c:pt>
                <c:pt idx="424">
                  <c:v>41983</c:v>
                </c:pt>
                <c:pt idx="425">
                  <c:v>41984</c:v>
                </c:pt>
                <c:pt idx="426">
                  <c:v>41985</c:v>
                </c:pt>
                <c:pt idx="427">
                  <c:v>41988</c:v>
                </c:pt>
                <c:pt idx="428">
                  <c:v>41989</c:v>
                </c:pt>
                <c:pt idx="429">
                  <c:v>41990</c:v>
                </c:pt>
                <c:pt idx="430">
                  <c:v>41991</c:v>
                </c:pt>
                <c:pt idx="431">
                  <c:v>41992</c:v>
                </c:pt>
                <c:pt idx="432">
                  <c:v>41995</c:v>
                </c:pt>
                <c:pt idx="433">
                  <c:v>41996</c:v>
                </c:pt>
                <c:pt idx="434">
                  <c:v>41997</c:v>
                </c:pt>
                <c:pt idx="435">
                  <c:v>41998</c:v>
                </c:pt>
                <c:pt idx="436">
                  <c:v>41999</c:v>
                </c:pt>
                <c:pt idx="437">
                  <c:v>42016</c:v>
                </c:pt>
                <c:pt idx="438">
                  <c:v>42017</c:v>
                </c:pt>
                <c:pt idx="439">
                  <c:v>42018</c:v>
                </c:pt>
                <c:pt idx="440">
                  <c:v>42019</c:v>
                </c:pt>
                <c:pt idx="441">
                  <c:v>42020</c:v>
                </c:pt>
                <c:pt idx="442">
                  <c:v>42023</c:v>
                </c:pt>
                <c:pt idx="443">
                  <c:v>42024</c:v>
                </c:pt>
                <c:pt idx="444">
                  <c:v>42025</c:v>
                </c:pt>
                <c:pt idx="445">
                  <c:v>42026</c:v>
                </c:pt>
                <c:pt idx="446">
                  <c:v>42027</c:v>
                </c:pt>
                <c:pt idx="447">
                  <c:v>42030</c:v>
                </c:pt>
                <c:pt idx="448">
                  <c:v>42031</c:v>
                </c:pt>
              </c:numCache>
            </c:numRef>
          </c:cat>
          <c:val>
            <c:numRef>
              <c:f>Индексы_Мир_СПбМТСБ!$J$1014:$J$1462</c:f>
              <c:numCache>
                <c:formatCode>General</c:formatCode>
                <c:ptCount val="449"/>
                <c:pt idx="0">
                  <c:v>29695</c:v>
                </c:pt>
                <c:pt idx="1">
                  <c:v>29574</c:v>
                </c:pt>
                <c:pt idx="2">
                  <c:v>29421</c:v>
                </c:pt>
                <c:pt idx="3">
                  <c:v>29505</c:v>
                </c:pt>
                <c:pt idx="4">
                  <c:v>29336</c:v>
                </c:pt>
                <c:pt idx="5">
                  <c:v>29609</c:v>
                </c:pt>
                <c:pt idx="6">
                  <c:v>29825</c:v>
                </c:pt>
                <c:pt idx="7">
                  <c:v>29942</c:v>
                </c:pt>
                <c:pt idx="8">
                  <c:v>29492</c:v>
                </c:pt>
                <c:pt idx="9">
                  <c:v>30099</c:v>
                </c:pt>
                <c:pt idx="10">
                  <c:v>29678</c:v>
                </c:pt>
                <c:pt idx="11">
                  <c:v>30173</c:v>
                </c:pt>
                <c:pt idx="12">
                  <c:v>30193</c:v>
                </c:pt>
                <c:pt idx="13">
                  <c:v>30227</c:v>
                </c:pt>
                <c:pt idx="14">
                  <c:v>30155</c:v>
                </c:pt>
                <c:pt idx="15">
                  <c:v>29168</c:v>
                </c:pt>
                <c:pt idx="16">
                  <c:v>29527</c:v>
                </c:pt>
                <c:pt idx="17">
                  <c:v>28739</c:v>
                </c:pt>
                <c:pt idx="18">
                  <c:v>29543</c:v>
                </c:pt>
                <c:pt idx="19">
                  <c:v>28942</c:v>
                </c:pt>
                <c:pt idx="20">
                  <c:v>29141</c:v>
                </c:pt>
                <c:pt idx="21">
                  <c:v>28593</c:v>
                </c:pt>
                <c:pt idx="22">
                  <c:v>28769</c:v>
                </c:pt>
                <c:pt idx="23">
                  <c:v>28147</c:v>
                </c:pt>
                <c:pt idx="24">
                  <c:v>28718</c:v>
                </c:pt>
                <c:pt idx="25">
                  <c:v>28602</c:v>
                </c:pt>
                <c:pt idx="26">
                  <c:v>28422</c:v>
                </c:pt>
                <c:pt idx="27">
                  <c:v>28471</c:v>
                </c:pt>
                <c:pt idx="28">
                  <c:v>28995</c:v>
                </c:pt>
                <c:pt idx="29">
                  <c:v>29021</c:v>
                </c:pt>
                <c:pt idx="30">
                  <c:v>28877</c:v>
                </c:pt>
                <c:pt idx="31">
                  <c:v>29105</c:v>
                </c:pt>
                <c:pt idx="32">
                  <c:v>29166</c:v>
                </c:pt>
                <c:pt idx="33">
                  <c:v>28711</c:v>
                </c:pt>
                <c:pt idx="34">
                  <c:v>28407</c:v>
                </c:pt>
                <c:pt idx="35">
                  <c:v>28709</c:v>
                </c:pt>
                <c:pt idx="36">
                  <c:v>28724</c:v>
                </c:pt>
                <c:pt idx="37">
                  <c:v>28638</c:v>
                </c:pt>
                <c:pt idx="38">
                  <c:v>29154</c:v>
                </c:pt>
                <c:pt idx="39">
                  <c:v>28806</c:v>
                </c:pt>
                <c:pt idx="40">
                  <c:v>28907</c:v>
                </c:pt>
                <c:pt idx="41">
                  <c:v>28429</c:v>
                </c:pt>
                <c:pt idx="42">
                  <c:v>28733</c:v>
                </c:pt>
                <c:pt idx="43">
                  <c:v>28454</c:v>
                </c:pt>
                <c:pt idx="44">
                  <c:v>28800</c:v>
                </c:pt>
                <c:pt idx="45">
                  <c:v>28997</c:v>
                </c:pt>
                <c:pt idx="46">
                  <c:v>28597</c:v>
                </c:pt>
                <c:pt idx="47">
                  <c:v>28715</c:v>
                </c:pt>
                <c:pt idx="48">
                  <c:v>28768</c:v>
                </c:pt>
                <c:pt idx="49">
                  <c:v>28832</c:v>
                </c:pt>
                <c:pt idx="50">
                  <c:v>28313</c:v>
                </c:pt>
                <c:pt idx="51">
                  <c:v>28465</c:v>
                </c:pt>
                <c:pt idx="52">
                  <c:v>28604</c:v>
                </c:pt>
                <c:pt idx="53">
                  <c:v>28436</c:v>
                </c:pt>
                <c:pt idx="54">
                  <c:v>28875</c:v>
                </c:pt>
                <c:pt idx="55">
                  <c:v>28980</c:v>
                </c:pt>
                <c:pt idx="56">
                  <c:v>28870</c:v>
                </c:pt>
                <c:pt idx="57">
                  <c:v>28870</c:v>
                </c:pt>
                <c:pt idx="58">
                  <c:v>28816</c:v>
                </c:pt>
                <c:pt idx="59">
                  <c:v>28863</c:v>
                </c:pt>
                <c:pt idx="60">
                  <c:v>28846</c:v>
                </c:pt>
                <c:pt idx="61">
                  <c:v>28876</c:v>
                </c:pt>
                <c:pt idx="62">
                  <c:v>28947</c:v>
                </c:pt>
                <c:pt idx="63">
                  <c:v>29052</c:v>
                </c:pt>
                <c:pt idx="64">
                  <c:v>29582</c:v>
                </c:pt>
                <c:pt idx="65">
                  <c:v>29114</c:v>
                </c:pt>
                <c:pt idx="66">
                  <c:v>29525</c:v>
                </c:pt>
                <c:pt idx="67">
                  <c:v>30070</c:v>
                </c:pt>
                <c:pt idx="68">
                  <c:v>30272</c:v>
                </c:pt>
                <c:pt idx="69">
                  <c:v>30496</c:v>
                </c:pt>
                <c:pt idx="70">
                  <c:v>30550</c:v>
                </c:pt>
                <c:pt idx="71">
                  <c:v>31225</c:v>
                </c:pt>
                <c:pt idx="72">
                  <c:v>31305</c:v>
                </c:pt>
                <c:pt idx="73">
                  <c:v>31431</c:v>
                </c:pt>
                <c:pt idx="74">
                  <c:v>31571</c:v>
                </c:pt>
                <c:pt idx="75">
                  <c:v>31954</c:v>
                </c:pt>
                <c:pt idx="76">
                  <c:v>32852</c:v>
                </c:pt>
                <c:pt idx="77">
                  <c:v>33309</c:v>
                </c:pt>
                <c:pt idx="78">
                  <c:v>33510</c:v>
                </c:pt>
                <c:pt idx="79">
                  <c:v>34340</c:v>
                </c:pt>
                <c:pt idx="80">
                  <c:v>34050</c:v>
                </c:pt>
                <c:pt idx="81">
                  <c:v>35320</c:v>
                </c:pt>
                <c:pt idx="82">
                  <c:v>35566</c:v>
                </c:pt>
                <c:pt idx="83">
                  <c:v>35894</c:v>
                </c:pt>
                <c:pt idx="84">
                  <c:v>35916</c:v>
                </c:pt>
                <c:pt idx="85">
                  <c:v>35454</c:v>
                </c:pt>
                <c:pt idx="86">
                  <c:v>36630</c:v>
                </c:pt>
                <c:pt idx="87">
                  <c:v>37891</c:v>
                </c:pt>
                <c:pt idx="88">
                  <c:v>37743</c:v>
                </c:pt>
                <c:pt idx="89">
                  <c:v>34947</c:v>
                </c:pt>
                <c:pt idx="90">
                  <c:v>37381</c:v>
                </c:pt>
                <c:pt idx="91">
                  <c:v>37427</c:v>
                </c:pt>
                <c:pt idx="92">
                  <c:v>36029</c:v>
                </c:pt>
                <c:pt idx="93">
                  <c:v>36810</c:v>
                </c:pt>
                <c:pt idx="94">
                  <c:v>36295</c:v>
                </c:pt>
                <c:pt idx="95">
                  <c:v>36423</c:v>
                </c:pt>
                <c:pt idx="96">
                  <c:v>36084</c:v>
                </c:pt>
                <c:pt idx="97">
                  <c:v>36147</c:v>
                </c:pt>
                <c:pt idx="98">
                  <c:v>35823</c:v>
                </c:pt>
                <c:pt idx="99">
                  <c:v>36095</c:v>
                </c:pt>
                <c:pt idx="100">
                  <c:v>36146</c:v>
                </c:pt>
                <c:pt idx="101">
                  <c:v>36388</c:v>
                </c:pt>
                <c:pt idx="102">
                  <c:v>36622</c:v>
                </c:pt>
                <c:pt idx="103">
                  <c:v>36974</c:v>
                </c:pt>
                <c:pt idx="104">
                  <c:v>37083</c:v>
                </c:pt>
                <c:pt idx="105">
                  <c:v>37009</c:v>
                </c:pt>
                <c:pt idx="106">
                  <c:v>36492</c:v>
                </c:pt>
                <c:pt idx="107">
                  <c:v>36664</c:v>
                </c:pt>
                <c:pt idx="108">
                  <c:v>36725</c:v>
                </c:pt>
                <c:pt idx="109">
                  <c:v>36802</c:v>
                </c:pt>
                <c:pt idx="110">
                  <c:v>36947</c:v>
                </c:pt>
                <c:pt idx="111">
                  <c:v>36836</c:v>
                </c:pt>
                <c:pt idx="112">
                  <c:v>37176</c:v>
                </c:pt>
                <c:pt idx="113">
                  <c:v>37155</c:v>
                </c:pt>
                <c:pt idx="114">
                  <c:v>37043</c:v>
                </c:pt>
                <c:pt idx="115">
                  <c:v>36874</c:v>
                </c:pt>
                <c:pt idx="116">
                  <c:v>36650</c:v>
                </c:pt>
                <c:pt idx="117">
                  <c:v>36717</c:v>
                </c:pt>
                <c:pt idx="118">
                  <c:v>36645</c:v>
                </c:pt>
                <c:pt idx="119">
                  <c:v>35989</c:v>
                </c:pt>
                <c:pt idx="120">
                  <c:v>36141</c:v>
                </c:pt>
                <c:pt idx="121">
                  <c:v>35952</c:v>
                </c:pt>
                <c:pt idx="122">
                  <c:v>35973</c:v>
                </c:pt>
                <c:pt idx="123">
                  <c:v>35432</c:v>
                </c:pt>
                <c:pt idx="124">
                  <c:v>35369</c:v>
                </c:pt>
                <c:pt idx="125">
                  <c:v>35089</c:v>
                </c:pt>
                <c:pt idx="126">
                  <c:v>34996</c:v>
                </c:pt>
                <c:pt idx="127">
                  <c:v>34917</c:v>
                </c:pt>
                <c:pt idx="128">
                  <c:v>34845</c:v>
                </c:pt>
                <c:pt idx="129">
                  <c:v>34741</c:v>
                </c:pt>
                <c:pt idx="130">
                  <c:v>35018</c:v>
                </c:pt>
                <c:pt idx="131">
                  <c:v>34651</c:v>
                </c:pt>
                <c:pt idx="132">
                  <c:v>34589</c:v>
                </c:pt>
                <c:pt idx="133">
                  <c:v>34790</c:v>
                </c:pt>
                <c:pt idx="134">
                  <c:v>34739</c:v>
                </c:pt>
                <c:pt idx="135">
                  <c:v>34550</c:v>
                </c:pt>
                <c:pt idx="136">
                  <c:v>34706</c:v>
                </c:pt>
                <c:pt idx="137">
                  <c:v>34720</c:v>
                </c:pt>
                <c:pt idx="138">
                  <c:v>34540</c:v>
                </c:pt>
                <c:pt idx="139">
                  <c:v>34425</c:v>
                </c:pt>
                <c:pt idx="140">
                  <c:v>34445</c:v>
                </c:pt>
                <c:pt idx="141">
                  <c:v>34490</c:v>
                </c:pt>
                <c:pt idx="142">
                  <c:v>34356</c:v>
                </c:pt>
                <c:pt idx="143">
                  <c:v>34556</c:v>
                </c:pt>
                <c:pt idx="144">
                  <c:v>34391</c:v>
                </c:pt>
                <c:pt idx="145">
                  <c:v>34268</c:v>
                </c:pt>
                <c:pt idx="146">
                  <c:v>34330</c:v>
                </c:pt>
                <c:pt idx="147">
                  <c:v>34142</c:v>
                </c:pt>
                <c:pt idx="148">
                  <c:v>33917</c:v>
                </c:pt>
                <c:pt idx="149">
                  <c:v>33620</c:v>
                </c:pt>
                <c:pt idx="150">
                  <c:v>33480</c:v>
                </c:pt>
                <c:pt idx="151">
                  <c:v>33449</c:v>
                </c:pt>
                <c:pt idx="152">
                  <c:v>33525</c:v>
                </c:pt>
                <c:pt idx="153">
                  <c:v>33540</c:v>
                </c:pt>
                <c:pt idx="154">
                  <c:v>33522</c:v>
                </c:pt>
                <c:pt idx="155">
                  <c:v>33450</c:v>
                </c:pt>
                <c:pt idx="156">
                  <c:v>33290</c:v>
                </c:pt>
                <c:pt idx="157">
                  <c:v>33237</c:v>
                </c:pt>
                <c:pt idx="158">
                  <c:v>33241</c:v>
                </c:pt>
                <c:pt idx="159">
                  <c:v>32883</c:v>
                </c:pt>
                <c:pt idx="160">
                  <c:v>32645</c:v>
                </c:pt>
                <c:pt idx="161">
                  <c:v>32717</c:v>
                </c:pt>
                <c:pt idx="162">
                  <c:v>32440</c:v>
                </c:pt>
                <c:pt idx="163">
                  <c:v>32240</c:v>
                </c:pt>
                <c:pt idx="164">
                  <c:v>31916</c:v>
                </c:pt>
                <c:pt idx="165">
                  <c:v>31692</c:v>
                </c:pt>
                <c:pt idx="166">
                  <c:v>31786</c:v>
                </c:pt>
                <c:pt idx="167">
                  <c:v>31704</c:v>
                </c:pt>
                <c:pt idx="168">
                  <c:v>31520</c:v>
                </c:pt>
                <c:pt idx="169">
                  <c:v>31493</c:v>
                </c:pt>
                <c:pt idx="170">
                  <c:v>31110</c:v>
                </c:pt>
                <c:pt idx="171">
                  <c:v>31113</c:v>
                </c:pt>
                <c:pt idx="172">
                  <c:v>31226</c:v>
                </c:pt>
                <c:pt idx="173">
                  <c:v>31526</c:v>
                </c:pt>
                <c:pt idx="174">
                  <c:v>31218</c:v>
                </c:pt>
                <c:pt idx="175">
                  <c:v>31224</c:v>
                </c:pt>
                <c:pt idx="176">
                  <c:v>31383</c:v>
                </c:pt>
                <c:pt idx="177">
                  <c:v>31464</c:v>
                </c:pt>
                <c:pt idx="178">
                  <c:v>31584</c:v>
                </c:pt>
                <c:pt idx="179">
                  <c:v>31248</c:v>
                </c:pt>
                <c:pt idx="180">
                  <c:v>31245</c:v>
                </c:pt>
                <c:pt idx="181">
                  <c:v>31296</c:v>
                </c:pt>
                <c:pt idx="182">
                  <c:v>31353</c:v>
                </c:pt>
                <c:pt idx="183">
                  <c:v>31228</c:v>
                </c:pt>
                <c:pt idx="184">
                  <c:v>31141</c:v>
                </c:pt>
                <c:pt idx="185">
                  <c:v>31005</c:v>
                </c:pt>
                <c:pt idx="186">
                  <c:v>31122</c:v>
                </c:pt>
                <c:pt idx="187">
                  <c:v>31272</c:v>
                </c:pt>
                <c:pt idx="188">
                  <c:v>31163</c:v>
                </c:pt>
                <c:pt idx="189">
                  <c:v>31374</c:v>
                </c:pt>
                <c:pt idx="190">
                  <c:v>31331</c:v>
                </c:pt>
                <c:pt idx="191">
                  <c:v>31491</c:v>
                </c:pt>
                <c:pt idx="192">
                  <c:v>31112</c:v>
                </c:pt>
                <c:pt idx="193">
                  <c:v>30864</c:v>
                </c:pt>
                <c:pt idx="194">
                  <c:v>30991</c:v>
                </c:pt>
                <c:pt idx="195">
                  <c:v>31071</c:v>
                </c:pt>
                <c:pt idx="196">
                  <c:v>31261</c:v>
                </c:pt>
                <c:pt idx="197">
                  <c:v>31280</c:v>
                </c:pt>
                <c:pt idx="198">
                  <c:v>31435</c:v>
                </c:pt>
                <c:pt idx="199">
                  <c:v>31469</c:v>
                </c:pt>
                <c:pt idx="200">
                  <c:v>31529</c:v>
                </c:pt>
                <c:pt idx="201">
                  <c:v>32071</c:v>
                </c:pt>
                <c:pt idx="202">
                  <c:v>32628</c:v>
                </c:pt>
                <c:pt idx="203">
                  <c:v>32964</c:v>
                </c:pt>
                <c:pt idx="204">
                  <c:v>32539</c:v>
                </c:pt>
                <c:pt idx="205">
                  <c:v>32482</c:v>
                </c:pt>
                <c:pt idx="206">
                  <c:v>32710</c:v>
                </c:pt>
                <c:pt idx="207">
                  <c:v>32911</c:v>
                </c:pt>
                <c:pt idx="208">
                  <c:v>33207</c:v>
                </c:pt>
                <c:pt idx="209">
                  <c:v>33247</c:v>
                </c:pt>
                <c:pt idx="210">
                  <c:v>33128</c:v>
                </c:pt>
                <c:pt idx="211">
                  <c:v>32967</c:v>
                </c:pt>
                <c:pt idx="212">
                  <c:v>33024</c:v>
                </c:pt>
                <c:pt idx="213">
                  <c:v>32957</c:v>
                </c:pt>
                <c:pt idx="214">
                  <c:v>32878</c:v>
                </c:pt>
                <c:pt idx="215">
                  <c:v>32788</c:v>
                </c:pt>
                <c:pt idx="216">
                  <c:v>32752</c:v>
                </c:pt>
                <c:pt idx="217">
                  <c:v>32727</c:v>
                </c:pt>
                <c:pt idx="218">
                  <c:v>32859</c:v>
                </c:pt>
                <c:pt idx="219">
                  <c:v>33150</c:v>
                </c:pt>
                <c:pt idx="220">
                  <c:v>33369</c:v>
                </c:pt>
                <c:pt idx="221">
                  <c:v>33448</c:v>
                </c:pt>
                <c:pt idx="222">
                  <c:v>33857</c:v>
                </c:pt>
                <c:pt idx="223">
                  <c:v>34151</c:v>
                </c:pt>
                <c:pt idx="224">
                  <c:v>34188</c:v>
                </c:pt>
                <c:pt idx="225">
                  <c:v>34219</c:v>
                </c:pt>
                <c:pt idx="226">
                  <c:v>34035</c:v>
                </c:pt>
                <c:pt idx="227">
                  <c:v>33634</c:v>
                </c:pt>
                <c:pt idx="228">
                  <c:v>33955</c:v>
                </c:pt>
                <c:pt idx="229">
                  <c:v>34206</c:v>
                </c:pt>
                <c:pt idx="230">
                  <c:v>34587</c:v>
                </c:pt>
                <c:pt idx="231">
                  <c:v>35311</c:v>
                </c:pt>
                <c:pt idx="232">
                  <c:v>35868</c:v>
                </c:pt>
                <c:pt idx="233">
                  <c:v>35467</c:v>
                </c:pt>
                <c:pt idx="234">
                  <c:v>35479</c:v>
                </c:pt>
                <c:pt idx="235">
                  <c:v>35583</c:v>
                </c:pt>
                <c:pt idx="236">
                  <c:v>35534</c:v>
                </c:pt>
                <c:pt idx="237">
                  <c:v>35446</c:v>
                </c:pt>
                <c:pt idx="238">
                  <c:v>35476</c:v>
                </c:pt>
                <c:pt idx="239">
                  <c:v>35365</c:v>
                </c:pt>
                <c:pt idx="240">
                  <c:v>34818</c:v>
                </c:pt>
                <c:pt idx="241">
                  <c:v>34668</c:v>
                </c:pt>
                <c:pt idx="242">
                  <c:v>34689</c:v>
                </c:pt>
                <c:pt idx="243">
                  <c:v>34702</c:v>
                </c:pt>
                <c:pt idx="244">
                  <c:v>34667</c:v>
                </c:pt>
                <c:pt idx="245">
                  <c:v>34706</c:v>
                </c:pt>
                <c:pt idx="246">
                  <c:v>34833</c:v>
                </c:pt>
                <c:pt idx="247">
                  <c:v>34935</c:v>
                </c:pt>
                <c:pt idx="248">
                  <c:v>34921</c:v>
                </c:pt>
                <c:pt idx="249">
                  <c:v>35000</c:v>
                </c:pt>
                <c:pt idx="250">
                  <c:v>35270</c:v>
                </c:pt>
                <c:pt idx="251">
                  <c:v>35352</c:v>
                </c:pt>
                <c:pt idx="252">
                  <c:v>35338</c:v>
                </c:pt>
                <c:pt idx="253">
                  <c:v>35457</c:v>
                </c:pt>
                <c:pt idx="254">
                  <c:v>35229</c:v>
                </c:pt>
                <c:pt idx="255">
                  <c:v>35158</c:v>
                </c:pt>
                <c:pt idx="256">
                  <c:v>35269</c:v>
                </c:pt>
                <c:pt idx="257">
                  <c:v>35241</c:v>
                </c:pt>
                <c:pt idx="258">
                  <c:v>35200</c:v>
                </c:pt>
                <c:pt idx="259">
                  <c:v>35145</c:v>
                </c:pt>
                <c:pt idx="260">
                  <c:v>35010</c:v>
                </c:pt>
                <c:pt idx="261">
                  <c:v>34811</c:v>
                </c:pt>
                <c:pt idx="262">
                  <c:v>34686</c:v>
                </c:pt>
                <c:pt idx="263">
                  <c:v>34824</c:v>
                </c:pt>
                <c:pt idx="264">
                  <c:v>34750</c:v>
                </c:pt>
                <c:pt idx="265">
                  <c:v>34534</c:v>
                </c:pt>
                <c:pt idx="266">
                  <c:v>34553</c:v>
                </c:pt>
                <c:pt idx="267">
                  <c:v>34534</c:v>
                </c:pt>
                <c:pt idx="268">
                  <c:v>34570</c:v>
                </c:pt>
                <c:pt idx="269">
                  <c:v>34550</c:v>
                </c:pt>
                <c:pt idx="270">
                  <c:v>34600</c:v>
                </c:pt>
                <c:pt idx="271">
                  <c:v>34554</c:v>
                </c:pt>
                <c:pt idx="272">
                  <c:v>34259</c:v>
                </c:pt>
                <c:pt idx="273">
                  <c:v>34601</c:v>
                </c:pt>
                <c:pt idx="274">
                  <c:v>34424</c:v>
                </c:pt>
                <c:pt idx="275">
                  <c:v>34427</c:v>
                </c:pt>
                <c:pt idx="276">
                  <c:v>34841</c:v>
                </c:pt>
                <c:pt idx="277">
                  <c:v>35048</c:v>
                </c:pt>
                <c:pt idx="278">
                  <c:v>35165</c:v>
                </c:pt>
                <c:pt idx="279">
                  <c:v>35406</c:v>
                </c:pt>
                <c:pt idx="280">
                  <c:v>35446</c:v>
                </c:pt>
                <c:pt idx="281">
                  <c:v>35567</c:v>
                </c:pt>
                <c:pt idx="282">
                  <c:v>35393</c:v>
                </c:pt>
                <c:pt idx="283">
                  <c:v>35425</c:v>
                </c:pt>
                <c:pt idx="284">
                  <c:v>35674</c:v>
                </c:pt>
                <c:pt idx="285">
                  <c:v>35736</c:v>
                </c:pt>
                <c:pt idx="286">
                  <c:v>35678</c:v>
                </c:pt>
                <c:pt idx="287">
                  <c:v>35652</c:v>
                </c:pt>
                <c:pt idx="288">
                  <c:v>35672</c:v>
                </c:pt>
                <c:pt idx="289">
                  <c:v>35775</c:v>
                </c:pt>
                <c:pt idx="290">
                  <c:v>35915</c:v>
                </c:pt>
                <c:pt idx="291">
                  <c:v>36059</c:v>
                </c:pt>
                <c:pt idx="292">
                  <c:v>36105</c:v>
                </c:pt>
                <c:pt idx="293">
                  <c:v>36133</c:v>
                </c:pt>
                <c:pt idx="294">
                  <c:v>36219</c:v>
                </c:pt>
                <c:pt idx="295">
                  <c:v>36262</c:v>
                </c:pt>
                <c:pt idx="296">
                  <c:v>36069</c:v>
                </c:pt>
                <c:pt idx="297">
                  <c:v>36308</c:v>
                </c:pt>
                <c:pt idx="298">
                  <c:v>36326</c:v>
                </c:pt>
                <c:pt idx="299">
                  <c:v>36461</c:v>
                </c:pt>
                <c:pt idx="300">
                  <c:v>36952</c:v>
                </c:pt>
                <c:pt idx="301">
                  <c:v>37461</c:v>
                </c:pt>
                <c:pt idx="302">
                  <c:v>37846</c:v>
                </c:pt>
                <c:pt idx="303">
                  <c:v>38259</c:v>
                </c:pt>
                <c:pt idx="304">
                  <c:v>37914</c:v>
                </c:pt>
                <c:pt idx="305">
                  <c:v>37861</c:v>
                </c:pt>
                <c:pt idx="306">
                  <c:v>38002</c:v>
                </c:pt>
                <c:pt idx="307">
                  <c:v>38190</c:v>
                </c:pt>
                <c:pt idx="308">
                  <c:v>38315</c:v>
                </c:pt>
                <c:pt idx="309">
                  <c:v>38454</c:v>
                </c:pt>
                <c:pt idx="310">
                  <c:v>38314</c:v>
                </c:pt>
                <c:pt idx="311">
                  <c:v>38426</c:v>
                </c:pt>
                <c:pt idx="312">
                  <c:v>38651</c:v>
                </c:pt>
                <c:pt idx="313">
                  <c:v>38760</c:v>
                </c:pt>
                <c:pt idx="314">
                  <c:v>39003</c:v>
                </c:pt>
                <c:pt idx="315">
                  <c:v>39256</c:v>
                </c:pt>
                <c:pt idx="316">
                  <c:v>39500</c:v>
                </c:pt>
                <c:pt idx="317">
                  <c:v>39759</c:v>
                </c:pt>
                <c:pt idx="318">
                  <c:v>39371</c:v>
                </c:pt>
                <c:pt idx="319">
                  <c:v>39016</c:v>
                </c:pt>
                <c:pt idx="320">
                  <c:v>38912</c:v>
                </c:pt>
                <c:pt idx="321">
                  <c:v>38729</c:v>
                </c:pt>
                <c:pt idx="322">
                  <c:v>38650</c:v>
                </c:pt>
                <c:pt idx="323">
                  <c:v>38735</c:v>
                </c:pt>
                <c:pt idx="324">
                  <c:v>38705</c:v>
                </c:pt>
                <c:pt idx="325">
                  <c:v>38787</c:v>
                </c:pt>
                <c:pt idx="326">
                  <c:v>39071</c:v>
                </c:pt>
                <c:pt idx="327">
                  <c:v>39157</c:v>
                </c:pt>
                <c:pt idx="328">
                  <c:v>39344</c:v>
                </c:pt>
                <c:pt idx="329">
                  <c:v>39400</c:v>
                </c:pt>
                <c:pt idx="330">
                  <c:v>39686</c:v>
                </c:pt>
                <c:pt idx="331">
                  <c:v>39834</c:v>
                </c:pt>
                <c:pt idx="332">
                  <c:v>40114</c:v>
                </c:pt>
                <c:pt idx="333">
                  <c:v>40011</c:v>
                </c:pt>
                <c:pt idx="334">
                  <c:v>39864</c:v>
                </c:pt>
                <c:pt idx="335">
                  <c:v>39732</c:v>
                </c:pt>
                <c:pt idx="336">
                  <c:v>39888</c:v>
                </c:pt>
                <c:pt idx="337">
                  <c:v>39837</c:v>
                </c:pt>
                <c:pt idx="338">
                  <c:v>39862</c:v>
                </c:pt>
                <c:pt idx="339">
                  <c:v>39970</c:v>
                </c:pt>
                <c:pt idx="340">
                  <c:v>39977</c:v>
                </c:pt>
                <c:pt idx="341">
                  <c:v>39917</c:v>
                </c:pt>
                <c:pt idx="342">
                  <c:v>39926</c:v>
                </c:pt>
                <c:pt idx="343">
                  <c:v>40027</c:v>
                </c:pt>
                <c:pt idx="344">
                  <c:v>40158</c:v>
                </c:pt>
                <c:pt idx="345">
                  <c:v>40325</c:v>
                </c:pt>
                <c:pt idx="346">
                  <c:v>40568</c:v>
                </c:pt>
                <c:pt idx="347">
                  <c:v>40675</c:v>
                </c:pt>
                <c:pt idx="348">
                  <c:v>40828</c:v>
                </c:pt>
                <c:pt idx="349">
                  <c:v>40815</c:v>
                </c:pt>
                <c:pt idx="350">
                  <c:v>40975</c:v>
                </c:pt>
                <c:pt idx="351">
                  <c:v>41088</c:v>
                </c:pt>
                <c:pt idx="352">
                  <c:v>40990</c:v>
                </c:pt>
                <c:pt idx="353">
                  <c:v>41005</c:v>
                </c:pt>
                <c:pt idx="354">
                  <c:v>41177</c:v>
                </c:pt>
                <c:pt idx="355">
                  <c:v>41382</c:v>
                </c:pt>
                <c:pt idx="356">
                  <c:v>41804</c:v>
                </c:pt>
                <c:pt idx="357">
                  <c:v>41846</c:v>
                </c:pt>
                <c:pt idx="358">
                  <c:v>41870</c:v>
                </c:pt>
                <c:pt idx="359">
                  <c:v>41815</c:v>
                </c:pt>
                <c:pt idx="360">
                  <c:v>41771</c:v>
                </c:pt>
                <c:pt idx="361">
                  <c:v>41545</c:v>
                </c:pt>
                <c:pt idx="362">
                  <c:v>41224</c:v>
                </c:pt>
                <c:pt idx="363">
                  <c:v>41001</c:v>
                </c:pt>
                <c:pt idx="364">
                  <c:v>41147</c:v>
                </c:pt>
                <c:pt idx="365">
                  <c:v>41407</c:v>
                </c:pt>
                <c:pt idx="366">
                  <c:v>41579</c:v>
                </c:pt>
                <c:pt idx="367">
                  <c:v>41293</c:v>
                </c:pt>
                <c:pt idx="368">
                  <c:v>41332</c:v>
                </c:pt>
                <c:pt idx="369">
                  <c:v>41291</c:v>
                </c:pt>
                <c:pt idx="370">
                  <c:v>41366</c:v>
                </c:pt>
                <c:pt idx="371">
                  <c:v>41278</c:v>
                </c:pt>
                <c:pt idx="372">
                  <c:v>41369</c:v>
                </c:pt>
                <c:pt idx="373">
                  <c:v>41499</c:v>
                </c:pt>
                <c:pt idx="374">
                  <c:v>41589</c:v>
                </c:pt>
                <c:pt idx="375">
                  <c:v>41695</c:v>
                </c:pt>
                <c:pt idx="376">
                  <c:v>41630</c:v>
                </c:pt>
                <c:pt idx="377">
                  <c:v>41644</c:v>
                </c:pt>
                <c:pt idx="378">
                  <c:v>41652</c:v>
                </c:pt>
                <c:pt idx="379">
                  <c:v>41646</c:v>
                </c:pt>
                <c:pt idx="380">
                  <c:v>41534</c:v>
                </c:pt>
                <c:pt idx="381">
                  <c:v>41313</c:v>
                </c:pt>
                <c:pt idx="382">
                  <c:v>41639</c:v>
                </c:pt>
                <c:pt idx="383">
                  <c:v>41573</c:v>
                </c:pt>
                <c:pt idx="384">
                  <c:v>41600</c:v>
                </c:pt>
                <c:pt idx="385">
                  <c:v>41672</c:v>
                </c:pt>
                <c:pt idx="386">
                  <c:v>41608</c:v>
                </c:pt>
                <c:pt idx="387">
                  <c:v>41694</c:v>
                </c:pt>
                <c:pt idx="388">
                  <c:v>41792</c:v>
                </c:pt>
                <c:pt idx="389">
                  <c:v>41690</c:v>
                </c:pt>
                <c:pt idx="390">
                  <c:v>41491</c:v>
                </c:pt>
                <c:pt idx="391">
                  <c:v>41153</c:v>
                </c:pt>
                <c:pt idx="392">
                  <c:v>40722</c:v>
                </c:pt>
                <c:pt idx="393">
                  <c:v>40569</c:v>
                </c:pt>
                <c:pt idx="394">
                  <c:v>40484</c:v>
                </c:pt>
                <c:pt idx="395">
                  <c:v>40449</c:v>
                </c:pt>
                <c:pt idx="396">
                  <c:v>40283</c:v>
                </c:pt>
                <c:pt idx="397">
                  <c:v>40066</c:v>
                </c:pt>
                <c:pt idx="398">
                  <c:v>39953</c:v>
                </c:pt>
                <c:pt idx="399">
                  <c:v>40015</c:v>
                </c:pt>
                <c:pt idx="400">
                  <c:v>40048</c:v>
                </c:pt>
                <c:pt idx="401">
                  <c:v>39840</c:v>
                </c:pt>
                <c:pt idx="402">
                  <c:v>39680</c:v>
                </c:pt>
                <c:pt idx="403">
                  <c:v>39564</c:v>
                </c:pt>
                <c:pt idx="404">
                  <c:v>39842</c:v>
                </c:pt>
                <c:pt idx="405">
                  <c:v>39571</c:v>
                </c:pt>
                <c:pt idx="406">
                  <c:v>38991</c:v>
                </c:pt>
                <c:pt idx="407">
                  <c:v>38764</c:v>
                </c:pt>
                <c:pt idx="408">
                  <c:v>38504</c:v>
                </c:pt>
                <c:pt idx="409">
                  <c:v>38196</c:v>
                </c:pt>
                <c:pt idx="410">
                  <c:v>37862</c:v>
                </c:pt>
                <c:pt idx="411">
                  <c:v>37698</c:v>
                </c:pt>
                <c:pt idx="412">
                  <c:v>37447</c:v>
                </c:pt>
                <c:pt idx="413">
                  <c:v>36704</c:v>
                </c:pt>
                <c:pt idx="414">
                  <c:v>35700</c:v>
                </c:pt>
                <c:pt idx="415">
                  <c:v>35091</c:v>
                </c:pt>
                <c:pt idx="416">
                  <c:v>34611</c:v>
                </c:pt>
                <c:pt idx="417">
                  <c:v>34563</c:v>
                </c:pt>
                <c:pt idx="418">
                  <c:v>34240</c:v>
                </c:pt>
                <c:pt idx="419">
                  <c:v>34565</c:v>
                </c:pt>
                <c:pt idx="420">
                  <c:v>34508</c:v>
                </c:pt>
                <c:pt idx="421">
                  <c:v>33685</c:v>
                </c:pt>
                <c:pt idx="422">
                  <c:v>33237</c:v>
                </c:pt>
                <c:pt idx="423">
                  <c:v>32966</c:v>
                </c:pt>
                <c:pt idx="424">
                  <c:v>32914</c:v>
                </c:pt>
                <c:pt idx="425">
                  <c:v>32530</c:v>
                </c:pt>
                <c:pt idx="426">
                  <c:v>32874</c:v>
                </c:pt>
                <c:pt idx="427">
                  <c:v>32638</c:v>
                </c:pt>
                <c:pt idx="428">
                  <c:v>32001</c:v>
                </c:pt>
                <c:pt idx="429">
                  <c:v>31542</c:v>
                </c:pt>
                <c:pt idx="430">
                  <c:v>31458</c:v>
                </c:pt>
                <c:pt idx="431">
                  <c:v>31795</c:v>
                </c:pt>
                <c:pt idx="432">
                  <c:v>32332</c:v>
                </c:pt>
                <c:pt idx="433">
                  <c:v>32627</c:v>
                </c:pt>
                <c:pt idx="434">
                  <c:v>32810</c:v>
                </c:pt>
                <c:pt idx="435">
                  <c:v>32734</c:v>
                </c:pt>
                <c:pt idx="436">
                  <c:v>32515</c:v>
                </c:pt>
                <c:pt idx="437">
                  <c:v>33126</c:v>
                </c:pt>
                <c:pt idx="438">
                  <c:v>32950</c:v>
                </c:pt>
                <c:pt idx="439">
                  <c:v>32428</c:v>
                </c:pt>
                <c:pt idx="440">
                  <c:v>31963</c:v>
                </c:pt>
                <c:pt idx="441">
                  <c:v>31556</c:v>
                </c:pt>
                <c:pt idx="442">
                  <c:v>31363</c:v>
                </c:pt>
                <c:pt idx="443">
                  <c:v>31117</c:v>
                </c:pt>
                <c:pt idx="444">
                  <c:v>30209</c:v>
                </c:pt>
                <c:pt idx="445">
                  <c:v>29261</c:v>
                </c:pt>
                <c:pt idx="446">
                  <c:v>29379</c:v>
                </c:pt>
                <c:pt idx="447">
                  <c:v>30063</c:v>
                </c:pt>
                <c:pt idx="448">
                  <c:v>30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768000"/>
        <c:axId val="629067712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B$2</c:f>
              <c:strCache>
                <c:ptCount val="1"/>
                <c:pt idx="0">
                  <c:v>BRENT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F$1014:$F$1462</c:f>
              <c:numCache>
                <c:formatCode>m/d/yyyy</c:formatCode>
                <c:ptCount val="449"/>
                <c:pt idx="0">
                  <c:v>41358</c:v>
                </c:pt>
                <c:pt idx="1">
                  <c:v>41359</c:v>
                </c:pt>
                <c:pt idx="2">
                  <c:v>41360</c:v>
                </c:pt>
                <c:pt idx="3">
                  <c:v>41361</c:v>
                </c:pt>
                <c:pt idx="4">
                  <c:v>41362</c:v>
                </c:pt>
                <c:pt idx="5">
                  <c:v>41365</c:v>
                </c:pt>
                <c:pt idx="6">
                  <c:v>41366</c:v>
                </c:pt>
                <c:pt idx="7">
                  <c:v>41367</c:v>
                </c:pt>
                <c:pt idx="8">
                  <c:v>41368</c:v>
                </c:pt>
                <c:pt idx="9">
                  <c:v>41369</c:v>
                </c:pt>
                <c:pt idx="10">
                  <c:v>41372</c:v>
                </c:pt>
                <c:pt idx="11">
                  <c:v>41373</c:v>
                </c:pt>
                <c:pt idx="12">
                  <c:v>41374</c:v>
                </c:pt>
                <c:pt idx="13">
                  <c:v>41375</c:v>
                </c:pt>
                <c:pt idx="14">
                  <c:v>41376</c:v>
                </c:pt>
                <c:pt idx="15">
                  <c:v>41379</c:v>
                </c:pt>
                <c:pt idx="16">
                  <c:v>41380</c:v>
                </c:pt>
                <c:pt idx="17">
                  <c:v>41381</c:v>
                </c:pt>
                <c:pt idx="18">
                  <c:v>41382</c:v>
                </c:pt>
                <c:pt idx="19">
                  <c:v>41383</c:v>
                </c:pt>
                <c:pt idx="20">
                  <c:v>41386</c:v>
                </c:pt>
                <c:pt idx="21">
                  <c:v>41387</c:v>
                </c:pt>
                <c:pt idx="22">
                  <c:v>41388</c:v>
                </c:pt>
                <c:pt idx="23">
                  <c:v>41389</c:v>
                </c:pt>
                <c:pt idx="24">
                  <c:v>41390</c:v>
                </c:pt>
                <c:pt idx="25">
                  <c:v>41393</c:v>
                </c:pt>
                <c:pt idx="26">
                  <c:v>41394</c:v>
                </c:pt>
                <c:pt idx="27">
                  <c:v>41400</c:v>
                </c:pt>
                <c:pt idx="28">
                  <c:v>41401</c:v>
                </c:pt>
                <c:pt idx="29">
                  <c:v>41402</c:v>
                </c:pt>
                <c:pt idx="30">
                  <c:v>41407</c:v>
                </c:pt>
                <c:pt idx="31">
                  <c:v>41408</c:v>
                </c:pt>
                <c:pt idx="32">
                  <c:v>41409</c:v>
                </c:pt>
                <c:pt idx="33">
                  <c:v>41410</c:v>
                </c:pt>
                <c:pt idx="34">
                  <c:v>41411</c:v>
                </c:pt>
                <c:pt idx="35">
                  <c:v>41414</c:v>
                </c:pt>
                <c:pt idx="36">
                  <c:v>41415</c:v>
                </c:pt>
                <c:pt idx="37">
                  <c:v>41416</c:v>
                </c:pt>
                <c:pt idx="38">
                  <c:v>41417</c:v>
                </c:pt>
                <c:pt idx="39">
                  <c:v>41418</c:v>
                </c:pt>
                <c:pt idx="40">
                  <c:v>41421</c:v>
                </c:pt>
                <c:pt idx="41">
                  <c:v>41422</c:v>
                </c:pt>
                <c:pt idx="42">
                  <c:v>41423</c:v>
                </c:pt>
                <c:pt idx="43">
                  <c:v>41424</c:v>
                </c:pt>
                <c:pt idx="44">
                  <c:v>41425</c:v>
                </c:pt>
                <c:pt idx="45">
                  <c:v>41428</c:v>
                </c:pt>
                <c:pt idx="46">
                  <c:v>41429</c:v>
                </c:pt>
                <c:pt idx="47">
                  <c:v>41430</c:v>
                </c:pt>
                <c:pt idx="48">
                  <c:v>41431</c:v>
                </c:pt>
                <c:pt idx="49">
                  <c:v>41432</c:v>
                </c:pt>
                <c:pt idx="50">
                  <c:v>41435</c:v>
                </c:pt>
                <c:pt idx="51">
                  <c:v>41436</c:v>
                </c:pt>
                <c:pt idx="52">
                  <c:v>41438</c:v>
                </c:pt>
                <c:pt idx="53">
                  <c:v>41439</c:v>
                </c:pt>
                <c:pt idx="54">
                  <c:v>41442</c:v>
                </c:pt>
                <c:pt idx="55">
                  <c:v>41443</c:v>
                </c:pt>
                <c:pt idx="56">
                  <c:v>41444</c:v>
                </c:pt>
                <c:pt idx="57">
                  <c:v>41445</c:v>
                </c:pt>
                <c:pt idx="58">
                  <c:v>41446</c:v>
                </c:pt>
                <c:pt idx="59">
                  <c:v>41449</c:v>
                </c:pt>
                <c:pt idx="60">
                  <c:v>41450</c:v>
                </c:pt>
                <c:pt idx="61">
                  <c:v>41451</c:v>
                </c:pt>
                <c:pt idx="62">
                  <c:v>41452</c:v>
                </c:pt>
                <c:pt idx="63">
                  <c:v>41453</c:v>
                </c:pt>
                <c:pt idx="64">
                  <c:v>41456</c:v>
                </c:pt>
                <c:pt idx="65">
                  <c:v>41457</c:v>
                </c:pt>
                <c:pt idx="66">
                  <c:v>41458</c:v>
                </c:pt>
                <c:pt idx="67">
                  <c:v>41459</c:v>
                </c:pt>
                <c:pt idx="68">
                  <c:v>41460</c:v>
                </c:pt>
                <c:pt idx="69">
                  <c:v>41463</c:v>
                </c:pt>
                <c:pt idx="70">
                  <c:v>41464</c:v>
                </c:pt>
                <c:pt idx="71">
                  <c:v>41465</c:v>
                </c:pt>
                <c:pt idx="72">
                  <c:v>41466</c:v>
                </c:pt>
                <c:pt idx="73">
                  <c:v>41467</c:v>
                </c:pt>
                <c:pt idx="74">
                  <c:v>41470</c:v>
                </c:pt>
                <c:pt idx="75">
                  <c:v>41471</c:v>
                </c:pt>
                <c:pt idx="76">
                  <c:v>41472</c:v>
                </c:pt>
                <c:pt idx="77">
                  <c:v>41473</c:v>
                </c:pt>
                <c:pt idx="78">
                  <c:v>41474</c:v>
                </c:pt>
                <c:pt idx="79">
                  <c:v>41477</c:v>
                </c:pt>
                <c:pt idx="80">
                  <c:v>41478</c:v>
                </c:pt>
                <c:pt idx="81">
                  <c:v>41479</c:v>
                </c:pt>
                <c:pt idx="82">
                  <c:v>41480</c:v>
                </c:pt>
                <c:pt idx="83">
                  <c:v>41481</c:v>
                </c:pt>
                <c:pt idx="84">
                  <c:v>41484</c:v>
                </c:pt>
                <c:pt idx="85">
                  <c:v>41485</c:v>
                </c:pt>
                <c:pt idx="86">
                  <c:v>41486</c:v>
                </c:pt>
                <c:pt idx="87">
                  <c:v>41487</c:v>
                </c:pt>
                <c:pt idx="88">
                  <c:v>41488</c:v>
                </c:pt>
                <c:pt idx="89">
                  <c:v>41491</c:v>
                </c:pt>
                <c:pt idx="90">
                  <c:v>41492</c:v>
                </c:pt>
                <c:pt idx="91">
                  <c:v>41493</c:v>
                </c:pt>
                <c:pt idx="92">
                  <c:v>41494</c:v>
                </c:pt>
                <c:pt idx="93">
                  <c:v>41495</c:v>
                </c:pt>
                <c:pt idx="94">
                  <c:v>41498</c:v>
                </c:pt>
                <c:pt idx="95">
                  <c:v>41499</c:v>
                </c:pt>
                <c:pt idx="96">
                  <c:v>41500</c:v>
                </c:pt>
                <c:pt idx="97">
                  <c:v>41501</c:v>
                </c:pt>
                <c:pt idx="98">
                  <c:v>41502</c:v>
                </c:pt>
                <c:pt idx="99">
                  <c:v>41505</c:v>
                </c:pt>
                <c:pt idx="100">
                  <c:v>41506</c:v>
                </c:pt>
                <c:pt idx="101">
                  <c:v>41507</c:v>
                </c:pt>
                <c:pt idx="102">
                  <c:v>41508</c:v>
                </c:pt>
                <c:pt idx="103">
                  <c:v>41509</c:v>
                </c:pt>
                <c:pt idx="104">
                  <c:v>41512</c:v>
                </c:pt>
                <c:pt idx="105">
                  <c:v>41513</c:v>
                </c:pt>
                <c:pt idx="106">
                  <c:v>41514</c:v>
                </c:pt>
                <c:pt idx="107">
                  <c:v>41515</c:v>
                </c:pt>
                <c:pt idx="108">
                  <c:v>41516</c:v>
                </c:pt>
                <c:pt idx="109">
                  <c:v>41519</c:v>
                </c:pt>
                <c:pt idx="110">
                  <c:v>41520</c:v>
                </c:pt>
                <c:pt idx="111">
                  <c:v>41521</c:v>
                </c:pt>
                <c:pt idx="112">
                  <c:v>41522</c:v>
                </c:pt>
                <c:pt idx="113">
                  <c:v>41523</c:v>
                </c:pt>
                <c:pt idx="114">
                  <c:v>41526</c:v>
                </c:pt>
                <c:pt idx="115">
                  <c:v>41527</c:v>
                </c:pt>
                <c:pt idx="116">
                  <c:v>41528</c:v>
                </c:pt>
                <c:pt idx="117">
                  <c:v>41529</c:v>
                </c:pt>
                <c:pt idx="118">
                  <c:v>41530</c:v>
                </c:pt>
                <c:pt idx="119">
                  <c:v>41533</c:v>
                </c:pt>
                <c:pt idx="120">
                  <c:v>41534</c:v>
                </c:pt>
                <c:pt idx="121">
                  <c:v>41535</c:v>
                </c:pt>
                <c:pt idx="122">
                  <c:v>41536</c:v>
                </c:pt>
                <c:pt idx="123">
                  <c:v>41537</c:v>
                </c:pt>
                <c:pt idx="124">
                  <c:v>41540</c:v>
                </c:pt>
                <c:pt idx="125">
                  <c:v>41541</c:v>
                </c:pt>
                <c:pt idx="126">
                  <c:v>41542</c:v>
                </c:pt>
                <c:pt idx="127">
                  <c:v>41543</c:v>
                </c:pt>
                <c:pt idx="128">
                  <c:v>41544</c:v>
                </c:pt>
                <c:pt idx="129">
                  <c:v>41547</c:v>
                </c:pt>
                <c:pt idx="130">
                  <c:v>41548</c:v>
                </c:pt>
                <c:pt idx="131">
                  <c:v>41549</c:v>
                </c:pt>
                <c:pt idx="132">
                  <c:v>41550</c:v>
                </c:pt>
                <c:pt idx="133">
                  <c:v>41551</c:v>
                </c:pt>
                <c:pt idx="134">
                  <c:v>41554</c:v>
                </c:pt>
                <c:pt idx="135">
                  <c:v>41555</c:v>
                </c:pt>
                <c:pt idx="136">
                  <c:v>41556</c:v>
                </c:pt>
                <c:pt idx="137">
                  <c:v>41557</c:v>
                </c:pt>
                <c:pt idx="138">
                  <c:v>41558</c:v>
                </c:pt>
                <c:pt idx="139">
                  <c:v>41561</c:v>
                </c:pt>
                <c:pt idx="140">
                  <c:v>41562</c:v>
                </c:pt>
                <c:pt idx="141">
                  <c:v>41563</c:v>
                </c:pt>
                <c:pt idx="142">
                  <c:v>41564</c:v>
                </c:pt>
                <c:pt idx="143">
                  <c:v>41565</c:v>
                </c:pt>
                <c:pt idx="144">
                  <c:v>41568</c:v>
                </c:pt>
                <c:pt idx="145">
                  <c:v>41569</c:v>
                </c:pt>
                <c:pt idx="146">
                  <c:v>41570</c:v>
                </c:pt>
                <c:pt idx="147">
                  <c:v>41571</c:v>
                </c:pt>
                <c:pt idx="148">
                  <c:v>41572</c:v>
                </c:pt>
                <c:pt idx="149">
                  <c:v>41575</c:v>
                </c:pt>
                <c:pt idx="150">
                  <c:v>41576</c:v>
                </c:pt>
                <c:pt idx="151">
                  <c:v>41577</c:v>
                </c:pt>
                <c:pt idx="152">
                  <c:v>41578</c:v>
                </c:pt>
                <c:pt idx="153">
                  <c:v>41579</c:v>
                </c:pt>
                <c:pt idx="154">
                  <c:v>41583</c:v>
                </c:pt>
                <c:pt idx="155">
                  <c:v>41584</c:v>
                </c:pt>
                <c:pt idx="156">
                  <c:v>41585</c:v>
                </c:pt>
                <c:pt idx="157">
                  <c:v>41586</c:v>
                </c:pt>
                <c:pt idx="158">
                  <c:v>41589</c:v>
                </c:pt>
                <c:pt idx="159">
                  <c:v>41590</c:v>
                </c:pt>
                <c:pt idx="160">
                  <c:v>41591</c:v>
                </c:pt>
                <c:pt idx="161">
                  <c:v>41592</c:v>
                </c:pt>
                <c:pt idx="162">
                  <c:v>41593</c:v>
                </c:pt>
                <c:pt idx="163">
                  <c:v>41596</c:v>
                </c:pt>
                <c:pt idx="164">
                  <c:v>41597</c:v>
                </c:pt>
                <c:pt idx="165">
                  <c:v>41598</c:v>
                </c:pt>
                <c:pt idx="166">
                  <c:v>41599</c:v>
                </c:pt>
                <c:pt idx="167">
                  <c:v>41600</c:v>
                </c:pt>
                <c:pt idx="168">
                  <c:v>41603</c:v>
                </c:pt>
                <c:pt idx="169">
                  <c:v>41604</c:v>
                </c:pt>
                <c:pt idx="170">
                  <c:v>41605</c:v>
                </c:pt>
                <c:pt idx="171">
                  <c:v>41606</c:v>
                </c:pt>
                <c:pt idx="172">
                  <c:v>41607</c:v>
                </c:pt>
                <c:pt idx="173">
                  <c:v>41610</c:v>
                </c:pt>
                <c:pt idx="174">
                  <c:v>41611</c:v>
                </c:pt>
                <c:pt idx="175">
                  <c:v>41612</c:v>
                </c:pt>
                <c:pt idx="176">
                  <c:v>41613</c:v>
                </c:pt>
                <c:pt idx="177">
                  <c:v>41614</c:v>
                </c:pt>
                <c:pt idx="178">
                  <c:v>41617</c:v>
                </c:pt>
                <c:pt idx="179">
                  <c:v>41618</c:v>
                </c:pt>
                <c:pt idx="180">
                  <c:v>41619</c:v>
                </c:pt>
                <c:pt idx="181">
                  <c:v>41620</c:v>
                </c:pt>
                <c:pt idx="182">
                  <c:v>41621</c:v>
                </c:pt>
                <c:pt idx="183">
                  <c:v>41624</c:v>
                </c:pt>
                <c:pt idx="184">
                  <c:v>41625</c:v>
                </c:pt>
                <c:pt idx="185">
                  <c:v>41626</c:v>
                </c:pt>
                <c:pt idx="186">
                  <c:v>41627</c:v>
                </c:pt>
                <c:pt idx="187">
                  <c:v>41628</c:v>
                </c:pt>
                <c:pt idx="188">
                  <c:v>41631</c:v>
                </c:pt>
                <c:pt idx="189">
                  <c:v>41632</c:v>
                </c:pt>
                <c:pt idx="190">
                  <c:v>41633</c:v>
                </c:pt>
                <c:pt idx="191">
                  <c:v>41634</c:v>
                </c:pt>
                <c:pt idx="192">
                  <c:v>41635</c:v>
                </c:pt>
                <c:pt idx="193">
                  <c:v>41648</c:v>
                </c:pt>
                <c:pt idx="194">
                  <c:v>41649</c:v>
                </c:pt>
                <c:pt idx="195">
                  <c:v>41652</c:v>
                </c:pt>
                <c:pt idx="196">
                  <c:v>41653</c:v>
                </c:pt>
                <c:pt idx="197">
                  <c:v>41654</c:v>
                </c:pt>
                <c:pt idx="198">
                  <c:v>41655</c:v>
                </c:pt>
                <c:pt idx="199">
                  <c:v>41656</c:v>
                </c:pt>
                <c:pt idx="200">
                  <c:v>41659</c:v>
                </c:pt>
                <c:pt idx="201">
                  <c:v>41660</c:v>
                </c:pt>
                <c:pt idx="202">
                  <c:v>41661</c:v>
                </c:pt>
                <c:pt idx="203">
                  <c:v>41662</c:v>
                </c:pt>
                <c:pt idx="204">
                  <c:v>41663</c:v>
                </c:pt>
                <c:pt idx="205">
                  <c:v>41666</c:v>
                </c:pt>
                <c:pt idx="206">
                  <c:v>41667</c:v>
                </c:pt>
                <c:pt idx="207">
                  <c:v>41668</c:v>
                </c:pt>
                <c:pt idx="208">
                  <c:v>41669</c:v>
                </c:pt>
                <c:pt idx="209">
                  <c:v>41670</c:v>
                </c:pt>
                <c:pt idx="210">
                  <c:v>41673</c:v>
                </c:pt>
                <c:pt idx="211">
                  <c:v>41674</c:v>
                </c:pt>
                <c:pt idx="212">
                  <c:v>41675</c:v>
                </c:pt>
                <c:pt idx="213">
                  <c:v>41676</c:v>
                </c:pt>
                <c:pt idx="214">
                  <c:v>41677</c:v>
                </c:pt>
                <c:pt idx="215">
                  <c:v>41680</c:v>
                </c:pt>
                <c:pt idx="216">
                  <c:v>41681</c:v>
                </c:pt>
                <c:pt idx="217">
                  <c:v>41682</c:v>
                </c:pt>
                <c:pt idx="218">
                  <c:v>41683</c:v>
                </c:pt>
                <c:pt idx="219">
                  <c:v>41684</c:v>
                </c:pt>
                <c:pt idx="220">
                  <c:v>41687</c:v>
                </c:pt>
                <c:pt idx="221">
                  <c:v>41688</c:v>
                </c:pt>
                <c:pt idx="222">
                  <c:v>41689</c:v>
                </c:pt>
                <c:pt idx="223">
                  <c:v>41690</c:v>
                </c:pt>
                <c:pt idx="224">
                  <c:v>41691</c:v>
                </c:pt>
                <c:pt idx="225">
                  <c:v>41694</c:v>
                </c:pt>
                <c:pt idx="226">
                  <c:v>41695</c:v>
                </c:pt>
                <c:pt idx="227">
                  <c:v>41696</c:v>
                </c:pt>
                <c:pt idx="228">
                  <c:v>41697</c:v>
                </c:pt>
                <c:pt idx="229">
                  <c:v>41698</c:v>
                </c:pt>
                <c:pt idx="230">
                  <c:v>41701</c:v>
                </c:pt>
                <c:pt idx="231">
                  <c:v>41702</c:v>
                </c:pt>
                <c:pt idx="232">
                  <c:v>41703</c:v>
                </c:pt>
                <c:pt idx="233">
                  <c:v>41704</c:v>
                </c:pt>
                <c:pt idx="234">
                  <c:v>41705</c:v>
                </c:pt>
                <c:pt idx="235">
                  <c:v>41709</c:v>
                </c:pt>
                <c:pt idx="236">
                  <c:v>41710</c:v>
                </c:pt>
                <c:pt idx="237">
                  <c:v>41711</c:v>
                </c:pt>
                <c:pt idx="238">
                  <c:v>41712</c:v>
                </c:pt>
                <c:pt idx="239">
                  <c:v>41715</c:v>
                </c:pt>
                <c:pt idx="240">
                  <c:v>41716</c:v>
                </c:pt>
                <c:pt idx="241">
                  <c:v>41717</c:v>
                </c:pt>
                <c:pt idx="242">
                  <c:v>41718</c:v>
                </c:pt>
                <c:pt idx="243">
                  <c:v>41719</c:v>
                </c:pt>
                <c:pt idx="244">
                  <c:v>41722</c:v>
                </c:pt>
                <c:pt idx="245">
                  <c:v>41723</c:v>
                </c:pt>
                <c:pt idx="246">
                  <c:v>41724</c:v>
                </c:pt>
                <c:pt idx="247">
                  <c:v>41725</c:v>
                </c:pt>
                <c:pt idx="248">
                  <c:v>41726</c:v>
                </c:pt>
                <c:pt idx="249">
                  <c:v>41729</c:v>
                </c:pt>
                <c:pt idx="250">
                  <c:v>41730</c:v>
                </c:pt>
                <c:pt idx="251">
                  <c:v>41731</c:v>
                </c:pt>
                <c:pt idx="252">
                  <c:v>41732</c:v>
                </c:pt>
                <c:pt idx="253">
                  <c:v>41733</c:v>
                </c:pt>
                <c:pt idx="254">
                  <c:v>41736</c:v>
                </c:pt>
                <c:pt idx="255">
                  <c:v>41737</c:v>
                </c:pt>
                <c:pt idx="256">
                  <c:v>41738</c:v>
                </c:pt>
                <c:pt idx="257">
                  <c:v>41739</c:v>
                </c:pt>
                <c:pt idx="258">
                  <c:v>41740</c:v>
                </c:pt>
                <c:pt idx="259">
                  <c:v>41743</c:v>
                </c:pt>
                <c:pt idx="260">
                  <c:v>41744</c:v>
                </c:pt>
                <c:pt idx="261">
                  <c:v>41745</c:v>
                </c:pt>
                <c:pt idx="262">
                  <c:v>41746</c:v>
                </c:pt>
                <c:pt idx="263">
                  <c:v>41747</c:v>
                </c:pt>
                <c:pt idx="264">
                  <c:v>41750</c:v>
                </c:pt>
                <c:pt idx="265">
                  <c:v>41751</c:v>
                </c:pt>
                <c:pt idx="266">
                  <c:v>41752</c:v>
                </c:pt>
                <c:pt idx="267">
                  <c:v>41753</c:v>
                </c:pt>
                <c:pt idx="268">
                  <c:v>41754</c:v>
                </c:pt>
                <c:pt idx="269">
                  <c:v>41757</c:v>
                </c:pt>
                <c:pt idx="270">
                  <c:v>41758</c:v>
                </c:pt>
                <c:pt idx="271">
                  <c:v>41759</c:v>
                </c:pt>
                <c:pt idx="272">
                  <c:v>41764</c:v>
                </c:pt>
                <c:pt idx="273">
                  <c:v>41765</c:v>
                </c:pt>
                <c:pt idx="274">
                  <c:v>41766</c:v>
                </c:pt>
                <c:pt idx="275">
                  <c:v>41767</c:v>
                </c:pt>
                <c:pt idx="276">
                  <c:v>41771</c:v>
                </c:pt>
                <c:pt idx="277">
                  <c:v>41772</c:v>
                </c:pt>
                <c:pt idx="278">
                  <c:v>41773</c:v>
                </c:pt>
                <c:pt idx="279">
                  <c:v>41774</c:v>
                </c:pt>
                <c:pt idx="280">
                  <c:v>41775</c:v>
                </c:pt>
                <c:pt idx="281">
                  <c:v>41778</c:v>
                </c:pt>
                <c:pt idx="282">
                  <c:v>41779</c:v>
                </c:pt>
                <c:pt idx="283">
                  <c:v>41780</c:v>
                </c:pt>
                <c:pt idx="284">
                  <c:v>41781</c:v>
                </c:pt>
                <c:pt idx="285">
                  <c:v>41782</c:v>
                </c:pt>
                <c:pt idx="286">
                  <c:v>41785</c:v>
                </c:pt>
                <c:pt idx="287">
                  <c:v>41786</c:v>
                </c:pt>
                <c:pt idx="288">
                  <c:v>41787</c:v>
                </c:pt>
                <c:pt idx="289">
                  <c:v>41788</c:v>
                </c:pt>
                <c:pt idx="290">
                  <c:v>41789</c:v>
                </c:pt>
                <c:pt idx="291">
                  <c:v>41792</c:v>
                </c:pt>
                <c:pt idx="292">
                  <c:v>41793</c:v>
                </c:pt>
                <c:pt idx="293">
                  <c:v>41794</c:v>
                </c:pt>
                <c:pt idx="294">
                  <c:v>41795</c:v>
                </c:pt>
                <c:pt idx="295">
                  <c:v>41796</c:v>
                </c:pt>
                <c:pt idx="296">
                  <c:v>41799</c:v>
                </c:pt>
                <c:pt idx="297">
                  <c:v>41800</c:v>
                </c:pt>
                <c:pt idx="298">
                  <c:v>41801</c:v>
                </c:pt>
                <c:pt idx="299">
                  <c:v>41806</c:v>
                </c:pt>
                <c:pt idx="300">
                  <c:v>41807</c:v>
                </c:pt>
                <c:pt idx="301">
                  <c:v>41808</c:v>
                </c:pt>
                <c:pt idx="302">
                  <c:v>41809</c:v>
                </c:pt>
                <c:pt idx="303">
                  <c:v>41810</c:v>
                </c:pt>
                <c:pt idx="304">
                  <c:v>41813</c:v>
                </c:pt>
                <c:pt idx="305">
                  <c:v>41814</c:v>
                </c:pt>
                <c:pt idx="306">
                  <c:v>41815</c:v>
                </c:pt>
                <c:pt idx="307">
                  <c:v>41816</c:v>
                </c:pt>
                <c:pt idx="308">
                  <c:v>41817</c:v>
                </c:pt>
                <c:pt idx="309">
                  <c:v>41820</c:v>
                </c:pt>
                <c:pt idx="310">
                  <c:v>41821</c:v>
                </c:pt>
                <c:pt idx="311">
                  <c:v>41822</c:v>
                </c:pt>
                <c:pt idx="312">
                  <c:v>41823</c:v>
                </c:pt>
                <c:pt idx="313">
                  <c:v>41824</c:v>
                </c:pt>
                <c:pt idx="314">
                  <c:v>41827</c:v>
                </c:pt>
                <c:pt idx="315">
                  <c:v>41828</c:v>
                </c:pt>
                <c:pt idx="316">
                  <c:v>41829</c:v>
                </c:pt>
                <c:pt idx="317">
                  <c:v>41830</c:v>
                </c:pt>
                <c:pt idx="318">
                  <c:v>41831</c:v>
                </c:pt>
                <c:pt idx="319">
                  <c:v>41834</c:v>
                </c:pt>
                <c:pt idx="320">
                  <c:v>41835</c:v>
                </c:pt>
                <c:pt idx="321">
                  <c:v>41836</c:v>
                </c:pt>
                <c:pt idx="322">
                  <c:v>41837</c:v>
                </c:pt>
                <c:pt idx="323">
                  <c:v>41838</c:v>
                </c:pt>
                <c:pt idx="324">
                  <c:v>41841</c:v>
                </c:pt>
                <c:pt idx="325">
                  <c:v>41842</c:v>
                </c:pt>
                <c:pt idx="326">
                  <c:v>41843</c:v>
                </c:pt>
                <c:pt idx="327">
                  <c:v>41844</c:v>
                </c:pt>
                <c:pt idx="328">
                  <c:v>41845</c:v>
                </c:pt>
                <c:pt idx="329">
                  <c:v>41848</c:v>
                </c:pt>
                <c:pt idx="330">
                  <c:v>41849</c:v>
                </c:pt>
                <c:pt idx="331">
                  <c:v>41850</c:v>
                </c:pt>
                <c:pt idx="332">
                  <c:v>41851</c:v>
                </c:pt>
                <c:pt idx="333">
                  <c:v>41852</c:v>
                </c:pt>
                <c:pt idx="334">
                  <c:v>41855</c:v>
                </c:pt>
                <c:pt idx="335">
                  <c:v>41856</c:v>
                </c:pt>
                <c:pt idx="336">
                  <c:v>41857</c:v>
                </c:pt>
                <c:pt idx="337">
                  <c:v>41858</c:v>
                </c:pt>
                <c:pt idx="338">
                  <c:v>41859</c:v>
                </c:pt>
                <c:pt idx="339">
                  <c:v>41862</c:v>
                </c:pt>
                <c:pt idx="340">
                  <c:v>41863</c:v>
                </c:pt>
                <c:pt idx="341">
                  <c:v>41864</c:v>
                </c:pt>
                <c:pt idx="342">
                  <c:v>41865</c:v>
                </c:pt>
                <c:pt idx="343">
                  <c:v>41866</c:v>
                </c:pt>
                <c:pt idx="344">
                  <c:v>41869</c:v>
                </c:pt>
                <c:pt idx="345">
                  <c:v>41870</c:v>
                </c:pt>
                <c:pt idx="346">
                  <c:v>41871</c:v>
                </c:pt>
                <c:pt idx="347">
                  <c:v>41872</c:v>
                </c:pt>
                <c:pt idx="348">
                  <c:v>41873</c:v>
                </c:pt>
                <c:pt idx="349">
                  <c:v>41876</c:v>
                </c:pt>
                <c:pt idx="350">
                  <c:v>41877</c:v>
                </c:pt>
                <c:pt idx="351">
                  <c:v>41878</c:v>
                </c:pt>
                <c:pt idx="352">
                  <c:v>41879</c:v>
                </c:pt>
                <c:pt idx="353">
                  <c:v>41880</c:v>
                </c:pt>
                <c:pt idx="354">
                  <c:v>41883</c:v>
                </c:pt>
                <c:pt idx="355">
                  <c:v>41884</c:v>
                </c:pt>
                <c:pt idx="356">
                  <c:v>41885</c:v>
                </c:pt>
                <c:pt idx="357">
                  <c:v>41886</c:v>
                </c:pt>
                <c:pt idx="358">
                  <c:v>41887</c:v>
                </c:pt>
                <c:pt idx="359">
                  <c:v>41890</c:v>
                </c:pt>
                <c:pt idx="360">
                  <c:v>41891</c:v>
                </c:pt>
                <c:pt idx="361">
                  <c:v>41892</c:v>
                </c:pt>
                <c:pt idx="362">
                  <c:v>41893</c:v>
                </c:pt>
                <c:pt idx="363">
                  <c:v>41894</c:v>
                </c:pt>
                <c:pt idx="364">
                  <c:v>41897</c:v>
                </c:pt>
                <c:pt idx="365">
                  <c:v>41898</c:v>
                </c:pt>
                <c:pt idx="366">
                  <c:v>41899</c:v>
                </c:pt>
                <c:pt idx="367">
                  <c:v>41900</c:v>
                </c:pt>
                <c:pt idx="368">
                  <c:v>41901</c:v>
                </c:pt>
                <c:pt idx="369">
                  <c:v>41904</c:v>
                </c:pt>
                <c:pt idx="370">
                  <c:v>41905</c:v>
                </c:pt>
                <c:pt idx="371">
                  <c:v>41906</c:v>
                </c:pt>
                <c:pt idx="372">
                  <c:v>41907</c:v>
                </c:pt>
                <c:pt idx="373">
                  <c:v>41908</c:v>
                </c:pt>
                <c:pt idx="374">
                  <c:v>41911</c:v>
                </c:pt>
                <c:pt idx="375">
                  <c:v>41912</c:v>
                </c:pt>
                <c:pt idx="376">
                  <c:v>41913</c:v>
                </c:pt>
                <c:pt idx="377">
                  <c:v>41914</c:v>
                </c:pt>
                <c:pt idx="378">
                  <c:v>41915</c:v>
                </c:pt>
                <c:pt idx="379">
                  <c:v>41918</c:v>
                </c:pt>
                <c:pt idx="380">
                  <c:v>41919</c:v>
                </c:pt>
                <c:pt idx="381">
                  <c:v>41920</c:v>
                </c:pt>
                <c:pt idx="382">
                  <c:v>41921</c:v>
                </c:pt>
                <c:pt idx="383">
                  <c:v>41922</c:v>
                </c:pt>
                <c:pt idx="384">
                  <c:v>41925</c:v>
                </c:pt>
                <c:pt idx="385">
                  <c:v>41926</c:v>
                </c:pt>
                <c:pt idx="386">
                  <c:v>41927</c:v>
                </c:pt>
                <c:pt idx="387">
                  <c:v>41928</c:v>
                </c:pt>
                <c:pt idx="388">
                  <c:v>41929</c:v>
                </c:pt>
                <c:pt idx="389">
                  <c:v>41932</c:v>
                </c:pt>
                <c:pt idx="390">
                  <c:v>41933</c:v>
                </c:pt>
                <c:pt idx="391">
                  <c:v>41934</c:v>
                </c:pt>
                <c:pt idx="392">
                  <c:v>41935</c:v>
                </c:pt>
                <c:pt idx="393">
                  <c:v>41936</c:v>
                </c:pt>
                <c:pt idx="394">
                  <c:v>41939</c:v>
                </c:pt>
                <c:pt idx="395">
                  <c:v>41940</c:v>
                </c:pt>
                <c:pt idx="396">
                  <c:v>41941</c:v>
                </c:pt>
                <c:pt idx="397">
                  <c:v>41942</c:v>
                </c:pt>
                <c:pt idx="398">
                  <c:v>41943</c:v>
                </c:pt>
                <c:pt idx="399">
                  <c:v>41948</c:v>
                </c:pt>
                <c:pt idx="400">
                  <c:v>41949</c:v>
                </c:pt>
                <c:pt idx="401">
                  <c:v>41950</c:v>
                </c:pt>
                <c:pt idx="402">
                  <c:v>41953</c:v>
                </c:pt>
                <c:pt idx="403">
                  <c:v>41954</c:v>
                </c:pt>
                <c:pt idx="404">
                  <c:v>41955</c:v>
                </c:pt>
                <c:pt idx="405">
                  <c:v>41956</c:v>
                </c:pt>
                <c:pt idx="406">
                  <c:v>41957</c:v>
                </c:pt>
                <c:pt idx="407">
                  <c:v>41960</c:v>
                </c:pt>
                <c:pt idx="408">
                  <c:v>41961</c:v>
                </c:pt>
                <c:pt idx="409">
                  <c:v>41962</c:v>
                </c:pt>
                <c:pt idx="410">
                  <c:v>41963</c:v>
                </c:pt>
                <c:pt idx="411">
                  <c:v>41964</c:v>
                </c:pt>
                <c:pt idx="412">
                  <c:v>41967</c:v>
                </c:pt>
                <c:pt idx="413">
                  <c:v>41968</c:v>
                </c:pt>
                <c:pt idx="414">
                  <c:v>41969</c:v>
                </c:pt>
                <c:pt idx="415">
                  <c:v>41970</c:v>
                </c:pt>
                <c:pt idx="416">
                  <c:v>41971</c:v>
                </c:pt>
                <c:pt idx="417">
                  <c:v>41974</c:v>
                </c:pt>
                <c:pt idx="418">
                  <c:v>41975</c:v>
                </c:pt>
                <c:pt idx="419">
                  <c:v>41976</c:v>
                </c:pt>
                <c:pt idx="420">
                  <c:v>41977</c:v>
                </c:pt>
                <c:pt idx="421">
                  <c:v>41978</c:v>
                </c:pt>
                <c:pt idx="422">
                  <c:v>41981</c:v>
                </c:pt>
                <c:pt idx="423">
                  <c:v>41982</c:v>
                </c:pt>
                <c:pt idx="424">
                  <c:v>41983</c:v>
                </c:pt>
                <c:pt idx="425">
                  <c:v>41984</c:v>
                </c:pt>
                <c:pt idx="426">
                  <c:v>41985</c:v>
                </c:pt>
                <c:pt idx="427">
                  <c:v>41988</c:v>
                </c:pt>
                <c:pt idx="428">
                  <c:v>41989</c:v>
                </c:pt>
                <c:pt idx="429">
                  <c:v>41990</c:v>
                </c:pt>
                <c:pt idx="430">
                  <c:v>41991</c:v>
                </c:pt>
                <c:pt idx="431">
                  <c:v>41992</c:v>
                </c:pt>
                <c:pt idx="432">
                  <c:v>41995</c:v>
                </c:pt>
                <c:pt idx="433">
                  <c:v>41996</c:v>
                </c:pt>
                <c:pt idx="434">
                  <c:v>41997</c:v>
                </c:pt>
                <c:pt idx="435">
                  <c:v>41998</c:v>
                </c:pt>
                <c:pt idx="436">
                  <c:v>41999</c:v>
                </c:pt>
                <c:pt idx="437">
                  <c:v>42016</c:v>
                </c:pt>
                <c:pt idx="438">
                  <c:v>42017</c:v>
                </c:pt>
                <c:pt idx="439">
                  <c:v>42018</c:v>
                </c:pt>
                <c:pt idx="440">
                  <c:v>42019</c:v>
                </c:pt>
                <c:pt idx="441">
                  <c:v>42020</c:v>
                </c:pt>
                <c:pt idx="442">
                  <c:v>42023</c:v>
                </c:pt>
                <c:pt idx="443">
                  <c:v>42024</c:v>
                </c:pt>
                <c:pt idx="444">
                  <c:v>42025</c:v>
                </c:pt>
                <c:pt idx="445">
                  <c:v>42026</c:v>
                </c:pt>
                <c:pt idx="446">
                  <c:v>42027</c:v>
                </c:pt>
                <c:pt idx="447">
                  <c:v>42030</c:v>
                </c:pt>
                <c:pt idx="448">
                  <c:v>42031</c:v>
                </c:pt>
              </c:numCache>
            </c:numRef>
          </c:cat>
          <c:val>
            <c:numRef>
              <c:f>Индексы_Мир_СПбМТСБ!$B$1014:$B$1462</c:f>
              <c:numCache>
                <c:formatCode>General</c:formatCode>
                <c:ptCount val="449"/>
                <c:pt idx="0">
                  <c:v>108.18</c:v>
                </c:pt>
                <c:pt idx="1">
                  <c:v>109.4</c:v>
                </c:pt>
                <c:pt idx="2">
                  <c:v>109.84</c:v>
                </c:pt>
                <c:pt idx="3">
                  <c:v>109.77</c:v>
                </c:pt>
                <c:pt idx="4">
                  <c:v>109.89</c:v>
                </c:pt>
                <c:pt idx="5">
                  <c:v>110.76</c:v>
                </c:pt>
                <c:pt idx="6">
                  <c:v>110.34</c:v>
                </c:pt>
                <c:pt idx="7">
                  <c:v>106.89</c:v>
                </c:pt>
                <c:pt idx="8">
                  <c:v>106.27</c:v>
                </c:pt>
                <c:pt idx="9">
                  <c:v>104.38</c:v>
                </c:pt>
                <c:pt idx="10">
                  <c:v>104.9</c:v>
                </c:pt>
                <c:pt idx="11">
                  <c:v>106.15</c:v>
                </c:pt>
                <c:pt idx="12">
                  <c:v>105.65</c:v>
                </c:pt>
                <c:pt idx="13">
                  <c:v>104.41</c:v>
                </c:pt>
                <c:pt idx="14">
                  <c:v>102.85</c:v>
                </c:pt>
                <c:pt idx="15">
                  <c:v>99.31</c:v>
                </c:pt>
                <c:pt idx="16">
                  <c:v>100.1</c:v>
                </c:pt>
                <c:pt idx="17">
                  <c:v>97.4</c:v>
                </c:pt>
                <c:pt idx="18">
                  <c:v>99.6</c:v>
                </c:pt>
                <c:pt idx="19">
                  <c:v>99.53</c:v>
                </c:pt>
                <c:pt idx="20">
                  <c:v>100.37</c:v>
                </c:pt>
                <c:pt idx="21">
                  <c:v>100.5</c:v>
                </c:pt>
                <c:pt idx="22">
                  <c:v>101.82</c:v>
                </c:pt>
                <c:pt idx="23">
                  <c:v>103.11</c:v>
                </c:pt>
                <c:pt idx="24">
                  <c:v>102.85</c:v>
                </c:pt>
                <c:pt idx="25">
                  <c:v>103.76</c:v>
                </c:pt>
                <c:pt idx="26">
                  <c:v>101.74</c:v>
                </c:pt>
                <c:pt idx="27">
                  <c:v>104.99</c:v>
                </c:pt>
                <c:pt idx="28">
                  <c:v>103.75</c:v>
                </c:pt>
                <c:pt idx="29">
                  <c:v>104.02</c:v>
                </c:pt>
                <c:pt idx="30">
                  <c:v>102.64</c:v>
                </c:pt>
                <c:pt idx="31">
                  <c:v>102.53</c:v>
                </c:pt>
                <c:pt idx="32">
                  <c:v>103.65</c:v>
                </c:pt>
                <c:pt idx="33">
                  <c:v>103.84</c:v>
                </c:pt>
                <c:pt idx="34">
                  <c:v>104.72</c:v>
                </c:pt>
                <c:pt idx="35">
                  <c:v>104.79</c:v>
                </c:pt>
                <c:pt idx="36">
                  <c:v>103.63</c:v>
                </c:pt>
                <c:pt idx="37">
                  <c:v>102.32</c:v>
                </c:pt>
                <c:pt idx="38">
                  <c:v>102.66</c:v>
                </c:pt>
                <c:pt idx="39">
                  <c:v>102.78</c:v>
                </c:pt>
                <c:pt idx="40">
                  <c:v>102.5</c:v>
                </c:pt>
                <c:pt idx="41">
                  <c:v>104.35</c:v>
                </c:pt>
                <c:pt idx="42">
                  <c:v>102.18</c:v>
                </c:pt>
                <c:pt idx="43">
                  <c:v>102.24</c:v>
                </c:pt>
                <c:pt idx="44">
                  <c:v>100.15</c:v>
                </c:pt>
                <c:pt idx="45">
                  <c:v>101.9</c:v>
                </c:pt>
                <c:pt idx="46">
                  <c:v>103.18</c:v>
                </c:pt>
                <c:pt idx="47">
                  <c:v>102.63</c:v>
                </c:pt>
                <c:pt idx="48">
                  <c:v>103.19</c:v>
                </c:pt>
                <c:pt idx="49">
                  <c:v>104.48</c:v>
                </c:pt>
                <c:pt idx="50">
                  <c:v>103.74</c:v>
                </c:pt>
                <c:pt idx="51">
                  <c:v>102.64</c:v>
                </c:pt>
                <c:pt idx="52">
                  <c:v>104.95</c:v>
                </c:pt>
                <c:pt idx="53">
                  <c:v>105.84</c:v>
                </c:pt>
                <c:pt idx="54">
                  <c:v>105.62</c:v>
                </c:pt>
                <c:pt idx="55">
                  <c:v>106.1</c:v>
                </c:pt>
                <c:pt idx="56">
                  <c:v>105.87</c:v>
                </c:pt>
                <c:pt idx="57">
                  <c:v>102.06</c:v>
                </c:pt>
                <c:pt idx="58">
                  <c:v>101.09</c:v>
                </c:pt>
                <c:pt idx="59">
                  <c:v>101.07</c:v>
                </c:pt>
                <c:pt idx="60">
                  <c:v>101.17</c:v>
                </c:pt>
                <c:pt idx="61">
                  <c:v>101.8</c:v>
                </c:pt>
                <c:pt idx="62">
                  <c:v>102.65</c:v>
                </c:pt>
                <c:pt idx="63">
                  <c:v>101.99</c:v>
                </c:pt>
                <c:pt idx="64">
                  <c:v>102.52</c:v>
                </c:pt>
                <c:pt idx="65">
                  <c:v>103.41</c:v>
                </c:pt>
                <c:pt idx="66">
                  <c:v>105.21</c:v>
                </c:pt>
                <c:pt idx="67">
                  <c:v>104.84</c:v>
                </c:pt>
                <c:pt idx="68">
                  <c:v>107.06</c:v>
                </c:pt>
                <c:pt idx="69">
                  <c:v>106.49</c:v>
                </c:pt>
                <c:pt idx="70">
                  <c:v>107.35</c:v>
                </c:pt>
                <c:pt idx="71">
                  <c:v>107.34</c:v>
                </c:pt>
                <c:pt idx="72">
                  <c:v>106.64</c:v>
                </c:pt>
                <c:pt idx="73">
                  <c:v>108.2</c:v>
                </c:pt>
                <c:pt idx="74">
                  <c:v>108.08</c:v>
                </c:pt>
                <c:pt idx="75">
                  <c:v>107.93</c:v>
                </c:pt>
                <c:pt idx="76">
                  <c:v>108.74</c:v>
                </c:pt>
                <c:pt idx="77">
                  <c:v>108.83</c:v>
                </c:pt>
                <c:pt idx="78">
                  <c:v>108.3</c:v>
                </c:pt>
                <c:pt idx="79">
                  <c:v>108.16</c:v>
                </c:pt>
                <c:pt idx="80">
                  <c:v>108.41</c:v>
                </c:pt>
                <c:pt idx="81">
                  <c:v>107.05</c:v>
                </c:pt>
                <c:pt idx="82">
                  <c:v>107.65</c:v>
                </c:pt>
                <c:pt idx="83">
                  <c:v>107.19</c:v>
                </c:pt>
                <c:pt idx="84">
                  <c:v>107.51</c:v>
                </c:pt>
                <c:pt idx="85">
                  <c:v>106.84</c:v>
                </c:pt>
                <c:pt idx="86">
                  <c:v>107.7</c:v>
                </c:pt>
                <c:pt idx="87">
                  <c:v>108.51</c:v>
                </c:pt>
                <c:pt idx="88">
                  <c:v>108.07</c:v>
                </c:pt>
                <c:pt idx="89">
                  <c:v>107.71</c:v>
                </c:pt>
                <c:pt idx="90">
                  <c:v>107.19</c:v>
                </c:pt>
                <c:pt idx="91">
                  <c:v>106.08</c:v>
                </c:pt>
                <c:pt idx="92">
                  <c:v>105.5</c:v>
                </c:pt>
                <c:pt idx="93">
                  <c:v>106.87</c:v>
                </c:pt>
                <c:pt idx="94">
                  <c:v>107.86</c:v>
                </c:pt>
                <c:pt idx="95">
                  <c:v>108.1</c:v>
                </c:pt>
                <c:pt idx="96">
                  <c:v>108.96</c:v>
                </c:pt>
                <c:pt idx="97">
                  <c:v>109.32</c:v>
                </c:pt>
                <c:pt idx="98">
                  <c:v>110.42</c:v>
                </c:pt>
                <c:pt idx="99">
                  <c:v>109.59</c:v>
                </c:pt>
                <c:pt idx="100">
                  <c:v>110.15</c:v>
                </c:pt>
                <c:pt idx="101">
                  <c:v>109.73</c:v>
                </c:pt>
                <c:pt idx="102">
                  <c:v>110</c:v>
                </c:pt>
                <c:pt idx="103">
                  <c:v>111.05</c:v>
                </c:pt>
                <c:pt idx="104">
                  <c:v>110.93</c:v>
                </c:pt>
                <c:pt idx="105">
                  <c:v>115.29</c:v>
                </c:pt>
                <c:pt idx="106">
                  <c:v>116.33</c:v>
                </c:pt>
                <c:pt idx="107">
                  <c:v>114.44</c:v>
                </c:pt>
                <c:pt idx="108">
                  <c:v>114.45</c:v>
                </c:pt>
                <c:pt idx="109">
                  <c:v>112.44</c:v>
                </c:pt>
                <c:pt idx="110">
                  <c:v>113.7</c:v>
                </c:pt>
                <c:pt idx="111">
                  <c:v>113.23</c:v>
                </c:pt>
                <c:pt idx="112">
                  <c:v>113.7</c:v>
                </c:pt>
                <c:pt idx="113">
                  <c:v>114.1</c:v>
                </c:pt>
                <c:pt idx="114">
                  <c:v>111.77</c:v>
                </c:pt>
                <c:pt idx="115" formatCode="#,##0.0">
                  <c:v>109.96</c:v>
                </c:pt>
                <c:pt idx="116" formatCode="#,##0.0">
                  <c:v>110.29</c:v>
                </c:pt>
                <c:pt idx="117" formatCode="#,##0.0">
                  <c:v>111.89</c:v>
                </c:pt>
                <c:pt idx="118" formatCode="#,##0.0">
                  <c:v>111.79</c:v>
                </c:pt>
                <c:pt idx="119" formatCode="#,##0.0">
                  <c:v>109.82</c:v>
                </c:pt>
                <c:pt idx="120" formatCode="#,##0.0">
                  <c:v>107.75</c:v>
                </c:pt>
                <c:pt idx="121" formatCode="#,##0.0">
                  <c:v>110.74</c:v>
                </c:pt>
                <c:pt idx="122" formatCode="#,##0.0">
                  <c:v>108.82</c:v>
                </c:pt>
                <c:pt idx="123" formatCode="#,##0.0">
                  <c:v>109.35</c:v>
                </c:pt>
                <c:pt idx="124" formatCode="#,##0.0">
                  <c:v>108</c:v>
                </c:pt>
                <c:pt idx="125" formatCode="#,##0.0">
                  <c:v>108.77</c:v>
                </c:pt>
                <c:pt idx="126" formatCode="#,##0.0">
                  <c:v>108.06</c:v>
                </c:pt>
                <c:pt idx="127" formatCode="#,##0.0">
                  <c:v>109.22</c:v>
                </c:pt>
                <c:pt idx="128" formatCode="#,##0.0">
                  <c:v>108.43</c:v>
                </c:pt>
                <c:pt idx="129" formatCode="#,##0.0">
                  <c:v>108.2</c:v>
                </c:pt>
                <c:pt idx="130" formatCode="#,##0.0">
                  <c:v>106.92</c:v>
                </c:pt>
                <c:pt idx="131" formatCode="#,##0.0">
                  <c:v>108.03</c:v>
                </c:pt>
                <c:pt idx="132" formatCode="#,##0.0">
                  <c:v>107.69</c:v>
                </c:pt>
                <c:pt idx="133" formatCode="#,##0.0">
                  <c:v>108.46</c:v>
                </c:pt>
                <c:pt idx="134" formatCode="#,##0.0">
                  <c:v>108.74</c:v>
                </c:pt>
                <c:pt idx="135" formatCode="#,##0.0">
                  <c:v>109.42</c:v>
                </c:pt>
                <c:pt idx="136" formatCode="#,##0.0">
                  <c:v>108.25</c:v>
                </c:pt>
                <c:pt idx="137" formatCode="#,##0.0">
                  <c:v>110.87</c:v>
                </c:pt>
                <c:pt idx="138" formatCode="#,##0.0">
                  <c:v>110.29</c:v>
                </c:pt>
                <c:pt idx="139" formatCode="#,##0.0">
                  <c:v>110.18</c:v>
                </c:pt>
                <c:pt idx="140" formatCode="#,##0.0">
                  <c:v>109</c:v>
                </c:pt>
                <c:pt idx="141" formatCode="#,##0.0">
                  <c:v>110.49</c:v>
                </c:pt>
                <c:pt idx="142" formatCode="#,##0.0">
                  <c:v>109</c:v>
                </c:pt>
                <c:pt idx="143" formatCode="#,##0.0">
                  <c:v>109.94</c:v>
                </c:pt>
                <c:pt idx="144" formatCode="#,##0.0">
                  <c:v>109.77</c:v>
                </c:pt>
                <c:pt idx="145" formatCode="#,##0.0">
                  <c:v>110.06</c:v>
                </c:pt>
                <c:pt idx="146" formatCode="#,##0.0">
                  <c:v>107.65</c:v>
                </c:pt>
                <c:pt idx="147" formatCode="#,##0.0">
                  <c:v>106.99</c:v>
                </c:pt>
                <c:pt idx="148" formatCode="#,##0.0">
                  <c:v>107.06</c:v>
                </c:pt>
                <c:pt idx="149" formatCode="#,##0.0">
                  <c:v>109.42</c:v>
                </c:pt>
                <c:pt idx="150" formatCode="#,##0.0">
                  <c:v>108.81</c:v>
                </c:pt>
                <c:pt idx="151" formatCode="#,##0.0">
                  <c:v>109.77</c:v>
                </c:pt>
                <c:pt idx="152" formatCode="#,##0.0">
                  <c:v>108.9</c:v>
                </c:pt>
                <c:pt idx="153">
                  <c:v>106.05</c:v>
                </c:pt>
                <c:pt idx="154">
                  <c:v>105.65</c:v>
                </c:pt>
                <c:pt idx="155">
                  <c:v>104.99</c:v>
                </c:pt>
                <c:pt idx="156">
                  <c:v>103.55</c:v>
                </c:pt>
                <c:pt idx="157">
                  <c:v>105.04</c:v>
                </c:pt>
                <c:pt idx="158">
                  <c:v>106.34</c:v>
                </c:pt>
                <c:pt idx="159">
                  <c:v>105.82</c:v>
                </c:pt>
                <c:pt idx="160">
                  <c:v>106.92</c:v>
                </c:pt>
                <c:pt idx="161">
                  <c:v>108.4</c:v>
                </c:pt>
                <c:pt idx="162">
                  <c:v>108.5</c:v>
                </c:pt>
                <c:pt idx="163">
                  <c:v>108.3</c:v>
                </c:pt>
                <c:pt idx="164">
                  <c:v>107.07</c:v>
                </c:pt>
                <c:pt idx="165">
                  <c:v>107.92</c:v>
                </c:pt>
                <c:pt idx="166">
                  <c:v>110.15</c:v>
                </c:pt>
                <c:pt idx="167">
                  <c:v>110.49</c:v>
                </c:pt>
                <c:pt idx="168">
                  <c:v>111.05</c:v>
                </c:pt>
                <c:pt idx="169">
                  <c:v>111.04</c:v>
                </c:pt>
                <c:pt idx="170">
                  <c:v>111.59</c:v>
                </c:pt>
                <c:pt idx="171">
                  <c:v>110.95</c:v>
                </c:pt>
                <c:pt idx="172">
                  <c:v>110.11</c:v>
                </c:pt>
                <c:pt idx="173">
                  <c:v>111.01</c:v>
                </c:pt>
                <c:pt idx="174">
                  <c:v>112.24</c:v>
                </c:pt>
                <c:pt idx="175">
                  <c:v>111.17</c:v>
                </c:pt>
                <c:pt idx="176">
                  <c:v>110.76</c:v>
                </c:pt>
                <c:pt idx="177">
                  <c:v>111.36</c:v>
                </c:pt>
                <c:pt idx="178">
                  <c:v>108.93</c:v>
                </c:pt>
                <c:pt idx="179">
                  <c:v>109.25</c:v>
                </c:pt>
                <c:pt idx="180">
                  <c:v>109.32</c:v>
                </c:pt>
                <c:pt idx="181">
                  <c:v>108.34</c:v>
                </c:pt>
                <c:pt idx="182">
                  <c:v>108.3</c:v>
                </c:pt>
                <c:pt idx="183">
                  <c:v>109.04</c:v>
                </c:pt>
                <c:pt idx="184">
                  <c:v>108.21</c:v>
                </c:pt>
                <c:pt idx="185">
                  <c:v>109.28</c:v>
                </c:pt>
                <c:pt idx="186">
                  <c:v>110.06</c:v>
                </c:pt>
                <c:pt idx="187">
                  <c:v>111.84</c:v>
                </c:pt>
                <c:pt idx="188">
                  <c:v>111.57</c:v>
                </c:pt>
                <c:pt idx="189">
                  <c:v>112</c:v>
                </c:pt>
                <c:pt idx="191">
                  <c:v>112</c:v>
                </c:pt>
                <c:pt idx="192">
                  <c:v>112.14</c:v>
                </c:pt>
                <c:pt idx="193">
                  <c:v>106</c:v>
                </c:pt>
                <c:pt idx="194">
                  <c:v>106.83</c:v>
                </c:pt>
                <c:pt idx="195">
                  <c:v>105.59</c:v>
                </c:pt>
                <c:pt idx="196">
                  <c:v>105.25</c:v>
                </c:pt>
                <c:pt idx="197">
                  <c:v>105.97</c:v>
                </c:pt>
                <c:pt idx="198">
                  <c:v>105.48</c:v>
                </c:pt>
                <c:pt idx="199">
                  <c:v>106.32</c:v>
                </c:pt>
                <c:pt idx="200">
                  <c:v>106.2</c:v>
                </c:pt>
                <c:pt idx="201">
                  <c:v>106.8</c:v>
                </c:pt>
                <c:pt idx="202">
                  <c:v>108.08</c:v>
                </c:pt>
                <c:pt idx="203">
                  <c:v>107.58</c:v>
                </c:pt>
                <c:pt idx="204">
                  <c:v>107.89</c:v>
                </c:pt>
                <c:pt idx="205">
                  <c:v>106.94</c:v>
                </c:pt>
                <c:pt idx="206">
                  <c:v>107.41</c:v>
                </c:pt>
                <c:pt idx="207">
                  <c:v>107.75</c:v>
                </c:pt>
                <c:pt idx="208">
                  <c:v>107.7</c:v>
                </c:pt>
                <c:pt idx="209">
                  <c:v>105.79</c:v>
                </c:pt>
                <c:pt idx="210">
                  <c:v>105.27</c:v>
                </c:pt>
                <c:pt idx="211">
                  <c:v>105.38</c:v>
                </c:pt>
                <c:pt idx="212">
                  <c:v>105.56</c:v>
                </c:pt>
                <c:pt idx="213">
                  <c:v>106.75</c:v>
                </c:pt>
                <c:pt idx="214">
                  <c:v>108.83</c:v>
                </c:pt>
                <c:pt idx="215">
                  <c:v>107.78</c:v>
                </c:pt>
                <c:pt idx="216">
                  <c:v>108.2</c:v>
                </c:pt>
                <c:pt idx="217">
                  <c:v>108.27</c:v>
                </c:pt>
                <c:pt idx="218">
                  <c:v>108.58</c:v>
                </c:pt>
                <c:pt idx="219">
                  <c:v>109.05</c:v>
                </c:pt>
                <c:pt idx="220">
                  <c:v>109.1</c:v>
                </c:pt>
                <c:pt idx="221">
                  <c:v>110.63</c:v>
                </c:pt>
                <c:pt idx="222">
                  <c:v>110.42</c:v>
                </c:pt>
                <c:pt idx="223">
                  <c:v>110.49</c:v>
                </c:pt>
                <c:pt idx="224">
                  <c:v>109.84</c:v>
                </c:pt>
                <c:pt idx="225">
                  <c:v>110.71</c:v>
                </c:pt>
                <c:pt idx="226">
                  <c:v>109.59</c:v>
                </c:pt>
                <c:pt idx="227">
                  <c:v>109.51</c:v>
                </c:pt>
                <c:pt idx="228">
                  <c:v>108.77</c:v>
                </c:pt>
                <c:pt idx="229">
                  <c:v>108.65</c:v>
                </c:pt>
                <c:pt idx="230">
                  <c:v>110.78</c:v>
                </c:pt>
                <c:pt idx="231">
                  <c:v>108.62</c:v>
                </c:pt>
                <c:pt idx="232">
                  <c:v>107.29</c:v>
                </c:pt>
                <c:pt idx="233">
                  <c:v>107.8</c:v>
                </c:pt>
                <c:pt idx="234">
                  <c:v>108.23</c:v>
                </c:pt>
                <c:pt idx="235">
                  <c:v>107.77</c:v>
                </c:pt>
                <c:pt idx="236">
                  <c:v>107.6</c:v>
                </c:pt>
                <c:pt idx="237">
                  <c:v>106.99</c:v>
                </c:pt>
                <c:pt idx="238">
                  <c:v>108.5</c:v>
                </c:pt>
                <c:pt idx="239">
                  <c:v>106.4</c:v>
                </c:pt>
                <c:pt idx="240">
                  <c:v>106.65</c:v>
                </c:pt>
                <c:pt idx="241">
                  <c:v>105.84</c:v>
                </c:pt>
                <c:pt idx="242">
                  <c:v>106.23</c:v>
                </c:pt>
                <c:pt idx="243">
                  <c:v>107.2</c:v>
                </c:pt>
                <c:pt idx="244">
                  <c:v>106.59</c:v>
                </c:pt>
                <c:pt idx="245">
                  <c:v>106.93</c:v>
                </c:pt>
                <c:pt idx="246">
                  <c:v>107</c:v>
                </c:pt>
                <c:pt idx="247">
                  <c:v>107.69</c:v>
                </c:pt>
                <c:pt idx="248">
                  <c:v>107.97</c:v>
                </c:pt>
                <c:pt idx="249">
                  <c:v>107.7</c:v>
                </c:pt>
                <c:pt idx="250">
                  <c:v>105.31</c:v>
                </c:pt>
                <c:pt idx="251">
                  <c:v>104.7</c:v>
                </c:pt>
                <c:pt idx="252">
                  <c:v>106.14</c:v>
                </c:pt>
                <c:pt idx="253">
                  <c:v>106.57</c:v>
                </c:pt>
                <c:pt idx="254">
                  <c:v>105.98</c:v>
                </c:pt>
                <c:pt idx="255">
                  <c:v>107.48</c:v>
                </c:pt>
                <c:pt idx="256">
                  <c:v>107.9</c:v>
                </c:pt>
                <c:pt idx="257">
                  <c:v>107.39</c:v>
                </c:pt>
                <c:pt idx="258">
                  <c:v>107.15</c:v>
                </c:pt>
                <c:pt idx="259">
                  <c:v>108.96</c:v>
                </c:pt>
                <c:pt idx="260">
                  <c:v>109.18</c:v>
                </c:pt>
                <c:pt idx="261">
                  <c:v>109.71</c:v>
                </c:pt>
                <c:pt idx="262">
                  <c:v>109.76</c:v>
                </c:pt>
                <c:pt idx="263">
                  <c:v>109.72</c:v>
                </c:pt>
                <c:pt idx="264">
                  <c:v>109.96</c:v>
                </c:pt>
                <c:pt idx="265">
                  <c:v>109.37</c:v>
                </c:pt>
                <c:pt idx="266">
                  <c:v>109.14</c:v>
                </c:pt>
                <c:pt idx="267">
                  <c:v>110.41</c:v>
                </c:pt>
                <c:pt idx="268">
                  <c:v>109.39</c:v>
                </c:pt>
                <c:pt idx="269">
                  <c:v>108.12</c:v>
                </c:pt>
                <c:pt idx="270">
                  <c:v>108.91</c:v>
                </c:pt>
                <c:pt idx="271">
                  <c:v>108.14</c:v>
                </c:pt>
                <c:pt idx="272">
                  <c:v>106.98</c:v>
                </c:pt>
                <c:pt idx="273">
                  <c:v>107.22</c:v>
                </c:pt>
                <c:pt idx="274">
                  <c:v>107.53</c:v>
                </c:pt>
                <c:pt idx="275">
                  <c:v>107.49</c:v>
                </c:pt>
                <c:pt idx="276">
                  <c:v>107.77</c:v>
                </c:pt>
                <c:pt idx="277">
                  <c:v>108.65</c:v>
                </c:pt>
                <c:pt idx="278">
                  <c:v>109.2</c:v>
                </c:pt>
                <c:pt idx="279">
                  <c:v>109.02</c:v>
                </c:pt>
                <c:pt idx="280">
                  <c:v>109.68</c:v>
                </c:pt>
                <c:pt idx="281">
                  <c:v>109.36</c:v>
                </c:pt>
                <c:pt idx="282">
                  <c:v>109.84</c:v>
                </c:pt>
                <c:pt idx="283">
                  <c:v>110.54</c:v>
                </c:pt>
                <c:pt idx="284">
                  <c:v>110.39</c:v>
                </c:pt>
                <c:pt idx="285">
                  <c:v>110.44</c:v>
                </c:pt>
                <c:pt idx="286">
                  <c:v>110.39</c:v>
                </c:pt>
                <c:pt idx="287">
                  <c:v>110.19</c:v>
                </c:pt>
                <c:pt idx="288">
                  <c:v>110.06</c:v>
                </c:pt>
                <c:pt idx="289">
                  <c:v>110.07</c:v>
                </c:pt>
                <c:pt idx="290">
                  <c:v>109.49</c:v>
                </c:pt>
                <c:pt idx="291">
                  <c:v>108.17</c:v>
                </c:pt>
                <c:pt idx="292">
                  <c:v>108.18</c:v>
                </c:pt>
                <c:pt idx="293">
                  <c:v>107.43</c:v>
                </c:pt>
                <c:pt idx="294">
                  <c:v>108.19</c:v>
                </c:pt>
                <c:pt idx="295">
                  <c:v>108.01</c:v>
                </c:pt>
                <c:pt idx="296">
                  <c:v>109.1</c:v>
                </c:pt>
                <c:pt idx="297">
                  <c:v>108.98</c:v>
                </c:pt>
                <c:pt idx="298">
                  <c:v>109.51</c:v>
                </c:pt>
                <c:pt idx="299">
                  <c:v>112.83</c:v>
                </c:pt>
                <c:pt idx="300">
                  <c:v>113.31</c:v>
                </c:pt>
                <c:pt idx="301">
                  <c:v>114.14</c:v>
                </c:pt>
                <c:pt idx="302">
                  <c:v>114.92</c:v>
                </c:pt>
                <c:pt idx="303">
                  <c:v>114.68</c:v>
                </c:pt>
                <c:pt idx="304">
                  <c:v>113.97</c:v>
                </c:pt>
                <c:pt idx="305">
                  <c:v>114.13</c:v>
                </c:pt>
                <c:pt idx="306">
                  <c:v>114.22</c:v>
                </c:pt>
                <c:pt idx="307">
                  <c:v>113.02</c:v>
                </c:pt>
                <c:pt idx="308">
                  <c:v>113.18</c:v>
                </c:pt>
                <c:pt idx="309">
                  <c:v>112.4</c:v>
                </c:pt>
                <c:pt idx="310">
                  <c:v>111.85</c:v>
                </c:pt>
                <c:pt idx="311">
                  <c:v>111</c:v>
                </c:pt>
                <c:pt idx="312">
                  <c:v>110.89</c:v>
                </c:pt>
                <c:pt idx="313">
                  <c:v>110.49</c:v>
                </c:pt>
                <c:pt idx="314">
                  <c:v>109.85</c:v>
                </c:pt>
                <c:pt idx="315">
                  <c:v>109.01</c:v>
                </c:pt>
                <c:pt idx="316">
                  <c:v>108.32</c:v>
                </c:pt>
                <c:pt idx="317">
                  <c:v>108.85</c:v>
                </c:pt>
                <c:pt idx="318">
                  <c:v>107.26</c:v>
                </c:pt>
                <c:pt idx="319">
                  <c:v>107.6</c:v>
                </c:pt>
                <c:pt idx="320">
                  <c:v>106.75</c:v>
                </c:pt>
                <c:pt idx="321">
                  <c:v>107.08</c:v>
                </c:pt>
                <c:pt idx="322">
                  <c:v>108.45</c:v>
                </c:pt>
                <c:pt idx="323">
                  <c:v>107.14</c:v>
                </c:pt>
                <c:pt idx="324">
                  <c:v>107.68</c:v>
                </c:pt>
                <c:pt idx="325">
                  <c:v>106.89</c:v>
                </c:pt>
                <c:pt idx="326">
                  <c:v>108.18</c:v>
                </c:pt>
                <c:pt idx="327">
                  <c:v>107.13</c:v>
                </c:pt>
                <c:pt idx="328">
                  <c:v>108.13</c:v>
                </c:pt>
                <c:pt idx="329">
                  <c:v>107.5</c:v>
                </c:pt>
                <c:pt idx="330">
                  <c:v>107.5</c:v>
                </c:pt>
                <c:pt idx="331">
                  <c:v>106.03</c:v>
                </c:pt>
                <c:pt idx="332">
                  <c:v>105.52</c:v>
                </c:pt>
                <c:pt idx="333">
                  <c:v>105.33</c:v>
                </c:pt>
                <c:pt idx="334">
                  <c:v>106.17</c:v>
                </c:pt>
                <c:pt idx="335">
                  <c:v>105.59</c:v>
                </c:pt>
                <c:pt idx="336">
                  <c:v>105.27</c:v>
                </c:pt>
                <c:pt idx="337">
                  <c:v>106.37</c:v>
                </c:pt>
                <c:pt idx="338">
                  <c:v>105.31</c:v>
                </c:pt>
                <c:pt idx="339">
                  <c:v>105.09</c:v>
                </c:pt>
                <c:pt idx="340">
                  <c:v>103.8</c:v>
                </c:pt>
                <c:pt idx="341">
                  <c:v>104.68</c:v>
                </c:pt>
                <c:pt idx="342">
                  <c:v>102.08</c:v>
                </c:pt>
                <c:pt idx="343">
                  <c:v>103.4</c:v>
                </c:pt>
                <c:pt idx="344">
                  <c:v>101.79</c:v>
                </c:pt>
                <c:pt idx="345">
                  <c:v>101.6</c:v>
                </c:pt>
                <c:pt idx="346">
                  <c:v>102.29</c:v>
                </c:pt>
                <c:pt idx="347">
                  <c:v>102.69</c:v>
                </c:pt>
                <c:pt idx="348">
                  <c:v>102.1</c:v>
                </c:pt>
                <c:pt idx="349">
                  <c:v>102.66</c:v>
                </c:pt>
                <c:pt idx="350">
                  <c:v>102.58</c:v>
                </c:pt>
                <c:pt idx="351">
                  <c:v>102.6</c:v>
                </c:pt>
                <c:pt idx="352">
                  <c:v>102.47</c:v>
                </c:pt>
                <c:pt idx="353">
                  <c:v>103.04</c:v>
                </c:pt>
                <c:pt idx="354">
                  <c:v>103.1</c:v>
                </c:pt>
                <c:pt idx="355">
                  <c:v>101.24</c:v>
                </c:pt>
                <c:pt idx="356">
                  <c:v>102.91</c:v>
                </c:pt>
                <c:pt idx="357">
                  <c:v>102.3</c:v>
                </c:pt>
                <c:pt idx="358">
                  <c:v>101.53</c:v>
                </c:pt>
                <c:pt idx="359">
                  <c:v>100.89</c:v>
                </c:pt>
                <c:pt idx="360">
                  <c:v>100</c:v>
                </c:pt>
                <c:pt idx="361">
                  <c:v>98.75</c:v>
                </c:pt>
                <c:pt idx="362">
                  <c:v>98.95</c:v>
                </c:pt>
                <c:pt idx="363">
                  <c:v>97.8</c:v>
                </c:pt>
                <c:pt idx="364">
                  <c:v>98</c:v>
                </c:pt>
                <c:pt idx="365">
                  <c:v>99</c:v>
                </c:pt>
                <c:pt idx="366">
                  <c:v>98.72</c:v>
                </c:pt>
                <c:pt idx="367">
                  <c:v>97.62</c:v>
                </c:pt>
                <c:pt idx="368">
                  <c:v>98.38</c:v>
                </c:pt>
                <c:pt idx="369">
                  <c:v>96.85</c:v>
                </c:pt>
                <c:pt idx="370">
                  <c:v>96.94</c:v>
                </c:pt>
                <c:pt idx="371">
                  <c:v>97.09</c:v>
                </c:pt>
                <c:pt idx="372">
                  <c:v>97.05</c:v>
                </c:pt>
                <c:pt idx="373">
                  <c:v>96.9</c:v>
                </c:pt>
                <c:pt idx="374">
                  <c:v>97.07</c:v>
                </c:pt>
                <c:pt idx="375">
                  <c:v>94.8</c:v>
                </c:pt>
                <c:pt idx="376">
                  <c:v>94.9</c:v>
                </c:pt>
                <c:pt idx="377">
                  <c:v>94.32</c:v>
                </c:pt>
                <c:pt idx="378">
                  <c:v>92.82</c:v>
                </c:pt>
                <c:pt idx="379">
                  <c:v>93.35</c:v>
                </c:pt>
                <c:pt idx="380">
                  <c:v>92.2</c:v>
                </c:pt>
                <c:pt idx="381">
                  <c:v>92.14</c:v>
                </c:pt>
                <c:pt idx="382">
                  <c:v>89.23</c:v>
                </c:pt>
                <c:pt idx="383">
                  <c:v>90.27</c:v>
                </c:pt>
                <c:pt idx="384">
                  <c:v>88.61</c:v>
                </c:pt>
                <c:pt idx="385">
                  <c:v>86</c:v>
                </c:pt>
                <c:pt idx="386">
                  <c:v>83.75</c:v>
                </c:pt>
                <c:pt idx="387">
                  <c:v>86.76</c:v>
                </c:pt>
                <c:pt idx="388">
                  <c:v>86.1</c:v>
                </c:pt>
                <c:pt idx="389">
                  <c:v>85.34</c:v>
                </c:pt>
                <c:pt idx="390">
                  <c:v>86.43</c:v>
                </c:pt>
                <c:pt idx="391">
                  <c:v>84.68</c:v>
                </c:pt>
                <c:pt idx="392">
                  <c:v>86.7</c:v>
                </c:pt>
                <c:pt idx="393">
                  <c:v>86.25</c:v>
                </c:pt>
                <c:pt idx="394">
                  <c:v>85.43</c:v>
                </c:pt>
                <c:pt idx="395">
                  <c:v>86.23</c:v>
                </c:pt>
                <c:pt idx="396">
                  <c:v>86.76</c:v>
                </c:pt>
                <c:pt idx="397">
                  <c:v>86.1</c:v>
                </c:pt>
                <c:pt idx="398">
                  <c:v>85.96</c:v>
                </c:pt>
                <c:pt idx="399">
                  <c:v>83.89</c:v>
                </c:pt>
                <c:pt idx="400">
                  <c:v>83.31</c:v>
                </c:pt>
                <c:pt idx="401">
                  <c:v>83.6</c:v>
                </c:pt>
                <c:pt idx="402">
                  <c:v>82.5</c:v>
                </c:pt>
                <c:pt idx="403">
                  <c:v>82</c:v>
                </c:pt>
                <c:pt idx="404">
                  <c:v>80.67</c:v>
                </c:pt>
                <c:pt idx="405">
                  <c:v>77.53</c:v>
                </c:pt>
                <c:pt idx="406">
                  <c:v>79.599999999999994</c:v>
                </c:pt>
                <c:pt idx="407">
                  <c:v>79.08</c:v>
                </c:pt>
                <c:pt idx="408">
                  <c:v>78.41</c:v>
                </c:pt>
                <c:pt idx="409">
                  <c:v>78.05</c:v>
                </c:pt>
                <c:pt idx="410">
                  <c:v>79.790000000000006</c:v>
                </c:pt>
                <c:pt idx="411">
                  <c:v>80.36</c:v>
                </c:pt>
                <c:pt idx="412">
                  <c:v>79.400000000000006</c:v>
                </c:pt>
                <c:pt idx="413">
                  <c:v>78.17</c:v>
                </c:pt>
                <c:pt idx="414">
                  <c:v>77.53</c:v>
                </c:pt>
                <c:pt idx="415">
                  <c:v>72.819999999999993</c:v>
                </c:pt>
                <c:pt idx="416">
                  <c:v>70.02</c:v>
                </c:pt>
                <c:pt idx="417">
                  <c:v>73.31</c:v>
                </c:pt>
                <c:pt idx="418">
                  <c:v>71.489999999999995</c:v>
                </c:pt>
                <c:pt idx="419">
                  <c:v>70.5</c:v>
                </c:pt>
                <c:pt idx="420">
                  <c:v>69.89</c:v>
                </c:pt>
                <c:pt idx="421">
                  <c:v>69.05</c:v>
                </c:pt>
                <c:pt idx="422">
                  <c:v>66.52</c:v>
                </c:pt>
                <c:pt idx="423">
                  <c:v>66.790000000000006</c:v>
                </c:pt>
                <c:pt idx="424">
                  <c:v>64.56</c:v>
                </c:pt>
                <c:pt idx="425">
                  <c:v>63.55</c:v>
                </c:pt>
                <c:pt idx="426">
                  <c:v>61.92</c:v>
                </c:pt>
                <c:pt idx="427">
                  <c:v>60.52</c:v>
                </c:pt>
                <c:pt idx="428">
                  <c:v>59.8</c:v>
                </c:pt>
                <c:pt idx="429">
                  <c:v>60.64</c:v>
                </c:pt>
                <c:pt idx="430">
                  <c:v>59.81</c:v>
                </c:pt>
                <c:pt idx="431">
                  <c:v>62.15</c:v>
                </c:pt>
                <c:pt idx="432">
                  <c:v>60.13</c:v>
                </c:pt>
                <c:pt idx="433">
                  <c:v>61.55</c:v>
                </c:pt>
                <c:pt idx="434">
                  <c:v>60.15</c:v>
                </c:pt>
                <c:pt idx="435">
                  <c:v>60.15</c:v>
                </c:pt>
                <c:pt idx="436">
                  <c:v>59.52</c:v>
                </c:pt>
                <c:pt idx="437">
                  <c:v>47.2</c:v>
                </c:pt>
                <c:pt idx="438">
                  <c:v>46.79</c:v>
                </c:pt>
                <c:pt idx="439">
                  <c:v>48.61</c:v>
                </c:pt>
                <c:pt idx="440">
                  <c:v>48.36</c:v>
                </c:pt>
                <c:pt idx="441">
                  <c:v>49.9</c:v>
                </c:pt>
                <c:pt idx="442">
                  <c:v>48.85</c:v>
                </c:pt>
                <c:pt idx="443">
                  <c:v>48.17</c:v>
                </c:pt>
                <c:pt idx="444">
                  <c:v>48.75</c:v>
                </c:pt>
                <c:pt idx="445">
                  <c:v>49</c:v>
                </c:pt>
                <c:pt idx="446">
                  <c:v>48.55</c:v>
                </c:pt>
                <c:pt idx="447">
                  <c:v>48.11</c:v>
                </c:pt>
                <c:pt idx="448">
                  <c:v>49.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769024"/>
        <c:axId val="640303104"/>
      </c:lineChart>
      <c:dateAx>
        <c:axId val="640768000"/>
        <c:scaling>
          <c:orientation val="minMax"/>
          <c:max val="42031"/>
          <c:min val="41648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8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29067712"/>
        <c:crosses val="autoZero"/>
        <c:auto val="1"/>
        <c:lblOffset val="100"/>
        <c:baseTimeUnit val="days"/>
        <c:majorUnit val="30"/>
        <c:majorTimeUnit val="days"/>
        <c:minorUnit val="30"/>
        <c:minorTimeUnit val="days"/>
      </c:dateAx>
      <c:valAx>
        <c:axId val="629067712"/>
        <c:scaling>
          <c:orientation val="minMax"/>
          <c:max val="42000"/>
          <c:min val="2800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5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 рубль / тонна</a:t>
                </a:r>
              </a:p>
            </c:rich>
          </c:tx>
          <c:layout>
            <c:manualLayout>
              <c:xMode val="edge"/>
              <c:yMode val="edge"/>
              <c:x val="3.2659645504009731E-4"/>
              <c:y val="0.2417550817096768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768000"/>
        <c:crosses val="autoZero"/>
        <c:crossBetween val="between"/>
      </c:valAx>
      <c:dateAx>
        <c:axId val="6407690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40303104"/>
        <c:crosses val="autoZero"/>
        <c:auto val="0"/>
        <c:lblOffset val="100"/>
        <c:baseTimeUnit val="days"/>
      </c:dateAx>
      <c:valAx>
        <c:axId val="640303104"/>
        <c:scaling>
          <c:orientation val="minMax"/>
          <c:min val="4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769024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2283411676814957"/>
          <c:y val="0.9182801693583923"/>
          <c:w val="0.52818619964695845"/>
          <c:h val="6.8509301300840986E-2"/>
        </c:manualLayout>
      </c:layout>
      <c:overlay val="0"/>
      <c:txPr>
        <a:bodyPr/>
        <a:lstStyle/>
        <a:p>
          <a:pPr>
            <a:defRPr sz="850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442161321135082E-2"/>
          <c:y val="7.1488353145946745E-2"/>
          <c:w val="0.87769485620489551"/>
          <c:h val="0.88446627623385765"/>
        </c:manualLayout>
      </c:layout>
      <c:lineChart>
        <c:grouping val="standard"/>
        <c:varyColors val="0"/>
        <c:ser>
          <c:idx val="0"/>
          <c:order val="0"/>
          <c:tx>
            <c:strRef>
              <c:f>'[Дневное изменение абсолютных значений MISEX + Fut REG + Fut DTL.xlsx]Волатильность Фьючерсов + ФР РФ'!$H$1</c:f>
              <c:strCache>
                <c:ptCount val="1"/>
                <c:pt idx="0">
                  <c:v>Бензин Регуляр-92</c:v>
                </c:pt>
              </c:strCache>
            </c:strRef>
          </c:tx>
          <c:spPr>
            <a:ln w="41275"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H$3:$H$36</c:f>
              <c:numCache>
                <c:formatCode>0.00</c:formatCode>
                <c:ptCount val="34"/>
                <c:pt idx="0">
                  <c:v>-323</c:v>
                </c:pt>
                <c:pt idx="1">
                  <c:v>325</c:v>
                </c:pt>
                <c:pt idx="2">
                  <c:v>-57</c:v>
                </c:pt>
                <c:pt idx="3">
                  <c:v>-823</c:v>
                </c:pt>
                <c:pt idx="4">
                  <c:v>-448</c:v>
                </c:pt>
                <c:pt idx="5">
                  <c:v>-271</c:v>
                </c:pt>
                <c:pt idx="6">
                  <c:v>-52</c:v>
                </c:pt>
                <c:pt idx="7">
                  <c:v>-384</c:v>
                </c:pt>
                <c:pt idx="8">
                  <c:v>344</c:v>
                </c:pt>
                <c:pt idx="9">
                  <c:v>-236</c:v>
                </c:pt>
                <c:pt idx="10">
                  <c:v>-637</c:v>
                </c:pt>
                <c:pt idx="11">
                  <c:v>-459</c:v>
                </c:pt>
                <c:pt idx="12">
                  <c:v>-84</c:v>
                </c:pt>
                <c:pt idx="13">
                  <c:v>337</c:v>
                </c:pt>
                <c:pt idx="14">
                  <c:v>537</c:v>
                </c:pt>
                <c:pt idx="15">
                  <c:v>295</c:v>
                </c:pt>
                <c:pt idx="16">
                  <c:v>183</c:v>
                </c:pt>
                <c:pt idx="17">
                  <c:v>-76</c:v>
                </c:pt>
                <c:pt idx="18">
                  <c:v>-219</c:v>
                </c:pt>
                <c:pt idx="19">
                  <c:v>611</c:v>
                </c:pt>
                <c:pt idx="20">
                  <c:v>-176</c:v>
                </c:pt>
                <c:pt idx="21">
                  <c:v>-522</c:v>
                </c:pt>
                <c:pt idx="22">
                  <c:v>-465</c:v>
                </c:pt>
                <c:pt idx="23">
                  <c:v>-407</c:v>
                </c:pt>
                <c:pt idx="24">
                  <c:v>-193</c:v>
                </c:pt>
                <c:pt idx="25">
                  <c:v>-246</c:v>
                </c:pt>
                <c:pt idx="26">
                  <c:v>-908</c:v>
                </c:pt>
                <c:pt idx="27">
                  <c:v>-948</c:v>
                </c:pt>
                <c:pt idx="28">
                  <c:v>118</c:v>
                </c:pt>
                <c:pt idx="29">
                  <c:v>684</c:v>
                </c:pt>
                <c:pt idx="30">
                  <c:v>421</c:v>
                </c:pt>
                <c:pt idx="31">
                  <c:v>62</c:v>
                </c:pt>
                <c:pt idx="32">
                  <c:v>-134</c:v>
                </c:pt>
                <c:pt idx="33">
                  <c:v>-41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Дневное изменение абсолютных значений MISEX + Fut REG + Fut DTL.xlsx]Волатильность Фьючерсов + ФР РФ'!$I$1</c:f>
              <c:strCache>
                <c:ptCount val="1"/>
                <c:pt idx="0">
                  <c:v>Дизель</c:v>
                </c:pt>
              </c:strCache>
            </c:strRef>
          </c:tx>
          <c:spPr>
            <a:ln w="41275">
              <a:solidFill>
                <a:srgbClr val="7030A0"/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I$3:$I$36</c:f>
              <c:numCache>
                <c:formatCode>0.00</c:formatCode>
                <c:ptCount val="34"/>
                <c:pt idx="0">
                  <c:v>-211</c:v>
                </c:pt>
                <c:pt idx="1">
                  <c:v>359</c:v>
                </c:pt>
                <c:pt idx="2">
                  <c:v>110</c:v>
                </c:pt>
                <c:pt idx="3">
                  <c:v>-211</c:v>
                </c:pt>
                <c:pt idx="4">
                  <c:v>-72</c:v>
                </c:pt>
                <c:pt idx="5">
                  <c:v>-16</c:v>
                </c:pt>
                <c:pt idx="6">
                  <c:v>-96</c:v>
                </c:pt>
                <c:pt idx="7">
                  <c:v>-98</c:v>
                </c:pt>
                <c:pt idx="8">
                  <c:v>-2</c:v>
                </c:pt>
                <c:pt idx="9">
                  <c:v>-450</c:v>
                </c:pt>
                <c:pt idx="10">
                  <c:v>-360</c:v>
                </c:pt>
                <c:pt idx="11">
                  <c:v>-185</c:v>
                </c:pt>
                <c:pt idx="12">
                  <c:v>-917</c:v>
                </c:pt>
                <c:pt idx="13">
                  <c:v>-112</c:v>
                </c:pt>
                <c:pt idx="14">
                  <c:v>201</c:v>
                </c:pt>
                <c:pt idx="15">
                  <c:v>180</c:v>
                </c:pt>
                <c:pt idx="16">
                  <c:v>277</c:v>
                </c:pt>
                <c:pt idx="17">
                  <c:v>-257</c:v>
                </c:pt>
                <c:pt idx="18">
                  <c:v>-165</c:v>
                </c:pt>
                <c:pt idx="19">
                  <c:v>87</c:v>
                </c:pt>
                <c:pt idx="20">
                  <c:v>-215</c:v>
                </c:pt>
                <c:pt idx="21">
                  <c:v>-213</c:v>
                </c:pt>
                <c:pt idx="22">
                  <c:v>-732</c:v>
                </c:pt>
                <c:pt idx="23">
                  <c:v>-331</c:v>
                </c:pt>
                <c:pt idx="24">
                  <c:v>-235</c:v>
                </c:pt>
                <c:pt idx="25">
                  <c:v>-664</c:v>
                </c:pt>
                <c:pt idx="26">
                  <c:v>-889</c:v>
                </c:pt>
                <c:pt idx="27">
                  <c:v>-809</c:v>
                </c:pt>
                <c:pt idx="28">
                  <c:v>-496</c:v>
                </c:pt>
                <c:pt idx="29">
                  <c:v>51</c:v>
                </c:pt>
                <c:pt idx="30">
                  <c:v>-175</c:v>
                </c:pt>
                <c:pt idx="31">
                  <c:v>214</c:v>
                </c:pt>
                <c:pt idx="32">
                  <c:v>119</c:v>
                </c:pt>
                <c:pt idx="33">
                  <c:v>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617984"/>
        <c:axId val="640304256"/>
      </c:lineChart>
      <c:lineChart>
        <c:grouping val="standard"/>
        <c:varyColors val="0"/>
        <c:ser>
          <c:idx val="1"/>
          <c:order val="1"/>
          <c:tx>
            <c:strRef>
              <c:f>'[Дневное изменение абсолютных значений MISEX + Fut REG + Fut DTL.xlsx]Волатильность Фьючерсов + ФР РФ'!$G$1</c:f>
              <c:strCache>
                <c:ptCount val="1"/>
                <c:pt idx="0">
                  <c:v>Индекс Фондового рынка</c:v>
                </c:pt>
              </c:strCache>
            </c:strRef>
          </c:tx>
          <c:spPr>
            <a:ln w="41275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G$3:$G$36</c:f>
              <c:numCache>
                <c:formatCode>0.00</c:formatCode>
                <c:ptCount val="34"/>
                <c:pt idx="0">
                  <c:v>4.7399999999997817</c:v>
                </c:pt>
                <c:pt idx="1">
                  <c:v>23.720000000000027</c:v>
                </c:pt>
                <c:pt idx="2">
                  <c:v>-24.759999999999991</c:v>
                </c:pt>
                <c:pt idx="3">
                  <c:v>-52.879999999999882</c:v>
                </c:pt>
                <c:pt idx="4">
                  <c:v>-47.930000000000064</c:v>
                </c:pt>
                <c:pt idx="5">
                  <c:v>-6.0499999999999545</c:v>
                </c:pt>
                <c:pt idx="6">
                  <c:v>11.629999999999882</c:v>
                </c:pt>
                <c:pt idx="7">
                  <c:v>-31.809999999999945</c:v>
                </c:pt>
                <c:pt idx="8">
                  <c:v>4.6400000000001</c:v>
                </c:pt>
                <c:pt idx="9">
                  <c:v>-34.690000000000055</c:v>
                </c:pt>
                <c:pt idx="10">
                  <c:v>19.329999999999927</c:v>
                </c:pt>
                <c:pt idx="11">
                  <c:v>-30.529999999999973</c:v>
                </c:pt>
                <c:pt idx="12">
                  <c:v>63.480000000000018</c:v>
                </c:pt>
                <c:pt idx="13">
                  <c:v>-28.139999999999873</c:v>
                </c:pt>
                <c:pt idx="14">
                  <c:v>-12.050000000000182</c:v>
                </c:pt>
                <c:pt idx="15">
                  <c:v>-38.879999999999882</c:v>
                </c:pt>
                <c:pt idx="16">
                  <c:v>3.2999999999999545</c:v>
                </c:pt>
                <c:pt idx="17">
                  <c:v>7.0399999999999636</c:v>
                </c:pt>
                <c:pt idx="18">
                  <c:v>9.2599999999999909</c:v>
                </c:pt>
                <c:pt idx="19">
                  <c:v>95.420000000000073</c:v>
                </c:pt>
                <c:pt idx="20">
                  <c:v>19.869999999999891</c:v>
                </c:pt>
                <c:pt idx="21">
                  <c:v>21.370000000000118</c:v>
                </c:pt>
                <c:pt idx="22">
                  <c:v>8.75</c:v>
                </c:pt>
                <c:pt idx="23">
                  <c:v>28.220000000000027</c:v>
                </c:pt>
                <c:pt idx="24">
                  <c:v>-15.029999999999973</c:v>
                </c:pt>
                <c:pt idx="25">
                  <c:v>-5.4300000000000637</c:v>
                </c:pt>
                <c:pt idx="26">
                  <c:v>47.200000000000045</c:v>
                </c:pt>
                <c:pt idx="27">
                  <c:v>48.389999999999873</c:v>
                </c:pt>
                <c:pt idx="28">
                  <c:v>5.2400000000000091</c:v>
                </c:pt>
                <c:pt idx="29">
                  <c:v>-29.430000000000064</c:v>
                </c:pt>
                <c:pt idx="30">
                  <c:v>31.550000000000182</c:v>
                </c:pt>
                <c:pt idx="31">
                  <c:v>-26.210000000000036</c:v>
                </c:pt>
                <c:pt idx="32">
                  <c:v>-8.0599999999999454</c:v>
                </c:pt>
                <c:pt idx="33">
                  <c:v>8.03999999999996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676864"/>
        <c:axId val="640305408"/>
      </c:lineChart>
      <c:catAx>
        <c:axId val="640617984"/>
        <c:scaling>
          <c:orientation val="minMax"/>
        </c:scaling>
        <c:delete val="0"/>
        <c:axPos val="b"/>
        <c:minorGridlines/>
        <c:numFmt formatCode="m/d/yyyy" sourceLinked="1"/>
        <c:majorTickMark val="out"/>
        <c:minorTickMark val="none"/>
        <c:tickLblPos val="low"/>
        <c:txPr>
          <a:bodyPr/>
          <a:lstStyle/>
          <a:p>
            <a:pPr>
              <a:defRPr sz="100"/>
            </a:pPr>
            <a:endParaRPr lang="ru-RU"/>
          </a:p>
        </c:txPr>
        <c:crossAx val="640304256"/>
        <c:crosses val="autoZero"/>
        <c:auto val="0"/>
        <c:lblAlgn val="ctr"/>
        <c:lblOffset val="100"/>
        <c:tickLblSkip val="5"/>
        <c:noMultiLvlLbl val="0"/>
      </c:catAx>
      <c:valAx>
        <c:axId val="640304256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640617984"/>
        <c:crosses val="autoZero"/>
        <c:crossBetween val="between"/>
      </c:valAx>
      <c:valAx>
        <c:axId val="640305408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640676864"/>
        <c:crosses val="max"/>
        <c:crossBetween val="between"/>
      </c:valAx>
      <c:dateAx>
        <c:axId val="64067686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40305408"/>
        <c:crosses val="autoZero"/>
        <c:auto val="1"/>
        <c:lblOffset val="100"/>
        <c:baseTimeUnit val="days"/>
      </c:dateAx>
    </c:plotArea>
    <c:legend>
      <c:legendPos val="r"/>
      <c:layout>
        <c:manualLayout>
          <c:xMode val="edge"/>
          <c:yMode val="edge"/>
          <c:x val="0.10788129995645289"/>
          <c:y val="8.090635432041941E-3"/>
          <c:w val="0.81254111226171166"/>
          <c:h val="8.1042833563330363E-2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066551612555283"/>
          <c:y val="2.74684348666943E-2"/>
          <c:w val="0.79499964203894613"/>
          <c:h val="0.771439695162359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 w="31750">
              <a:solidFill>
                <a:srgbClr val="00206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J$218:$J$1462</c:f>
              <c:numCache>
                <c:formatCode>General</c:formatCode>
                <c:ptCount val="1245"/>
                <c:pt idx="0">
                  <c:v>19521</c:v>
                </c:pt>
                <c:pt idx="1">
                  <c:v>21074</c:v>
                </c:pt>
                <c:pt idx="2">
                  <c:v>20757</c:v>
                </c:pt>
                <c:pt idx="3">
                  <c:v>21517</c:v>
                </c:pt>
                <c:pt idx="4">
                  <c:v>21790</c:v>
                </c:pt>
                <c:pt idx="5">
                  <c:v>22061</c:v>
                </c:pt>
                <c:pt idx="6">
                  <c:v>22069</c:v>
                </c:pt>
                <c:pt idx="7">
                  <c:v>22211</c:v>
                </c:pt>
                <c:pt idx="8">
                  <c:v>22371</c:v>
                </c:pt>
                <c:pt idx="9">
                  <c:v>22279</c:v>
                </c:pt>
                <c:pt idx="10">
                  <c:v>22373</c:v>
                </c:pt>
                <c:pt idx="11">
                  <c:v>21931</c:v>
                </c:pt>
                <c:pt idx="12">
                  <c:v>22338</c:v>
                </c:pt>
                <c:pt idx="13">
                  <c:v>22441</c:v>
                </c:pt>
                <c:pt idx="14">
                  <c:v>22446</c:v>
                </c:pt>
                <c:pt idx="15">
                  <c:v>23061</c:v>
                </c:pt>
                <c:pt idx="16">
                  <c:v>22119</c:v>
                </c:pt>
                <c:pt idx="17">
                  <c:v>23161</c:v>
                </c:pt>
                <c:pt idx="18">
                  <c:v>22819</c:v>
                </c:pt>
                <c:pt idx="19">
                  <c:v>23130</c:v>
                </c:pt>
                <c:pt idx="20">
                  <c:v>23411</c:v>
                </c:pt>
                <c:pt idx="21">
                  <c:v>23571</c:v>
                </c:pt>
                <c:pt idx="22">
                  <c:v>23186</c:v>
                </c:pt>
                <c:pt idx="23">
                  <c:v>22819</c:v>
                </c:pt>
                <c:pt idx="24">
                  <c:v>23561</c:v>
                </c:pt>
                <c:pt idx="25">
                  <c:v>23721</c:v>
                </c:pt>
                <c:pt idx="26">
                  <c:v>23721</c:v>
                </c:pt>
                <c:pt idx="27">
                  <c:v>23411</c:v>
                </c:pt>
                <c:pt idx="28">
                  <c:v>23571</c:v>
                </c:pt>
                <c:pt idx="29">
                  <c:v>22769</c:v>
                </c:pt>
                <c:pt idx="30">
                  <c:v>23311</c:v>
                </c:pt>
                <c:pt idx="31">
                  <c:v>22385</c:v>
                </c:pt>
                <c:pt idx="32">
                  <c:v>22481</c:v>
                </c:pt>
                <c:pt idx="33">
                  <c:v>22558</c:v>
                </c:pt>
                <c:pt idx="34">
                  <c:v>23411</c:v>
                </c:pt>
                <c:pt idx="35">
                  <c:v>22469</c:v>
                </c:pt>
                <c:pt idx="36">
                  <c:v>22544</c:v>
                </c:pt>
                <c:pt idx="37">
                  <c:v>22544</c:v>
                </c:pt>
                <c:pt idx="38">
                  <c:v>22459</c:v>
                </c:pt>
                <c:pt idx="39">
                  <c:v>22769</c:v>
                </c:pt>
                <c:pt idx="40">
                  <c:v>23016</c:v>
                </c:pt>
                <c:pt idx="41">
                  <c:v>23120</c:v>
                </c:pt>
                <c:pt idx="42">
                  <c:v>22819</c:v>
                </c:pt>
                <c:pt idx="43">
                  <c:v>22860</c:v>
                </c:pt>
                <c:pt idx="44">
                  <c:v>22935</c:v>
                </c:pt>
                <c:pt idx="45">
                  <c:v>22935</c:v>
                </c:pt>
                <c:pt idx="46">
                  <c:v>22752</c:v>
                </c:pt>
                <c:pt idx="47">
                  <c:v>22619</c:v>
                </c:pt>
                <c:pt idx="48">
                  <c:v>22950</c:v>
                </c:pt>
                <c:pt idx="49">
                  <c:v>23053</c:v>
                </c:pt>
                <c:pt idx="50">
                  <c:v>23061</c:v>
                </c:pt>
                <c:pt idx="51">
                  <c:v>23179</c:v>
                </c:pt>
                <c:pt idx="52">
                  <c:v>23127</c:v>
                </c:pt>
                <c:pt idx="53">
                  <c:v>23311</c:v>
                </c:pt>
                <c:pt idx="54">
                  <c:v>22932</c:v>
                </c:pt>
                <c:pt idx="55">
                  <c:v>23561</c:v>
                </c:pt>
                <c:pt idx="56">
                  <c:v>23721</c:v>
                </c:pt>
                <c:pt idx="57">
                  <c:v>23561</c:v>
                </c:pt>
                <c:pt idx="58">
                  <c:v>23561</c:v>
                </c:pt>
                <c:pt idx="59">
                  <c:v>23721</c:v>
                </c:pt>
                <c:pt idx="60">
                  <c:v>23711</c:v>
                </c:pt>
                <c:pt idx="61">
                  <c:v>23871</c:v>
                </c:pt>
                <c:pt idx="62">
                  <c:v>24161</c:v>
                </c:pt>
                <c:pt idx="63">
                  <c:v>24261</c:v>
                </c:pt>
                <c:pt idx="64">
                  <c:v>24421</c:v>
                </c:pt>
                <c:pt idx="65">
                  <c:v>24395</c:v>
                </c:pt>
                <c:pt idx="66">
                  <c:v>24513</c:v>
                </c:pt>
                <c:pt idx="67">
                  <c:v>24513</c:v>
                </c:pt>
                <c:pt idx="68">
                  <c:v>24336</c:v>
                </c:pt>
                <c:pt idx="69">
                  <c:v>23981</c:v>
                </c:pt>
                <c:pt idx="70">
                  <c:v>24154</c:v>
                </c:pt>
                <c:pt idx="71">
                  <c:v>24280</c:v>
                </c:pt>
                <c:pt idx="72">
                  <c:v>24460</c:v>
                </c:pt>
                <c:pt idx="73">
                  <c:v>24542</c:v>
                </c:pt>
                <c:pt idx="74">
                  <c:v>24619</c:v>
                </c:pt>
                <c:pt idx="75">
                  <c:v>24461</c:v>
                </c:pt>
                <c:pt idx="76">
                  <c:v>24419</c:v>
                </c:pt>
                <c:pt idx="77">
                  <c:v>24658</c:v>
                </c:pt>
                <c:pt idx="78">
                  <c:v>24724</c:v>
                </c:pt>
                <c:pt idx="79">
                  <c:v>24813</c:v>
                </c:pt>
                <c:pt idx="80">
                  <c:v>25136</c:v>
                </c:pt>
                <c:pt idx="81">
                  <c:v>24791</c:v>
                </c:pt>
                <c:pt idx="82">
                  <c:v>24530</c:v>
                </c:pt>
                <c:pt idx="83">
                  <c:v>24677</c:v>
                </c:pt>
                <c:pt idx="84">
                  <c:v>24680</c:v>
                </c:pt>
                <c:pt idx="85">
                  <c:v>24461</c:v>
                </c:pt>
                <c:pt idx="86">
                  <c:v>24420</c:v>
                </c:pt>
                <c:pt idx="87">
                  <c:v>24319</c:v>
                </c:pt>
                <c:pt idx="88">
                  <c:v>24586</c:v>
                </c:pt>
                <c:pt idx="89">
                  <c:v>24369</c:v>
                </c:pt>
                <c:pt idx="90">
                  <c:v>24562</c:v>
                </c:pt>
                <c:pt idx="91">
                  <c:v>24296</c:v>
                </c:pt>
                <c:pt idx="92">
                  <c:v>24456</c:v>
                </c:pt>
                <c:pt idx="93">
                  <c:v>24211</c:v>
                </c:pt>
                <c:pt idx="94">
                  <c:v>24086</c:v>
                </c:pt>
                <c:pt idx="95">
                  <c:v>23861</c:v>
                </c:pt>
                <c:pt idx="96">
                  <c:v>23861</c:v>
                </c:pt>
                <c:pt idx="97">
                  <c:v>24004</c:v>
                </c:pt>
                <c:pt idx="98">
                  <c:v>24011</c:v>
                </c:pt>
                <c:pt idx="99">
                  <c:v>23820</c:v>
                </c:pt>
                <c:pt idx="100">
                  <c:v>24036</c:v>
                </c:pt>
                <c:pt idx="101">
                  <c:v>23963</c:v>
                </c:pt>
                <c:pt idx="102">
                  <c:v>23959</c:v>
                </c:pt>
                <c:pt idx="103">
                  <c:v>24166</c:v>
                </c:pt>
                <c:pt idx="104">
                  <c:v>24347</c:v>
                </c:pt>
                <c:pt idx="105">
                  <c:v>22982</c:v>
                </c:pt>
                <c:pt idx="106">
                  <c:v>24219</c:v>
                </c:pt>
                <c:pt idx="107">
                  <c:v>24108</c:v>
                </c:pt>
                <c:pt idx="108">
                  <c:v>23997</c:v>
                </c:pt>
                <c:pt idx="109">
                  <c:v>24176</c:v>
                </c:pt>
                <c:pt idx="110">
                  <c:v>24356</c:v>
                </c:pt>
                <c:pt idx="111">
                  <c:v>24648</c:v>
                </c:pt>
                <c:pt idx="112">
                  <c:v>24646</c:v>
                </c:pt>
                <c:pt idx="113">
                  <c:v>24969</c:v>
                </c:pt>
                <c:pt idx="114">
                  <c:v>24806</c:v>
                </c:pt>
                <c:pt idx="115">
                  <c:v>24975</c:v>
                </c:pt>
                <c:pt idx="116">
                  <c:v>24419</c:v>
                </c:pt>
                <c:pt idx="117">
                  <c:v>24838</c:v>
                </c:pt>
                <c:pt idx="118">
                  <c:v>25080</c:v>
                </c:pt>
                <c:pt idx="119">
                  <c:v>24971</c:v>
                </c:pt>
                <c:pt idx="120">
                  <c:v>24725</c:v>
                </c:pt>
                <c:pt idx="121">
                  <c:v>25119</c:v>
                </c:pt>
                <c:pt idx="122">
                  <c:v>24933</c:v>
                </c:pt>
                <c:pt idx="123">
                  <c:v>24989</c:v>
                </c:pt>
                <c:pt idx="124">
                  <c:v>24788</c:v>
                </c:pt>
                <c:pt idx="125">
                  <c:v>24811</c:v>
                </c:pt>
                <c:pt idx="126">
                  <c:v>24619</c:v>
                </c:pt>
                <c:pt idx="127">
                  <c:v>24811</c:v>
                </c:pt>
                <c:pt idx="128">
                  <c:v>24971</c:v>
                </c:pt>
                <c:pt idx="129">
                  <c:v>24744</c:v>
                </c:pt>
                <c:pt idx="130">
                  <c:v>24717</c:v>
                </c:pt>
                <c:pt idx="131">
                  <c:v>24625</c:v>
                </c:pt>
                <c:pt idx="132">
                  <c:v>24535</c:v>
                </c:pt>
                <c:pt idx="133">
                  <c:v>24119</c:v>
                </c:pt>
                <c:pt idx="134">
                  <c:v>24347</c:v>
                </c:pt>
                <c:pt idx="135">
                  <c:v>24472</c:v>
                </c:pt>
                <c:pt idx="136">
                  <c:v>24294</c:v>
                </c:pt>
                <c:pt idx="137">
                  <c:v>24345</c:v>
                </c:pt>
                <c:pt idx="138">
                  <c:v>24029</c:v>
                </c:pt>
                <c:pt idx="139">
                  <c:v>24119</c:v>
                </c:pt>
                <c:pt idx="140">
                  <c:v>24287</c:v>
                </c:pt>
                <c:pt idx="141">
                  <c:v>24119</c:v>
                </c:pt>
                <c:pt idx="142">
                  <c:v>24435</c:v>
                </c:pt>
                <c:pt idx="143">
                  <c:v>24078</c:v>
                </c:pt>
                <c:pt idx="144">
                  <c:v>24193</c:v>
                </c:pt>
                <c:pt idx="145">
                  <c:v>24510</c:v>
                </c:pt>
                <c:pt idx="146">
                  <c:v>24135</c:v>
                </c:pt>
                <c:pt idx="147">
                  <c:v>23999</c:v>
                </c:pt>
                <c:pt idx="148">
                  <c:v>24244</c:v>
                </c:pt>
                <c:pt idx="149">
                  <c:v>24537</c:v>
                </c:pt>
                <c:pt idx="150">
                  <c:v>24249</c:v>
                </c:pt>
                <c:pt idx="151">
                  <c:v>24124</c:v>
                </c:pt>
                <c:pt idx="152">
                  <c:v>24416</c:v>
                </c:pt>
                <c:pt idx="153">
                  <c:v>24394</c:v>
                </c:pt>
                <c:pt idx="154">
                  <c:v>24611</c:v>
                </c:pt>
                <c:pt idx="155">
                  <c:v>24294</c:v>
                </c:pt>
                <c:pt idx="156">
                  <c:v>24294</c:v>
                </c:pt>
                <c:pt idx="157">
                  <c:v>24469</c:v>
                </c:pt>
                <c:pt idx="158">
                  <c:v>24199</c:v>
                </c:pt>
                <c:pt idx="159">
                  <c:v>24411</c:v>
                </c:pt>
                <c:pt idx="160">
                  <c:v>24311</c:v>
                </c:pt>
                <c:pt idx="161">
                  <c:v>23890</c:v>
                </c:pt>
                <c:pt idx="162">
                  <c:v>23994</c:v>
                </c:pt>
                <c:pt idx="163">
                  <c:v>23705</c:v>
                </c:pt>
                <c:pt idx="164">
                  <c:v>23828</c:v>
                </c:pt>
                <c:pt idx="165">
                  <c:v>24261</c:v>
                </c:pt>
                <c:pt idx="166">
                  <c:v>23619</c:v>
                </c:pt>
                <c:pt idx="167">
                  <c:v>23802</c:v>
                </c:pt>
                <c:pt idx="168">
                  <c:v>24019</c:v>
                </c:pt>
                <c:pt idx="169">
                  <c:v>23964</c:v>
                </c:pt>
                <c:pt idx="170">
                  <c:v>24280</c:v>
                </c:pt>
                <c:pt idx="171">
                  <c:v>23847</c:v>
                </c:pt>
                <c:pt idx="172">
                  <c:v>24519</c:v>
                </c:pt>
                <c:pt idx="173">
                  <c:v>24019</c:v>
                </c:pt>
                <c:pt idx="174">
                  <c:v>24387</c:v>
                </c:pt>
                <c:pt idx="175">
                  <c:v>24319</c:v>
                </c:pt>
                <c:pt idx="176">
                  <c:v>23723</c:v>
                </c:pt>
                <c:pt idx="177">
                  <c:v>24511</c:v>
                </c:pt>
                <c:pt idx="178">
                  <c:v>24070</c:v>
                </c:pt>
                <c:pt idx="179">
                  <c:v>24146</c:v>
                </c:pt>
                <c:pt idx="180">
                  <c:v>24298</c:v>
                </c:pt>
                <c:pt idx="181">
                  <c:v>24182</c:v>
                </c:pt>
                <c:pt idx="182">
                  <c:v>23952</c:v>
                </c:pt>
                <c:pt idx="183">
                  <c:v>24419</c:v>
                </c:pt>
                <c:pt idx="184">
                  <c:v>24716</c:v>
                </c:pt>
                <c:pt idx="185">
                  <c:v>24676</c:v>
                </c:pt>
                <c:pt idx="186">
                  <c:v>24224</c:v>
                </c:pt>
                <c:pt idx="187">
                  <c:v>24563</c:v>
                </c:pt>
                <c:pt idx="188">
                  <c:v>24492</c:v>
                </c:pt>
                <c:pt idx="189">
                  <c:v>24275</c:v>
                </c:pt>
                <c:pt idx="190">
                  <c:v>24500</c:v>
                </c:pt>
                <c:pt idx="191">
                  <c:v>24538</c:v>
                </c:pt>
                <c:pt idx="192">
                  <c:v>24854</c:v>
                </c:pt>
                <c:pt idx="193">
                  <c:v>24819</c:v>
                </c:pt>
                <c:pt idx="194">
                  <c:v>24490</c:v>
                </c:pt>
                <c:pt idx="195">
                  <c:v>25041</c:v>
                </c:pt>
                <c:pt idx="196">
                  <c:v>24919</c:v>
                </c:pt>
                <c:pt idx="197">
                  <c:v>24687</c:v>
                </c:pt>
                <c:pt idx="198">
                  <c:v>24919</c:v>
                </c:pt>
                <c:pt idx="199">
                  <c:v>24919</c:v>
                </c:pt>
                <c:pt idx="200">
                  <c:v>24956</c:v>
                </c:pt>
                <c:pt idx="201">
                  <c:v>24995</c:v>
                </c:pt>
                <c:pt idx="202">
                  <c:v>25321</c:v>
                </c:pt>
                <c:pt idx="203">
                  <c:v>25019</c:v>
                </c:pt>
                <c:pt idx="204">
                  <c:v>25173</c:v>
                </c:pt>
                <c:pt idx="205">
                  <c:v>24922</c:v>
                </c:pt>
                <c:pt idx="206">
                  <c:v>24619</c:v>
                </c:pt>
                <c:pt idx="207">
                  <c:v>25428</c:v>
                </c:pt>
                <c:pt idx="208">
                  <c:v>24894</c:v>
                </c:pt>
                <c:pt idx="209">
                  <c:v>25219</c:v>
                </c:pt>
                <c:pt idx="210">
                  <c:v>25496</c:v>
                </c:pt>
                <c:pt idx="211">
                  <c:v>24934</c:v>
                </c:pt>
                <c:pt idx="212">
                  <c:v>25245</c:v>
                </c:pt>
                <c:pt idx="213">
                  <c:v>25119</c:v>
                </c:pt>
                <c:pt idx="214">
                  <c:v>25142</c:v>
                </c:pt>
                <c:pt idx="215">
                  <c:v>25119</c:v>
                </c:pt>
                <c:pt idx="216">
                  <c:v>25242</c:v>
                </c:pt>
                <c:pt idx="217">
                  <c:v>24956</c:v>
                </c:pt>
                <c:pt idx="218">
                  <c:v>25217</c:v>
                </c:pt>
                <c:pt idx="219">
                  <c:v>25056</c:v>
                </c:pt>
                <c:pt idx="220">
                  <c:v>24676</c:v>
                </c:pt>
                <c:pt idx="221">
                  <c:v>24997</c:v>
                </c:pt>
                <c:pt idx="222">
                  <c:v>25141</c:v>
                </c:pt>
                <c:pt idx="223">
                  <c:v>25011</c:v>
                </c:pt>
                <c:pt idx="224">
                  <c:v>24403</c:v>
                </c:pt>
                <c:pt idx="225">
                  <c:v>24219</c:v>
                </c:pt>
                <c:pt idx="226">
                  <c:v>24383</c:v>
                </c:pt>
                <c:pt idx="227">
                  <c:v>24536</c:v>
                </c:pt>
                <c:pt idx="228">
                  <c:v>24472</c:v>
                </c:pt>
                <c:pt idx="229">
                  <c:v>25318</c:v>
                </c:pt>
                <c:pt idx="230">
                  <c:v>24719</c:v>
                </c:pt>
                <c:pt idx="231">
                  <c:v>24400</c:v>
                </c:pt>
                <c:pt idx="232">
                  <c:v>24397</c:v>
                </c:pt>
                <c:pt idx="233">
                  <c:v>24955</c:v>
                </c:pt>
                <c:pt idx="234">
                  <c:v>24370</c:v>
                </c:pt>
                <c:pt idx="235">
                  <c:v>25044</c:v>
                </c:pt>
                <c:pt idx="236">
                  <c:v>25284</c:v>
                </c:pt>
                <c:pt idx="237">
                  <c:v>25473</c:v>
                </c:pt>
                <c:pt idx="238">
                  <c:v>25161</c:v>
                </c:pt>
                <c:pt idx="239">
                  <c:v>25019</c:v>
                </c:pt>
                <c:pt idx="240">
                  <c:v>25014</c:v>
                </c:pt>
                <c:pt idx="241">
                  <c:v>24857</c:v>
                </c:pt>
                <c:pt idx="242">
                  <c:v>24939</c:v>
                </c:pt>
                <c:pt idx="243">
                  <c:v>24939</c:v>
                </c:pt>
                <c:pt idx="244">
                  <c:v>24939</c:v>
                </c:pt>
                <c:pt idx="245">
                  <c:v>24939</c:v>
                </c:pt>
                <c:pt idx="246">
                  <c:v>24939</c:v>
                </c:pt>
                <c:pt idx="247">
                  <c:v>24939</c:v>
                </c:pt>
                <c:pt idx="248">
                  <c:v>24939</c:v>
                </c:pt>
                <c:pt idx="249">
                  <c:v>24939</c:v>
                </c:pt>
                <c:pt idx="250">
                  <c:v>25912</c:v>
                </c:pt>
                <c:pt idx="251">
                  <c:v>25428</c:v>
                </c:pt>
                <c:pt idx="252">
                  <c:v>26699</c:v>
                </c:pt>
                <c:pt idx="253">
                  <c:v>26774</c:v>
                </c:pt>
                <c:pt idx="254">
                  <c:v>26945</c:v>
                </c:pt>
                <c:pt idx="255">
                  <c:v>25922</c:v>
                </c:pt>
                <c:pt idx="256">
                  <c:v>27183</c:v>
                </c:pt>
                <c:pt idx="257">
                  <c:v>27352</c:v>
                </c:pt>
                <c:pt idx="258">
                  <c:v>28024</c:v>
                </c:pt>
                <c:pt idx="259">
                  <c:v>27274</c:v>
                </c:pt>
                <c:pt idx="260">
                  <c:v>26974</c:v>
                </c:pt>
                <c:pt idx="261">
                  <c:v>26920</c:v>
                </c:pt>
                <c:pt idx="262">
                  <c:v>27924</c:v>
                </c:pt>
                <c:pt idx="263">
                  <c:v>27944</c:v>
                </c:pt>
                <c:pt idx="264">
                  <c:v>27374</c:v>
                </c:pt>
                <c:pt idx="265">
                  <c:v>26924</c:v>
                </c:pt>
                <c:pt idx="266">
                  <c:v>26944</c:v>
                </c:pt>
                <c:pt idx="267">
                  <c:v>26944</c:v>
                </c:pt>
                <c:pt idx="268">
                  <c:v>27218</c:v>
                </c:pt>
                <c:pt idx="269">
                  <c:v>27271</c:v>
                </c:pt>
                <c:pt idx="270">
                  <c:v>27574</c:v>
                </c:pt>
                <c:pt idx="271">
                  <c:v>27594</c:v>
                </c:pt>
                <c:pt idx="272">
                  <c:v>26181</c:v>
                </c:pt>
                <c:pt idx="273">
                  <c:v>26230</c:v>
                </c:pt>
                <c:pt idx="274">
                  <c:v>26018</c:v>
                </c:pt>
                <c:pt idx="275">
                  <c:v>25918</c:v>
                </c:pt>
                <c:pt idx="276">
                  <c:v>25634</c:v>
                </c:pt>
                <c:pt idx="277">
                  <c:v>25782</c:v>
                </c:pt>
                <c:pt idx="278">
                  <c:v>25719</c:v>
                </c:pt>
                <c:pt idx="279">
                  <c:v>25624</c:v>
                </c:pt>
                <c:pt idx="280">
                  <c:v>25555</c:v>
                </c:pt>
                <c:pt idx="281">
                  <c:v>25721</c:v>
                </c:pt>
                <c:pt idx="282">
                  <c:v>25741</c:v>
                </c:pt>
                <c:pt idx="283">
                  <c:v>25732</c:v>
                </c:pt>
                <c:pt idx="284">
                  <c:v>26492</c:v>
                </c:pt>
                <c:pt idx="285">
                  <c:v>25755</c:v>
                </c:pt>
                <c:pt idx="286">
                  <c:v>25535</c:v>
                </c:pt>
                <c:pt idx="287">
                  <c:v>25571</c:v>
                </c:pt>
                <c:pt idx="288">
                  <c:v>25985</c:v>
                </c:pt>
                <c:pt idx="289">
                  <c:v>25925</c:v>
                </c:pt>
                <c:pt idx="290">
                  <c:v>25927</c:v>
                </c:pt>
                <c:pt idx="291">
                  <c:v>25927</c:v>
                </c:pt>
                <c:pt idx="292">
                  <c:v>25927</c:v>
                </c:pt>
                <c:pt idx="293">
                  <c:v>25802</c:v>
                </c:pt>
                <c:pt idx="294">
                  <c:v>25816</c:v>
                </c:pt>
                <c:pt idx="295">
                  <c:v>25816</c:v>
                </c:pt>
                <c:pt idx="296">
                  <c:v>25816</c:v>
                </c:pt>
                <c:pt idx="297">
                  <c:v>27092</c:v>
                </c:pt>
                <c:pt idx="298">
                  <c:v>26360</c:v>
                </c:pt>
                <c:pt idx="299">
                  <c:v>27092</c:v>
                </c:pt>
                <c:pt idx="300">
                  <c:v>27774</c:v>
                </c:pt>
                <c:pt idx="301">
                  <c:v>27794</c:v>
                </c:pt>
                <c:pt idx="302">
                  <c:v>26613</c:v>
                </c:pt>
                <c:pt idx="303">
                  <c:v>27092</c:v>
                </c:pt>
                <c:pt idx="304">
                  <c:v>27102</c:v>
                </c:pt>
                <c:pt idx="305">
                  <c:v>28094</c:v>
                </c:pt>
                <c:pt idx="306">
                  <c:v>28044</c:v>
                </c:pt>
                <c:pt idx="307">
                  <c:v>27502</c:v>
                </c:pt>
                <c:pt idx="308">
                  <c:v>27606</c:v>
                </c:pt>
                <c:pt idx="309">
                  <c:v>27532</c:v>
                </c:pt>
                <c:pt idx="310">
                  <c:v>28192</c:v>
                </c:pt>
                <c:pt idx="311">
                  <c:v>28412</c:v>
                </c:pt>
                <c:pt idx="312">
                  <c:v>28412</c:v>
                </c:pt>
                <c:pt idx="313">
                  <c:v>28412</c:v>
                </c:pt>
                <c:pt idx="314">
                  <c:v>28412</c:v>
                </c:pt>
                <c:pt idx="315">
                  <c:v>28412</c:v>
                </c:pt>
                <c:pt idx="316">
                  <c:v>28412</c:v>
                </c:pt>
                <c:pt idx="317">
                  <c:v>28412</c:v>
                </c:pt>
                <c:pt idx="318">
                  <c:v>28300</c:v>
                </c:pt>
                <c:pt idx="319">
                  <c:v>29655</c:v>
                </c:pt>
                <c:pt idx="320">
                  <c:v>30857</c:v>
                </c:pt>
                <c:pt idx="321">
                  <c:v>33307</c:v>
                </c:pt>
                <c:pt idx="322">
                  <c:v>30297</c:v>
                </c:pt>
                <c:pt idx="323">
                  <c:v>34200</c:v>
                </c:pt>
                <c:pt idx="324">
                  <c:v>34272</c:v>
                </c:pt>
                <c:pt idx="325">
                  <c:v>34331</c:v>
                </c:pt>
                <c:pt idx="326">
                  <c:v>33383</c:v>
                </c:pt>
                <c:pt idx="327">
                  <c:v>33605</c:v>
                </c:pt>
                <c:pt idx="328">
                  <c:v>33935</c:v>
                </c:pt>
                <c:pt idx="329">
                  <c:v>33972</c:v>
                </c:pt>
                <c:pt idx="330">
                  <c:v>34072</c:v>
                </c:pt>
                <c:pt idx="331">
                  <c:v>34032</c:v>
                </c:pt>
                <c:pt idx="332">
                  <c:v>34117</c:v>
                </c:pt>
                <c:pt idx="333">
                  <c:v>34077</c:v>
                </c:pt>
                <c:pt idx="334">
                  <c:v>33699</c:v>
                </c:pt>
                <c:pt idx="335">
                  <c:v>34057</c:v>
                </c:pt>
                <c:pt idx="336">
                  <c:v>34092</c:v>
                </c:pt>
                <c:pt idx="337">
                  <c:v>33964</c:v>
                </c:pt>
                <c:pt idx="338">
                  <c:v>33992</c:v>
                </c:pt>
                <c:pt idx="339">
                  <c:v>33992</c:v>
                </c:pt>
                <c:pt idx="340">
                  <c:v>33892</c:v>
                </c:pt>
                <c:pt idx="341">
                  <c:v>33912</c:v>
                </c:pt>
                <c:pt idx="342">
                  <c:v>33912</c:v>
                </c:pt>
                <c:pt idx="343">
                  <c:v>33912</c:v>
                </c:pt>
                <c:pt idx="344">
                  <c:v>33912</c:v>
                </c:pt>
                <c:pt idx="345">
                  <c:v>31803</c:v>
                </c:pt>
                <c:pt idx="346">
                  <c:v>31624</c:v>
                </c:pt>
                <c:pt idx="347">
                  <c:v>31778</c:v>
                </c:pt>
                <c:pt idx="348">
                  <c:v>31798</c:v>
                </c:pt>
                <c:pt idx="349">
                  <c:v>31792</c:v>
                </c:pt>
                <c:pt idx="350">
                  <c:v>31799</c:v>
                </c:pt>
                <c:pt idx="351">
                  <c:v>31942</c:v>
                </c:pt>
                <c:pt idx="352">
                  <c:v>31948</c:v>
                </c:pt>
                <c:pt idx="353">
                  <c:v>31968</c:v>
                </c:pt>
                <c:pt idx="354">
                  <c:v>31968</c:v>
                </c:pt>
                <c:pt idx="355">
                  <c:v>31968</c:v>
                </c:pt>
                <c:pt idx="356">
                  <c:v>31968</c:v>
                </c:pt>
                <c:pt idx="357">
                  <c:v>32081</c:v>
                </c:pt>
                <c:pt idx="358">
                  <c:v>31984</c:v>
                </c:pt>
                <c:pt idx="359">
                  <c:v>31993</c:v>
                </c:pt>
                <c:pt idx="360">
                  <c:v>32142</c:v>
                </c:pt>
                <c:pt idx="361">
                  <c:v>32192</c:v>
                </c:pt>
                <c:pt idx="362">
                  <c:v>31995</c:v>
                </c:pt>
                <c:pt idx="363">
                  <c:v>31992</c:v>
                </c:pt>
                <c:pt idx="364">
                  <c:v>31883</c:v>
                </c:pt>
                <c:pt idx="365">
                  <c:v>32042</c:v>
                </c:pt>
                <c:pt idx="366">
                  <c:v>32025</c:v>
                </c:pt>
                <c:pt idx="367">
                  <c:v>32036</c:v>
                </c:pt>
                <c:pt idx="368">
                  <c:v>31714</c:v>
                </c:pt>
                <c:pt idx="369">
                  <c:v>31830</c:v>
                </c:pt>
                <c:pt idx="370">
                  <c:v>32271</c:v>
                </c:pt>
                <c:pt idx="371">
                  <c:v>32271</c:v>
                </c:pt>
                <c:pt idx="372">
                  <c:v>31993</c:v>
                </c:pt>
                <c:pt idx="373">
                  <c:v>32393</c:v>
                </c:pt>
                <c:pt idx="374">
                  <c:v>33285</c:v>
                </c:pt>
                <c:pt idx="375">
                  <c:v>33793</c:v>
                </c:pt>
                <c:pt idx="376">
                  <c:v>33893</c:v>
                </c:pt>
                <c:pt idx="377">
                  <c:v>33650</c:v>
                </c:pt>
                <c:pt idx="378">
                  <c:v>34198</c:v>
                </c:pt>
                <c:pt idx="379">
                  <c:v>34193</c:v>
                </c:pt>
                <c:pt idx="380">
                  <c:v>34513</c:v>
                </c:pt>
                <c:pt idx="381">
                  <c:v>35263</c:v>
                </c:pt>
                <c:pt idx="382">
                  <c:v>35103</c:v>
                </c:pt>
                <c:pt idx="383">
                  <c:v>35109</c:v>
                </c:pt>
                <c:pt idx="384">
                  <c:v>35504</c:v>
                </c:pt>
                <c:pt idx="385">
                  <c:v>35590</c:v>
                </c:pt>
                <c:pt idx="386">
                  <c:v>35421</c:v>
                </c:pt>
                <c:pt idx="387">
                  <c:v>35815</c:v>
                </c:pt>
                <c:pt idx="388">
                  <c:v>35815</c:v>
                </c:pt>
                <c:pt idx="389">
                  <c:v>35893</c:v>
                </c:pt>
                <c:pt idx="390">
                  <c:v>35893</c:v>
                </c:pt>
                <c:pt idx="391">
                  <c:v>35793</c:v>
                </c:pt>
                <c:pt idx="392">
                  <c:v>35793</c:v>
                </c:pt>
                <c:pt idx="393">
                  <c:v>35893</c:v>
                </c:pt>
                <c:pt idx="394">
                  <c:v>35454</c:v>
                </c:pt>
                <c:pt idx="395">
                  <c:v>35454</c:v>
                </c:pt>
                <c:pt idx="396">
                  <c:v>34683</c:v>
                </c:pt>
                <c:pt idx="397">
                  <c:v>34683</c:v>
                </c:pt>
                <c:pt idx="398">
                  <c:v>34683</c:v>
                </c:pt>
                <c:pt idx="399">
                  <c:v>34649</c:v>
                </c:pt>
                <c:pt idx="400">
                  <c:v>34649</c:v>
                </c:pt>
                <c:pt idx="401">
                  <c:v>34693</c:v>
                </c:pt>
                <c:pt idx="402">
                  <c:v>34693</c:v>
                </c:pt>
                <c:pt idx="403">
                  <c:v>34693</c:v>
                </c:pt>
                <c:pt idx="404">
                  <c:v>34830</c:v>
                </c:pt>
                <c:pt idx="405">
                  <c:v>35093</c:v>
                </c:pt>
                <c:pt idx="406">
                  <c:v>34936</c:v>
                </c:pt>
                <c:pt idx="407">
                  <c:v>35101</c:v>
                </c:pt>
                <c:pt idx="408">
                  <c:v>35101</c:v>
                </c:pt>
                <c:pt idx="409">
                  <c:v>35193</c:v>
                </c:pt>
                <c:pt idx="410">
                  <c:v>35183</c:v>
                </c:pt>
                <c:pt idx="411">
                  <c:v>35193</c:v>
                </c:pt>
                <c:pt idx="412">
                  <c:v>34800</c:v>
                </c:pt>
                <c:pt idx="413">
                  <c:v>34800</c:v>
                </c:pt>
                <c:pt idx="414">
                  <c:v>34793</c:v>
                </c:pt>
                <c:pt idx="415">
                  <c:v>34793</c:v>
                </c:pt>
                <c:pt idx="416">
                  <c:v>34295</c:v>
                </c:pt>
                <c:pt idx="417">
                  <c:v>34295</c:v>
                </c:pt>
                <c:pt idx="418">
                  <c:v>34283</c:v>
                </c:pt>
                <c:pt idx="419">
                  <c:v>34283</c:v>
                </c:pt>
                <c:pt idx="420">
                  <c:v>34293</c:v>
                </c:pt>
                <c:pt idx="421">
                  <c:v>34022</c:v>
                </c:pt>
                <c:pt idx="422">
                  <c:v>33993</c:v>
                </c:pt>
                <c:pt idx="423">
                  <c:v>33667</c:v>
                </c:pt>
                <c:pt idx="424">
                  <c:v>33593</c:v>
                </c:pt>
                <c:pt idx="425">
                  <c:v>33808</c:v>
                </c:pt>
                <c:pt idx="426">
                  <c:v>33793</c:v>
                </c:pt>
                <c:pt idx="427">
                  <c:v>33793</c:v>
                </c:pt>
                <c:pt idx="428">
                  <c:v>33480</c:v>
                </c:pt>
                <c:pt idx="429">
                  <c:v>33293</c:v>
                </c:pt>
                <c:pt idx="430">
                  <c:v>32861</c:v>
                </c:pt>
                <c:pt idx="431">
                  <c:v>33193</c:v>
                </c:pt>
                <c:pt idx="432">
                  <c:v>33243</c:v>
                </c:pt>
                <c:pt idx="433">
                  <c:v>33293</c:v>
                </c:pt>
                <c:pt idx="434">
                  <c:v>33026</c:v>
                </c:pt>
                <c:pt idx="435">
                  <c:v>32796</c:v>
                </c:pt>
                <c:pt idx="436">
                  <c:v>32853</c:v>
                </c:pt>
                <c:pt idx="437">
                  <c:v>32822</c:v>
                </c:pt>
                <c:pt idx="438">
                  <c:v>32826</c:v>
                </c:pt>
                <c:pt idx="439">
                  <c:v>32826</c:v>
                </c:pt>
                <c:pt idx="440">
                  <c:v>32893</c:v>
                </c:pt>
                <c:pt idx="441">
                  <c:v>32893</c:v>
                </c:pt>
                <c:pt idx="442">
                  <c:v>32893</c:v>
                </c:pt>
                <c:pt idx="443">
                  <c:v>32893</c:v>
                </c:pt>
                <c:pt idx="444">
                  <c:v>33093</c:v>
                </c:pt>
                <c:pt idx="445">
                  <c:v>33093</c:v>
                </c:pt>
                <c:pt idx="446">
                  <c:v>32893</c:v>
                </c:pt>
                <c:pt idx="447">
                  <c:v>32893</c:v>
                </c:pt>
                <c:pt idx="448">
                  <c:v>32893</c:v>
                </c:pt>
                <c:pt idx="449">
                  <c:v>32893</c:v>
                </c:pt>
                <c:pt idx="450">
                  <c:v>32863</c:v>
                </c:pt>
                <c:pt idx="451">
                  <c:v>32893</c:v>
                </c:pt>
                <c:pt idx="452">
                  <c:v>32793</c:v>
                </c:pt>
                <c:pt idx="453">
                  <c:v>32793</c:v>
                </c:pt>
                <c:pt idx="454">
                  <c:v>32552</c:v>
                </c:pt>
                <c:pt idx="455">
                  <c:v>32552</c:v>
                </c:pt>
                <c:pt idx="456">
                  <c:v>31993</c:v>
                </c:pt>
                <c:pt idx="457">
                  <c:v>32093</c:v>
                </c:pt>
                <c:pt idx="458">
                  <c:v>31593</c:v>
                </c:pt>
                <c:pt idx="459">
                  <c:v>31793</c:v>
                </c:pt>
                <c:pt idx="460">
                  <c:v>31593</c:v>
                </c:pt>
                <c:pt idx="461">
                  <c:v>31393</c:v>
                </c:pt>
                <c:pt idx="462">
                  <c:v>31193</c:v>
                </c:pt>
                <c:pt idx="463">
                  <c:v>30793</c:v>
                </c:pt>
                <c:pt idx="464">
                  <c:v>30718</c:v>
                </c:pt>
                <c:pt idx="465">
                  <c:v>30821</c:v>
                </c:pt>
                <c:pt idx="466">
                  <c:v>30186</c:v>
                </c:pt>
                <c:pt idx="467">
                  <c:v>30293</c:v>
                </c:pt>
                <c:pt idx="468">
                  <c:v>30293</c:v>
                </c:pt>
                <c:pt idx="469">
                  <c:v>29803</c:v>
                </c:pt>
                <c:pt idx="470">
                  <c:v>29609</c:v>
                </c:pt>
                <c:pt idx="471">
                  <c:v>29593</c:v>
                </c:pt>
                <c:pt idx="472">
                  <c:v>29393</c:v>
                </c:pt>
                <c:pt idx="473">
                  <c:v>29328</c:v>
                </c:pt>
                <c:pt idx="474">
                  <c:v>29328</c:v>
                </c:pt>
                <c:pt idx="475">
                  <c:v>28154</c:v>
                </c:pt>
                <c:pt idx="476">
                  <c:v>27954</c:v>
                </c:pt>
                <c:pt idx="477">
                  <c:v>27953</c:v>
                </c:pt>
                <c:pt idx="478">
                  <c:v>27960</c:v>
                </c:pt>
                <c:pt idx="479">
                  <c:v>28343</c:v>
                </c:pt>
                <c:pt idx="480">
                  <c:v>27921</c:v>
                </c:pt>
                <c:pt idx="481">
                  <c:v>28293</c:v>
                </c:pt>
                <c:pt idx="482">
                  <c:v>28393</c:v>
                </c:pt>
                <c:pt idx="483">
                  <c:v>28193</c:v>
                </c:pt>
                <c:pt idx="484">
                  <c:v>28193</c:v>
                </c:pt>
                <c:pt idx="485">
                  <c:v>28393</c:v>
                </c:pt>
                <c:pt idx="486">
                  <c:v>28093</c:v>
                </c:pt>
                <c:pt idx="487">
                  <c:v>28093</c:v>
                </c:pt>
                <c:pt idx="488">
                  <c:v>28093</c:v>
                </c:pt>
                <c:pt idx="489">
                  <c:v>27203</c:v>
                </c:pt>
                <c:pt idx="490">
                  <c:v>27128</c:v>
                </c:pt>
                <c:pt idx="491">
                  <c:v>26664</c:v>
                </c:pt>
                <c:pt idx="492">
                  <c:v>27393</c:v>
                </c:pt>
                <c:pt idx="493">
                  <c:v>27035</c:v>
                </c:pt>
                <c:pt idx="494">
                  <c:v>27003</c:v>
                </c:pt>
                <c:pt idx="495">
                  <c:v>26993</c:v>
                </c:pt>
                <c:pt idx="496">
                  <c:v>26446</c:v>
                </c:pt>
                <c:pt idx="497">
                  <c:v>27044</c:v>
                </c:pt>
                <c:pt idx="498">
                  <c:v>26816</c:v>
                </c:pt>
                <c:pt idx="499">
                  <c:v>27474</c:v>
                </c:pt>
                <c:pt idx="500">
                  <c:v>27458</c:v>
                </c:pt>
                <c:pt idx="501">
                  <c:v>27360</c:v>
                </c:pt>
                <c:pt idx="502">
                  <c:v>27157</c:v>
                </c:pt>
                <c:pt idx="503">
                  <c:v>27150</c:v>
                </c:pt>
                <c:pt idx="504">
                  <c:v>27212</c:v>
                </c:pt>
                <c:pt idx="505">
                  <c:v>27147</c:v>
                </c:pt>
                <c:pt idx="506">
                  <c:v>27147</c:v>
                </c:pt>
                <c:pt idx="507">
                  <c:v>27050</c:v>
                </c:pt>
                <c:pt idx="508">
                  <c:v>26877</c:v>
                </c:pt>
                <c:pt idx="509">
                  <c:v>26845</c:v>
                </c:pt>
                <c:pt idx="510">
                  <c:v>26672</c:v>
                </c:pt>
                <c:pt idx="511">
                  <c:v>26661</c:v>
                </c:pt>
                <c:pt idx="512">
                  <c:v>26339</c:v>
                </c:pt>
                <c:pt idx="513">
                  <c:v>26339</c:v>
                </c:pt>
                <c:pt idx="514">
                  <c:v>26173</c:v>
                </c:pt>
                <c:pt idx="515">
                  <c:v>25541</c:v>
                </c:pt>
                <c:pt idx="516">
                  <c:v>25539</c:v>
                </c:pt>
                <c:pt idx="517">
                  <c:v>25614</c:v>
                </c:pt>
                <c:pt idx="518">
                  <c:v>25689</c:v>
                </c:pt>
                <c:pt idx="519">
                  <c:v>25696</c:v>
                </c:pt>
                <c:pt idx="520">
                  <c:v>25895</c:v>
                </c:pt>
                <c:pt idx="521">
                  <c:v>25603</c:v>
                </c:pt>
                <c:pt idx="522">
                  <c:v>26459</c:v>
                </c:pt>
                <c:pt idx="523">
                  <c:v>26295</c:v>
                </c:pt>
                <c:pt idx="524">
                  <c:v>26361</c:v>
                </c:pt>
                <c:pt idx="525">
                  <c:v>26361</c:v>
                </c:pt>
                <c:pt idx="526">
                  <c:v>27434</c:v>
                </c:pt>
                <c:pt idx="527">
                  <c:v>27804</c:v>
                </c:pt>
                <c:pt idx="528">
                  <c:v>28115</c:v>
                </c:pt>
                <c:pt idx="529">
                  <c:v>28168</c:v>
                </c:pt>
                <c:pt idx="530">
                  <c:v>28590</c:v>
                </c:pt>
                <c:pt idx="531">
                  <c:v>29199</c:v>
                </c:pt>
                <c:pt idx="532">
                  <c:v>29330</c:v>
                </c:pt>
                <c:pt idx="533">
                  <c:v>29433</c:v>
                </c:pt>
                <c:pt idx="534">
                  <c:v>29458</c:v>
                </c:pt>
                <c:pt idx="535">
                  <c:v>29439</c:v>
                </c:pt>
                <c:pt idx="536">
                  <c:v>28839</c:v>
                </c:pt>
                <c:pt idx="537">
                  <c:v>28803</c:v>
                </c:pt>
                <c:pt idx="538">
                  <c:v>28823</c:v>
                </c:pt>
                <c:pt idx="539">
                  <c:v>28818</c:v>
                </c:pt>
                <c:pt idx="540">
                  <c:v>28417</c:v>
                </c:pt>
                <c:pt idx="541">
                  <c:v>28395</c:v>
                </c:pt>
                <c:pt idx="542">
                  <c:v>28799</c:v>
                </c:pt>
                <c:pt idx="543">
                  <c:v>28339</c:v>
                </c:pt>
                <c:pt idx="544">
                  <c:v>28449</c:v>
                </c:pt>
                <c:pt idx="545">
                  <c:v>28844</c:v>
                </c:pt>
                <c:pt idx="546">
                  <c:v>28844</c:v>
                </c:pt>
                <c:pt idx="547">
                  <c:v>28939</c:v>
                </c:pt>
                <c:pt idx="548">
                  <c:v>28959</c:v>
                </c:pt>
                <c:pt idx="549">
                  <c:v>29523</c:v>
                </c:pt>
                <c:pt idx="550">
                  <c:v>30233</c:v>
                </c:pt>
                <c:pt idx="551">
                  <c:v>30905</c:v>
                </c:pt>
                <c:pt idx="552">
                  <c:v>29630</c:v>
                </c:pt>
                <c:pt idx="553">
                  <c:v>30033</c:v>
                </c:pt>
                <c:pt idx="554">
                  <c:v>30901</c:v>
                </c:pt>
                <c:pt idx="555">
                  <c:v>31247</c:v>
                </c:pt>
                <c:pt idx="556">
                  <c:v>31416</c:v>
                </c:pt>
                <c:pt idx="557">
                  <c:v>30229</c:v>
                </c:pt>
                <c:pt idx="558">
                  <c:v>31577</c:v>
                </c:pt>
                <c:pt idx="559">
                  <c:v>31897</c:v>
                </c:pt>
                <c:pt idx="560">
                  <c:v>32261</c:v>
                </c:pt>
                <c:pt idx="561">
                  <c:v>32150</c:v>
                </c:pt>
                <c:pt idx="562">
                  <c:v>32283</c:v>
                </c:pt>
                <c:pt idx="563">
                  <c:v>31965</c:v>
                </c:pt>
                <c:pt idx="564">
                  <c:v>32109</c:v>
                </c:pt>
                <c:pt idx="565">
                  <c:v>32419</c:v>
                </c:pt>
                <c:pt idx="566">
                  <c:v>32658</c:v>
                </c:pt>
                <c:pt idx="567">
                  <c:v>32658</c:v>
                </c:pt>
                <c:pt idx="568">
                  <c:v>32658</c:v>
                </c:pt>
                <c:pt idx="569">
                  <c:v>32119</c:v>
                </c:pt>
                <c:pt idx="570">
                  <c:v>32029</c:v>
                </c:pt>
                <c:pt idx="571">
                  <c:v>30503</c:v>
                </c:pt>
                <c:pt idx="572">
                  <c:v>32882</c:v>
                </c:pt>
                <c:pt idx="573">
                  <c:v>32718</c:v>
                </c:pt>
                <c:pt idx="574">
                  <c:v>32696</c:v>
                </c:pt>
                <c:pt idx="575">
                  <c:v>32739</c:v>
                </c:pt>
                <c:pt idx="576">
                  <c:v>32666</c:v>
                </c:pt>
                <c:pt idx="577">
                  <c:v>32849</c:v>
                </c:pt>
                <c:pt idx="578">
                  <c:v>32832</c:v>
                </c:pt>
                <c:pt idx="579">
                  <c:v>32508</c:v>
                </c:pt>
                <c:pt idx="580">
                  <c:v>32696</c:v>
                </c:pt>
                <c:pt idx="581">
                  <c:v>32692</c:v>
                </c:pt>
                <c:pt idx="582">
                  <c:v>32768</c:v>
                </c:pt>
                <c:pt idx="583">
                  <c:v>32615</c:v>
                </c:pt>
                <c:pt idx="584">
                  <c:v>32534</c:v>
                </c:pt>
                <c:pt idx="585">
                  <c:v>33011</c:v>
                </c:pt>
                <c:pt idx="586">
                  <c:v>32876</c:v>
                </c:pt>
                <c:pt idx="587">
                  <c:v>32498</c:v>
                </c:pt>
                <c:pt idx="588">
                  <c:v>31976</c:v>
                </c:pt>
                <c:pt idx="589">
                  <c:v>32389</c:v>
                </c:pt>
                <c:pt idx="590">
                  <c:v>32388</c:v>
                </c:pt>
                <c:pt idx="591">
                  <c:v>32013</c:v>
                </c:pt>
                <c:pt idx="592">
                  <c:v>32155</c:v>
                </c:pt>
                <c:pt idx="593">
                  <c:v>32449</c:v>
                </c:pt>
                <c:pt idx="594">
                  <c:v>32187</c:v>
                </c:pt>
                <c:pt idx="595">
                  <c:v>32064</c:v>
                </c:pt>
                <c:pt idx="596">
                  <c:v>31773</c:v>
                </c:pt>
                <c:pt idx="597">
                  <c:v>31706</c:v>
                </c:pt>
                <c:pt idx="598">
                  <c:v>31568</c:v>
                </c:pt>
                <c:pt idx="599">
                  <c:v>31741</c:v>
                </c:pt>
                <c:pt idx="600">
                  <c:v>31829</c:v>
                </c:pt>
                <c:pt idx="601">
                  <c:v>31876</c:v>
                </c:pt>
                <c:pt idx="602">
                  <c:v>32026</c:v>
                </c:pt>
                <c:pt idx="603">
                  <c:v>31908</c:v>
                </c:pt>
                <c:pt idx="604">
                  <c:v>31748</c:v>
                </c:pt>
                <c:pt idx="605">
                  <c:v>31677</c:v>
                </c:pt>
                <c:pt idx="606">
                  <c:v>31470</c:v>
                </c:pt>
                <c:pt idx="607">
                  <c:v>31328</c:v>
                </c:pt>
                <c:pt idx="608">
                  <c:v>31489</c:v>
                </c:pt>
                <c:pt idx="609">
                  <c:v>31218</c:v>
                </c:pt>
                <c:pt idx="610">
                  <c:v>30938</c:v>
                </c:pt>
                <c:pt idx="611">
                  <c:v>30862</c:v>
                </c:pt>
                <c:pt idx="612">
                  <c:v>30541</c:v>
                </c:pt>
                <c:pt idx="613">
                  <c:v>30735</c:v>
                </c:pt>
                <c:pt idx="614">
                  <c:v>30624</c:v>
                </c:pt>
                <c:pt idx="615">
                  <c:v>31144</c:v>
                </c:pt>
                <c:pt idx="616">
                  <c:v>31239</c:v>
                </c:pt>
                <c:pt idx="617">
                  <c:v>31742</c:v>
                </c:pt>
                <c:pt idx="618">
                  <c:v>31866</c:v>
                </c:pt>
                <c:pt idx="619">
                  <c:v>31939</c:v>
                </c:pt>
                <c:pt idx="620">
                  <c:v>31919</c:v>
                </c:pt>
                <c:pt idx="621">
                  <c:v>31893</c:v>
                </c:pt>
                <c:pt idx="622">
                  <c:v>31635</c:v>
                </c:pt>
                <c:pt idx="623">
                  <c:v>31600</c:v>
                </c:pt>
                <c:pt idx="624">
                  <c:v>31356</c:v>
                </c:pt>
                <c:pt idx="625">
                  <c:v>31264</c:v>
                </c:pt>
                <c:pt idx="626">
                  <c:v>31209</c:v>
                </c:pt>
                <c:pt idx="627">
                  <c:v>30936</c:v>
                </c:pt>
                <c:pt idx="628">
                  <c:v>30870</c:v>
                </c:pt>
                <c:pt idx="629">
                  <c:v>31154</c:v>
                </c:pt>
                <c:pt idx="630">
                  <c:v>31264</c:v>
                </c:pt>
                <c:pt idx="631">
                  <c:v>31149</c:v>
                </c:pt>
                <c:pt idx="632">
                  <c:v>31221</c:v>
                </c:pt>
                <c:pt idx="633">
                  <c:v>31362</c:v>
                </c:pt>
                <c:pt idx="634">
                  <c:v>31477</c:v>
                </c:pt>
                <c:pt idx="635">
                  <c:v>31280</c:v>
                </c:pt>
                <c:pt idx="636">
                  <c:v>31439</c:v>
                </c:pt>
                <c:pt idx="637">
                  <c:v>31439</c:v>
                </c:pt>
                <c:pt idx="638">
                  <c:v>32086</c:v>
                </c:pt>
                <c:pt idx="639">
                  <c:v>31450</c:v>
                </c:pt>
                <c:pt idx="640">
                  <c:v>31452</c:v>
                </c:pt>
                <c:pt idx="641">
                  <c:v>31598</c:v>
                </c:pt>
                <c:pt idx="642">
                  <c:v>31651</c:v>
                </c:pt>
                <c:pt idx="643">
                  <c:v>31686</c:v>
                </c:pt>
                <c:pt idx="644">
                  <c:v>31357</c:v>
                </c:pt>
                <c:pt idx="645">
                  <c:v>31664</c:v>
                </c:pt>
                <c:pt idx="646">
                  <c:v>31681</c:v>
                </c:pt>
                <c:pt idx="647">
                  <c:v>31529</c:v>
                </c:pt>
                <c:pt idx="648">
                  <c:v>31964</c:v>
                </c:pt>
                <c:pt idx="649">
                  <c:v>31980</c:v>
                </c:pt>
                <c:pt idx="650">
                  <c:v>32013</c:v>
                </c:pt>
                <c:pt idx="651">
                  <c:v>32090</c:v>
                </c:pt>
                <c:pt idx="652">
                  <c:v>31927</c:v>
                </c:pt>
                <c:pt idx="653">
                  <c:v>31992</c:v>
                </c:pt>
                <c:pt idx="654">
                  <c:v>31919</c:v>
                </c:pt>
                <c:pt idx="655">
                  <c:v>32267</c:v>
                </c:pt>
                <c:pt idx="656">
                  <c:v>32247</c:v>
                </c:pt>
                <c:pt idx="657">
                  <c:v>32112</c:v>
                </c:pt>
                <c:pt idx="658">
                  <c:v>32532</c:v>
                </c:pt>
                <c:pt idx="659">
                  <c:v>32931</c:v>
                </c:pt>
                <c:pt idx="660">
                  <c:v>32941</c:v>
                </c:pt>
                <c:pt idx="661">
                  <c:v>33571</c:v>
                </c:pt>
                <c:pt idx="662">
                  <c:v>33895</c:v>
                </c:pt>
                <c:pt idx="663">
                  <c:v>34323</c:v>
                </c:pt>
                <c:pt idx="664">
                  <c:v>34312</c:v>
                </c:pt>
                <c:pt idx="665">
                  <c:v>34385</c:v>
                </c:pt>
                <c:pt idx="666">
                  <c:v>34144</c:v>
                </c:pt>
                <c:pt idx="667">
                  <c:v>33870</c:v>
                </c:pt>
                <c:pt idx="668">
                  <c:v>34460</c:v>
                </c:pt>
                <c:pt idx="669">
                  <c:v>34444</c:v>
                </c:pt>
                <c:pt idx="670">
                  <c:v>34348</c:v>
                </c:pt>
                <c:pt idx="671">
                  <c:v>35055</c:v>
                </c:pt>
                <c:pt idx="672">
                  <c:v>35880</c:v>
                </c:pt>
                <c:pt idx="673">
                  <c:v>35804</c:v>
                </c:pt>
                <c:pt idx="674">
                  <c:v>35607</c:v>
                </c:pt>
                <c:pt idx="675">
                  <c:v>35881</c:v>
                </c:pt>
                <c:pt idx="676">
                  <c:v>35561</c:v>
                </c:pt>
                <c:pt idx="677">
                  <c:v>33353</c:v>
                </c:pt>
                <c:pt idx="678">
                  <c:v>35824</c:v>
                </c:pt>
                <c:pt idx="679">
                  <c:v>36044</c:v>
                </c:pt>
                <c:pt idx="680">
                  <c:v>35814</c:v>
                </c:pt>
                <c:pt idx="681">
                  <c:v>36029</c:v>
                </c:pt>
                <c:pt idx="682">
                  <c:v>36024</c:v>
                </c:pt>
                <c:pt idx="683">
                  <c:v>35677</c:v>
                </c:pt>
                <c:pt idx="684">
                  <c:v>35449</c:v>
                </c:pt>
                <c:pt idx="685">
                  <c:v>35365</c:v>
                </c:pt>
                <c:pt idx="686">
                  <c:v>35015</c:v>
                </c:pt>
                <c:pt idx="687">
                  <c:v>35228</c:v>
                </c:pt>
                <c:pt idx="688">
                  <c:v>35067</c:v>
                </c:pt>
                <c:pt idx="689">
                  <c:v>34535</c:v>
                </c:pt>
                <c:pt idx="690">
                  <c:v>34364</c:v>
                </c:pt>
                <c:pt idx="691">
                  <c:v>34070</c:v>
                </c:pt>
                <c:pt idx="692">
                  <c:v>33906</c:v>
                </c:pt>
                <c:pt idx="693">
                  <c:v>33784</c:v>
                </c:pt>
                <c:pt idx="694">
                  <c:v>34374</c:v>
                </c:pt>
                <c:pt idx="695">
                  <c:v>33584</c:v>
                </c:pt>
                <c:pt idx="696">
                  <c:v>33518</c:v>
                </c:pt>
                <c:pt idx="697">
                  <c:v>32863</c:v>
                </c:pt>
                <c:pt idx="698">
                  <c:v>33674</c:v>
                </c:pt>
                <c:pt idx="699">
                  <c:v>33690</c:v>
                </c:pt>
                <c:pt idx="700">
                  <c:v>33547</c:v>
                </c:pt>
                <c:pt idx="701">
                  <c:v>33210</c:v>
                </c:pt>
                <c:pt idx="702">
                  <c:v>33112</c:v>
                </c:pt>
                <c:pt idx="703">
                  <c:v>33009</c:v>
                </c:pt>
                <c:pt idx="704">
                  <c:v>33148</c:v>
                </c:pt>
                <c:pt idx="705">
                  <c:v>33197</c:v>
                </c:pt>
                <c:pt idx="706">
                  <c:v>33008</c:v>
                </c:pt>
                <c:pt idx="707">
                  <c:v>33172</c:v>
                </c:pt>
                <c:pt idx="708">
                  <c:v>33231</c:v>
                </c:pt>
                <c:pt idx="709">
                  <c:v>33216</c:v>
                </c:pt>
                <c:pt idx="710">
                  <c:v>32746</c:v>
                </c:pt>
                <c:pt idx="711">
                  <c:v>33037</c:v>
                </c:pt>
                <c:pt idx="712">
                  <c:v>32149</c:v>
                </c:pt>
                <c:pt idx="713">
                  <c:v>31937</c:v>
                </c:pt>
                <c:pt idx="714">
                  <c:v>31944</c:v>
                </c:pt>
                <c:pt idx="715">
                  <c:v>32065</c:v>
                </c:pt>
                <c:pt idx="716">
                  <c:v>31732</c:v>
                </c:pt>
                <c:pt idx="717">
                  <c:v>31509</c:v>
                </c:pt>
                <c:pt idx="718">
                  <c:v>31522</c:v>
                </c:pt>
                <c:pt idx="719">
                  <c:v>31442</c:v>
                </c:pt>
                <c:pt idx="720">
                  <c:v>31498</c:v>
                </c:pt>
                <c:pt idx="721">
                  <c:v>31499</c:v>
                </c:pt>
                <c:pt idx="722">
                  <c:v>31347</c:v>
                </c:pt>
                <c:pt idx="723">
                  <c:v>30817</c:v>
                </c:pt>
                <c:pt idx="724">
                  <c:v>30563</c:v>
                </c:pt>
                <c:pt idx="725">
                  <c:v>30444</c:v>
                </c:pt>
                <c:pt idx="726">
                  <c:v>30773</c:v>
                </c:pt>
                <c:pt idx="727">
                  <c:v>31209</c:v>
                </c:pt>
                <c:pt idx="728">
                  <c:v>29634</c:v>
                </c:pt>
                <c:pt idx="729">
                  <c:v>28851</c:v>
                </c:pt>
                <c:pt idx="730">
                  <c:v>28253</c:v>
                </c:pt>
                <c:pt idx="731">
                  <c:v>27930</c:v>
                </c:pt>
                <c:pt idx="732">
                  <c:v>27946</c:v>
                </c:pt>
                <c:pt idx="733">
                  <c:v>27831</c:v>
                </c:pt>
                <c:pt idx="734">
                  <c:v>27958</c:v>
                </c:pt>
                <c:pt idx="735">
                  <c:v>27631</c:v>
                </c:pt>
                <c:pt idx="736">
                  <c:v>27458</c:v>
                </c:pt>
                <c:pt idx="737">
                  <c:v>27605</c:v>
                </c:pt>
                <c:pt idx="738">
                  <c:v>27591</c:v>
                </c:pt>
                <c:pt idx="739">
                  <c:v>27628</c:v>
                </c:pt>
                <c:pt idx="740">
                  <c:v>27832</c:v>
                </c:pt>
                <c:pt idx="741">
                  <c:v>27992</c:v>
                </c:pt>
                <c:pt idx="742">
                  <c:v>28604</c:v>
                </c:pt>
                <c:pt idx="743">
                  <c:v>28904</c:v>
                </c:pt>
                <c:pt idx="744">
                  <c:v>28311</c:v>
                </c:pt>
                <c:pt idx="745">
                  <c:v>28599</c:v>
                </c:pt>
                <c:pt idx="746">
                  <c:v>29730</c:v>
                </c:pt>
                <c:pt idx="747">
                  <c:v>30637</c:v>
                </c:pt>
                <c:pt idx="748">
                  <c:v>30731</c:v>
                </c:pt>
                <c:pt idx="749">
                  <c:v>30494</c:v>
                </c:pt>
                <c:pt idx="750">
                  <c:v>30418</c:v>
                </c:pt>
                <c:pt idx="751">
                  <c:v>30500</c:v>
                </c:pt>
                <c:pt idx="752">
                  <c:v>30532</c:v>
                </c:pt>
                <c:pt idx="753">
                  <c:v>30389</c:v>
                </c:pt>
                <c:pt idx="754">
                  <c:v>30317</c:v>
                </c:pt>
                <c:pt idx="755">
                  <c:v>30344</c:v>
                </c:pt>
                <c:pt idx="756">
                  <c:v>30393</c:v>
                </c:pt>
                <c:pt idx="757">
                  <c:v>30270</c:v>
                </c:pt>
                <c:pt idx="758">
                  <c:v>30318</c:v>
                </c:pt>
                <c:pt idx="759">
                  <c:v>30593</c:v>
                </c:pt>
                <c:pt idx="760">
                  <c:v>30570</c:v>
                </c:pt>
                <c:pt idx="761">
                  <c:v>30956</c:v>
                </c:pt>
                <c:pt idx="762">
                  <c:v>31185</c:v>
                </c:pt>
                <c:pt idx="763">
                  <c:v>31455</c:v>
                </c:pt>
                <c:pt idx="764">
                  <c:v>31682</c:v>
                </c:pt>
                <c:pt idx="765">
                  <c:v>31681</c:v>
                </c:pt>
                <c:pt idx="766">
                  <c:v>31983</c:v>
                </c:pt>
                <c:pt idx="767">
                  <c:v>31970</c:v>
                </c:pt>
                <c:pt idx="768">
                  <c:v>31388</c:v>
                </c:pt>
                <c:pt idx="769">
                  <c:v>31613</c:v>
                </c:pt>
                <c:pt idx="770">
                  <c:v>31577</c:v>
                </c:pt>
                <c:pt idx="771">
                  <c:v>31349</c:v>
                </c:pt>
                <c:pt idx="772">
                  <c:v>31353</c:v>
                </c:pt>
                <c:pt idx="773">
                  <c:v>31473</c:v>
                </c:pt>
                <c:pt idx="774">
                  <c:v>31703</c:v>
                </c:pt>
                <c:pt idx="775">
                  <c:v>31460</c:v>
                </c:pt>
                <c:pt idx="776">
                  <c:v>31083</c:v>
                </c:pt>
                <c:pt idx="777">
                  <c:v>31085</c:v>
                </c:pt>
                <c:pt idx="778">
                  <c:v>31076</c:v>
                </c:pt>
                <c:pt idx="779">
                  <c:v>30854</c:v>
                </c:pt>
                <c:pt idx="780">
                  <c:v>30995</c:v>
                </c:pt>
                <c:pt idx="781">
                  <c:v>30793</c:v>
                </c:pt>
                <c:pt idx="782">
                  <c:v>30763</c:v>
                </c:pt>
                <c:pt idx="783">
                  <c:v>30926</c:v>
                </c:pt>
                <c:pt idx="784">
                  <c:v>30733</c:v>
                </c:pt>
                <c:pt idx="785">
                  <c:v>30548</c:v>
                </c:pt>
                <c:pt idx="786">
                  <c:v>30131</c:v>
                </c:pt>
                <c:pt idx="787">
                  <c:v>29930</c:v>
                </c:pt>
                <c:pt idx="788">
                  <c:v>30484</c:v>
                </c:pt>
                <c:pt idx="789">
                  <c:v>30209</c:v>
                </c:pt>
                <c:pt idx="790">
                  <c:v>30086</c:v>
                </c:pt>
                <c:pt idx="791">
                  <c:v>29233</c:v>
                </c:pt>
                <c:pt idx="792">
                  <c:v>30367</c:v>
                </c:pt>
                <c:pt idx="793">
                  <c:v>29637</c:v>
                </c:pt>
                <c:pt idx="794">
                  <c:v>29910</c:v>
                </c:pt>
                <c:pt idx="795">
                  <c:v>29778</c:v>
                </c:pt>
                <c:pt idx="796">
                  <c:v>29695</c:v>
                </c:pt>
                <c:pt idx="797">
                  <c:v>29574</c:v>
                </c:pt>
                <c:pt idx="798">
                  <c:v>29421</c:v>
                </c:pt>
                <c:pt idx="799">
                  <c:v>29505</c:v>
                </c:pt>
                <c:pt idx="800">
                  <c:v>29336</c:v>
                </c:pt>
                <c:pt idx="801">
                  <c:v>29609</c:v>
                </c:pt>
                <c:pt idx="802">
                  <c:v>29825</c:v>
                </c:pt>
                <c:pt idx="803">
                  <c:v>29942</c:v>
                </c:pt>
                <c:pt idx="804">
                  <c:v>29492</c:v>
                </c:pt>
                <c:pt idx="805">
                  <c:v>30099</c:v>
                </c:pt>
                <c:pt idx="806">
                  <c:v>29678</c:v>
                </c:pt>
                <c:pt idx="807">
                  <c:v>30173</c:v>
                </c:pt>
                <c:pt idx="808">
                  <c:v>30193</c:v>
                </c:pt>
                <c:pt idx="809">
                  <c:v>30227</c:v>
                </c:pt>
                <c:pt idx="810">
                  <c:v>30155</c:v>
                </c:pt>
                <c:pt idx="811">
                  <c:v>29168</c:v>
                </c:pt>
                <c:pt idx="812">
                  <c:v>29527</c:v>
                </c:pt>
                <c:pt idx="813">
                  <c:v>28739</c:v>
                </c:pt>
                <c:pt idx="814">
                  <c:v>29543</c:v>
                </c:pt>
                <c:pt idx="815">
                  <c:v>28942</c:v>
                </c:pt>
                <c:pt idx="816">
                  <c:v>29141</c:v>
                </c:pt>
                <c:pt idx="817">
                  <c:v>28593</c:v>
                </c:pt>
                <c:pt idx="818">
                  <c:v>28769</c:v>
                </c:pt>
                <c:pt idx="819">
                  <c:v>28147</c:v>
                </c:pt>
                <c:pt idx="820">
                  <c:v>28718</c:v>
                </c:pt>
                <c:pt idx="821">
                  <c:v>28602</c:v>
                </c:pt>
                <c:pt idx="822">
                  <c:v>28422</c:v>
                </c:pt>
                <c:pt idx="823">
                  <c:v>28471</c:v>
                </c:pt>
                <c:pt idx="824">
                  <c:v>28995</c:v>
                </c:pt>
                <c:pt idx="825">
                  <c:v>29021</c:v>
                </c:pt>
                <c:pt idx="826">
                  <c:v>28877</c:v>
                </c:pt>
                <c:pt idx="827">
                  <c:v>29105</c:v>
                </c:pt>
                <c:pt idx="828">
                  <c:v>29166</c:v>
                </c:pt>
                <c:pt idx="829">
                  <c:v>28711</c:v>
                </c:pt>
                <c:pt idx="830">
                  <c:v>28407</c:v>
                </c:pt>
                <c:pt idx="831">
                  <c:v>28709</c:v>
                </c:pt>
                <c:pt idx="832">
                  <c:v>28724</c:v>
                </c:pt>
                <c:pt idx="833">
                  <c:v>28638</c:v>
                </c:pt>
                <c:pt idx="834">
                  <c:v>29154</c:v>
                </c:pt>
                <c:pt idx="835">
                  <c:v>28806</c:v>
                </c:pt>
                <c:pt idx="836">
                  <c:v>28907</c:v>
                </c:pt>
                <c:pt idx="837">
                  <c:v>28429</c:v>
                </c:pt>
                <c:pt idx="838">
                  <c:v>28733</c:v>
                </c:pt>
                <c:pt idx="839">
                  <c:v>28454</c:v>
                </c:pt>
                <c:pt idx="840">
                  <c:v>28800</c:v>
                </c:pt>
                <c:pt idx="841">
                  <c:v>28997</c:v>
                </c:pt>
                <c:pt idx="842">
                  <c:v>28597</c:v>
                </c:pt>
                <c:pt idx="843">
                  <c:v>28715</c:v>
                </c:pt>
                <c:pt idx="844">
                  <c:v>28768</c:v>
                </c:pt>
                <c:pt idx="845">
                  <c:v>28832</c:v>
                </c:pt>
                <c:pt idx="846">
                  <c:v>28313</c:v>
                </c:pt>
                <c:pt idx="847">
                  <c:v>28465</c:v>
                </c:pt>
                <c:pt idx="848">
                  <c:v>28604</c:v>
                </c:pt>
                <c:pt idx="849">
                  <c:v>28436</c:v>
                </c:pt>
                <c:pt idx="850">
                  <c:v>28875</c:v>
                </c:pt>
                <c:pt idx="851">
                  <c:v>28980</c:v>
                </c:pt>
                <c:pt idx="852">
                  <c:v>28870</c:v>
                </c:pt>
                <c:pt idx="853">
                  <c:v>28870</c:v>
                </c:pt>
                <c:pt idx="854">
                  <c:v>28816</c:v>
                </c:pt>
                <c:pt idx="855">
                  <c:v>28863</c:v>
                </c:pt>
                <c:pt idx="856">
                  <c:v>28846</c:v>
                </c:pt>
                <c:pt idx="857">
                  <c:v>28876</c:v>
                </c:pt>
                <c:pt idx="858">
                  <c:v>28947</c:v>
                </c:pt>
                <c:pt idx="859">
                  <c:v>29052</c:v>
                </c:pt>
                <c:pt idx="860">
                  <c:v>29582</c:v>
                </c:pt>
                <c:pt idx="861">
                  <c:v>29114</c:v>
                </c:pt>
                <c:pt idx="862">
                  <c:v>29525</c:v>
                </c:pt>
                <c:pt idx="863">
                  <c:v>30070</c:v>
                </c:pt>
                <c:pt idx="864">
                  <c:v>30272</c:v>
                </c:pt>
                <c:pt idx="865">
                  <c:v>30496</c:v>
                </c:pt>
                <c:pt idx="866">
                  <c:v>30550</c:v>
                </c:pt>
                <c:pt idx="867">
                  <c:v>31225</c:v>
                </c:pt>
                <c:pt idx="868">
                  <c:v>31305</c:v>
                </c:pt>
                <c:pt idx="869">
                  <c:v>31431</c:v>
                </c:pt>
                <c:pt idx="870">
                  <c:v>31571</c:v>
                </c:pt>
                <c:pt idx="871">
                  <c:v>31954</c:v>
                </c:pt>
                <c:pt idx="872">
                  <c:v>32852</c:v>
                </c:pt>
                <c:pt idx="873">
                  <c:v>33309</c:v>
                </c:pt>
                <c:pt idx="874">
                  <c:v>33510</c:v>
                </c:pt>
                <c:pt idx="875">
                  <c:v>34340</c:v>
                </c:pt>
                <c:pt idx="876">
                  <c:v>34050</c:v>
                </c:pt>
                <c:pt idx="877">
                  <c:v>35320</c:v>
                </c:pt>
                <c:pt idx="878">
                  <c:v>35566</c:v>
                </c:pt>
                <c:pt idx="879">
                  <c:v>35894</c:v>
                </c:pt>
                <c:pt idx="880">
                  <c:v>35916</c:v>
                </c:pt>
                <c:pt idx="881">
                  <c:v>35454</c:v>
                </c:pt>
                <c:pt idx="882">
                  <c:v>36630</c:v>
                </c:pt>
                <c:pt idx="883">
                  <c:v>37891</c:v>
                </c:pt>
                <c:pt idx="884">
                  <c:v>37743</c:v>
                </c:pt>
                <c:pt idx="885">
                  <c:v>34947</c:v>
                </c:pt>
                <c:pt idx="886">
                  <c:v>37381</c:v>
                </c:pt>
                <c:pt idx="887">
                  <c:v>37427</c:v>
                </c:pt>
                <c:pt idx="888">
                  <c:v>36029</c:v>
                </c:pt>
                <c:pt idx="889">
                  <c:v>36810</c:v>
                </c:pt>
                <c:pt idx="890">
                  <c:v>36295</c:v>
                </c:pt>
                <c:pt idx="891">
                  <c:v>36423</c:v>
                </c:pt>
                <c:pt idx="892">
                  <c:v>36084</c:v>
                </c:pt>
                <c:pt idx="893">
                  <c:v>36147</c:v>
                </c:pt>
                <c:pt idx="894">
                  <c:v>35823</c:v>
                </c:pt>
                <c:pt idx="895">
                  <c:v>36095</c:v>
                </c:pt>
                <c:pt idx="896">
                  <c:v>36146</c:v>
                </c:pt>
                <c:pt idx="897">
                  <c:v>36388</c:v>
                </c:pt>
                <c:pt idx="898">
                  <c:v>36622</c:v>
                </c:pt>
                <c:pt idx="899">
                  <c:v>36974</c:v>
                </c:pt>
                <c:pt idx="900">
                  <c:v>37083</c:v>
                </c:pt>
                <c:pt idx="901">
                  <c:v>37009</c:v>
                </c:pt>
                <c:pt idx="902">
                  <c:v>36492</c:v>
                </c:pt>
                <c:pt idx="903">
                  <c:v>36664</c:v>
                </c:pt>
                <c:pt idx="904">
                  <c:v>36725</c:v>
                </c:pt>
                <c:pt idx="905">
                  <c:v>36802</c:v>
                </c:pt>
                <c:pt idx="906">
                  <c:v>36947</c:v>
                </c:pt>
                <c:pt idx="907">
                  <c:v>36836</c:v>
                </c:pt>
                <c:pt idx="908">
                  <c:v>37176</c:v>
                </c:pt>
                <c:pt idx="909">
                  <c:v>37155</c:v>
                </c:pt>
                <c:pt idx="910">
                  <c:v>37043</c:v>
                </c:pt>
                <c:pt idx="911">
                  <c:v>36874</c:v>
                </c:pt>
                <c:pt idx="912">
                  <c:v>36650</c:v>
                </c:pt>
                <c:pt idx="913">
                  <c:v>36717</c:v>
                </c:pt>
                <c:pt idx="914">
                  <c:v>36645</c:v>
                </c:pt>
                <c:pt idx="915">
                  <c:v>35989</c:v>
                </c:pt>
                <c:pt idx="916">
                  <c:v>36141</c:v>
                </c:pt>
                <c:pt idx="917">
                  <c:v>35952</c:v>
                </c:pt>
                <c:pt idx="918">
                  <c:v>35973</c:v>
                </c:pt>
                <c:pt idx="919">
                  <c:v>35432</c:v>
                </c:pt>
                <c:pt idx="920">
                  <c:v>35369</c:v>
                </c:pt>
                <c:pt idx="921">
                  <c:v>35089</c:v>
                </c:pt>
                <c:pt idx="922">
                  <c:v>34996</c:v>
                </c:pt>
                <c:pt idx="923">
                  <c:v>34917</c:v>
                </c:pt>
                <c:pt idx="924">
                  <c:v>34845</c:v>
                </c:pt>
                <c:pt idx="925">
                  <c:v>34741</c:v>
                </c:pt>
                <c:pt idx="926">
                  <c:v>35018</c:v>
                </c:pt>
                <c:pt idx="927">
                  <c:v>34651</c:v>
                </c:pt>
                <c:pt idx="928">
                  <c:v>34589</c:v>
                </c:pt>
                <c:pt idx="929">
                  <c:v>34790</c:v>
                </c:pt>
                <c:pt idx="930">
                  <c:v>34739</c:v>
                </c:pt>
                <c:pt idx="931">
                  <c:v>34550</c:v>
                </c:pt>
                <c:pt idx="932">
                  <c:v>34706</c:v>
                </c:pt>
                <c:pt idx="933">
                  <c:v>34720</c:v>
                </c:pt>
                <c:pt idx="934">
                  <c:v>34540</c:v>
                </c:pt>
                <c:pt idx="935">
                  <c:v>34425</c:v>
                </c:pt>
                <c:pt idx="936">
                  <c:v>34445</c:v>
                </c:pt>
                <c:pt idx="937">
                  <c:v>34490</c:v>
                </c:pt>
                <c:pt idx="938">
                  <c:v>34356</c:v>
                </c:pt>
                <c:pt idx="939">
                  <c:v>34556</c:v>
                </c:pt>
                <c:pt idx="940">
                  <c:v>34391</c:v>
                </c:pt>
                <c:pt idx="941">
                  <c:v>34268</c:v>
                </c:pt>
                <c:pt idx="942">
                  <c:v>34330</c:v>
                </c:pt>
                <c:pt idx="943">
                  <c:v>34142</c:v>
                </c:pt>
                <c:pt idx="944">
                  <c:v>33917</c:v>
                </c:pt>
                <c:pt idx="945">
                  <c:v>33620</c:v>
                </c:pt>
                <c:pt idx="946">
                  <c:v>33480</c:v>
                </c:pt>
                <c:pt idx="947">
                  <c:v>33449</c:v>
                </c:pt>
                <c:pt idx="948">
                  <c:v>33525</c:v>
                </c:pt>
                <c:pt idx="949">
                  <c:v>33540</c:v>
                </c:pt>
                <c:pt idx="950">
                  <c:v>33522</c:v>
                </c:pt>
                <c:pt idx="951">
                  <c:v>33450</c:v>
                </c:pt>
                <c:pt idx="952">
                  <c:v>33290</c:v>
                </c:pt>
                <c:pt idx="953">
                  <c:v>33237</c:v>
                </c:pt>
                <c:pt idx="954">
                  <c:v>33241</c:v>
                </c:pt>
                <c:pt idx="955">
                  <c:v>32883</c:v>
                </c:pt>
                <c:pt idx="956">
                  <c:v>32645</c:v>
                </c:pt>
                <c:pt idx="957">
                  <c:v>32717</c:v>
                </c:pt>
                <c:pt idx="958">
                  <c:v>32440</c:v>
                </c:pt>
                <c:pt idx="959">
                  <c:v>32240</c:v>
                </c:pt>
                <c:pt idx="960">
                  <c:v>31916</c:v>
                </c:pt>
                <c:pt idx="961">
                  <c:v>31692</c:v>
                </c:pt>
                <c:pt idx="962">
                  <c:v>31786</c:v>
                </c:pt>
                <c:pt idx="963">
                  <c:v>31704</c:v>
                </c:pt>
                <c:pt idx="964">
                  <c:v>31520</c:v>
                </c:pt>
                <c:pt idx="965">
                  <c:v>31493</c:v>
                </c:pt>
                <c:pt idx="966">
                  <c:v>31110</c:v>
                </c:pt>
                <c:pt idx="967">
                  <c:v>31113</c:v>
                </c:pt>
                <c:pt idx="968">
                  <c:v>31226</c:v>
                </c:pt>
                <c:pt idx="969">
                  <c:v>31526</c:v>
                </c:pt>
                <c:pt idx="970">
                  <c:v>31218</c:v>
                </c:pt>
                <c:pt idx="971">
                  <c:v>31224</c:v>
                </c:pt>
                <c:pt idx="972">
                  <c:v>31383</c:v>
                </c:pt>
                <c:pt idx="973">
                  <c:v>31464</c:v>
                </c:pt>
                <c:pt idx="974">
                  <c:v>31584</c:v>
                </c:pt>
                <c:pt idx="975">
                  <c:v>31248</c:v>
                </c:pt>
                <c:pt idx="976">
                  <c:v>31245</c:v>
                </c:pt>
                <c:pt idx="977">
                  <c:v>31296</c:v>
                </c:pt>
                <c:pt idx="978">
                  <c:v>31353</c:v>
                </c:pt>
                <c:pt idx="979">
                  <c:v>31228</c:v>
                </c:pt>
                <c:pt idx="980">
                  <c:v>31141</c:v>
                </c:pt>
                <c:pt idx="981">
                  <c:v>31005</c:v>
                </c:pt>
                <c:pt idx="982">
                  <c:v>31122</c:v>
                </c:pt>
                <c:pt idx="983">
                  <c:v>31272</c:v>
                </c:pt>
                <c:pt idx="984">
                  <c:v>31163</c:v>
                </c:pt>
                <c:pt idx="985">
                  <c:v>31374</c:v>
                </c:pt>
                <c:pt idx="986">
                  <c:v>31331</c:v>
                </c:pt>
                <c:pt idx="987">
                  <c:v>31491</c:v>
                </c:pt>
                <c:pt idx="988">
                  <c:v>31112</c:v>
                </c:pt>
                <c:pt idx="989">
                  <c:v>30864</c:v>
                </c:pt>
                <c:pt idx="990">
                  <c:v>30991</c:v>
                </c:pt>
                <c:pt idx="991">
                  <c:v>31071</c:v>
                </c:pt>
                <c:pt idx="992">
                  <c:v>31261</c:v>
                </c:pt>
                <c:pt idx="993">
                  <c:v>31280</c:v>
                </c:pt>
                <c:pt idx="994">
                  <c:v>31435</c:v>
                </c:pt>
                <c:pt idx="995">
                  <c:v>31469</c:v>
                </c:pt>
                <c:pt idx="996">
                  <c:v>31529</c:v>
                </c:pt>
                <c:pt idx="997">
                  <c:v>32071</c:v>
                </c:pt>
                <c:pt idx="998">
                  <c:v>32628</c:v>
                </c:pt>
                <c:pt idx="999">
                  <c:v>32964</c:v>
                </c:pt>
                <c:pt idx="1000">
                  <c:v>32539</c:v>
                </c:pt>
                <c:pt idx="1001">
                  <c:v>32482</c:v>
                </c:pt>
                <c:pt idx="1002">
                  <c:v>32710</c:v>
                </c:pt>
                <c:pt idx="1003">
                  <c:v>32911</c:v>
                </c:pt>
                <c:pt idx="1004">
                  <c:v>33207</c:v>
                </c:pt>
                <c:pt idx="1005">
                  <c:v>33247</c:v>
                </c:pt>
                <c:pt idx="1006">
                  <c:v>33128</c:v>
                </c:pt>
                <c:pt idx="1007">
                  <c:v>32967</c:v>
                </c:pt>
                <c:pt idx="1008">
                  <c:v>33024</c:v>
                </c:pt>
                <c:pt idx="1009">
                  <c:v>32957</c:v>
                </c:pt>
                <c:pt idx="1010">
                  <c:v>32878</c:v>
                </c:pt>
                <c:pt idx="1011">
                  <c:v>32788</c:v>
                </c:pt>
                <c:pt idx="1012">
                  <c:v>32752</c:v>
                </c:pt>
                <c:pt idx="1013">
                  <c:v>32727</c:v>
                </c:pt>
                <c:pt idx="1014">
                  <c:v>32859</c:v>
                </c:pt>
                <c:pt idx="1015">
                  <c:v>33150</c:v>
                </c:pt>
                <c:pt idx="1016">
                  <c:v>33369</c:v>
                </c:pt>
                <c:pt idx="1017">
                  <c:v>33448</c:v>
                </c:pt>
                <c:pt idx="1018">
                  <c:v>33857</c:v>
                </c:pt>
                <c:pt idx="1019">
                  <c:v>34151</c:v>
                </c:pt>
                <c:pt idx="1020">
                  <c:v>34188</c:v>
                </c:pt>
                <c:pt idx="1021">
                  <c:v>34219</c:v>
                </c:pt>
                <c:pt idx="1022">
                  <c:v>34035</c:v>
                </c:pt>
                <c:pt idx="1023">
                  <c:v>33634</c:v>
                </c:pt>
                <c:pt idx="1024">
                  <c:v>33955</c:v>
                </c:pt>
                <c:pt idx="1025">
                  <c:v>34206</c:v>
                </c:pt>
                <c:pt idx="1026">
                  <c:v>34587</c:v>
                </c:pt>
                <c:pt idx="1027">
                  <c:v>35311</c:v>
                </c:pt>
                <c:pt idx="1028">
                  <c:v>35868</c:v>
                </c:pt>
                <c:pt idx="1029">
                  <c:v>35467</c:v>
                </c:pt>
                <c:pt idx="1030">
                  <c:v>35479</c:v>
                </c:pt>
                <c:pt idx="1031">
                  <c:v>35583</c:v>
                </c:pt>
                <c:pt idx="1032">
                  <c:v>35534</c:v>
                </c:pt>
                <c:pt idx="1033">
                  <c:v>35446</c:v>
                </c:pt>
                <c:pt idx="1034">
                  <c:v>35476</c:v>
                </c:pt>
                <c:pt idx="1035">
                  <c:v>35365</c:v>
                </c:pt>
                <c:pt idx="1036">
                  <c:v>34818</c:v>
                </c:pt>
                <c:pt idx="1037">
                  <c:v>34668</c:v>
                </c:pt>
                <c:pt idx="1038">
                  <c:v>34689</c:v>
                </c:pt>
                <c:pt idx="1039">
                  <c:v>34702</c:v>
                </c:pt>
                <c:pt idx="1040">
                  <c:v>34667</c:v>
                </c:pt>
                <c:pt idx="1041">
                  <c:v>34706</c:v>
                </c:pt>
                <c:pt idx="1042">
                  <c:v>34833</c:v>
                </c:pt>
                <c:pt idx="1043">
                  <c:v>34935</c:v>
                </c:pt>
                <c:pt idx="1044">
                  <c:v>34921</c:v>
                </c:pt>
                <c:pt idx="1045">
                  <c:v>35000</c:v>
                </c:pt>
                <c:pt idx="1046">
                  <c:v>35270</c:v>
                </c:pt>
                <c:pt idx="1047">
                  <c:v>35352</c:v>
                </c:pt>
                <c:pt idx="1048">
                  <c:v>35338</c:v>
                </c:pt>
                <c:pt idx="1049">
                  <c:v>35457</c:v>
                </c:pt>
                <c:pt idx="1050">
                  <c:v>35229</c:v>
                </c:pt>
                <c:pt idx="1051">
                  <c:v>35158</c:v>
                </c:pt>
                <c:pt idx="1052">
                  <c:v>35269</c:v>
                </c:pt>
                <c:pt idx="1053">
                  <c:v>35241</c:v>
                </c:pt>
                <c:pt idx="1054">
                  <c:v>35200</c:v>
                </c:pt>
                <c:pt idx="1055">
                  <c:v>35145</c:v>
                </c:pt>
                <c:pt idx="1056">
                  <c:v>35010</c:v>
                </c:pt>
                <c:pt idx="1057">
                  <c:v>34811</c:v>
                </c:pt>
                <c:pt idx="1058">
                  <c:v>34686</c:v>
                </c:pt>
                <c:pt idx="1059">
                  <c:v>34824</c:v>
                </c:pt>
                <c:pt idx="1060">
                  <c:v>34750</c:v>
                </c:pt>
                <c:pt idx="1061">
                  <c:v>34534</c:v>
                </c:pt>
                <c:pt idx="1062">
                  <c:v>34553</c:v>
                </c:pt>
                <c:pt idx="1063">
                  <c:v>34534</c:v>
                </c:pt>
                <c:pt idx="1064">
                  <c:v>34570</c:v>
                </c:pt>
                <c:pt idx="1065">
                  <c:v>34550</c:v>
                </c:pt>
                <c:pt idx="1066">
                  <c:v>34600</c:v>
                </c:pt>
                <c:pt idx="1067">
                  <c:v>34554</c:v>
                </c:pt>
                <c:pt idx="1068">
                  <c:v>34259</c:v>
                </c:pt>
                <c:pt idx="1069">
                  <c:v>34601</c:v>
                </c:pt>
                <c:pt idx="1070">
                  <c:v>34424</c:v>
                </c:pt>
                <c:pt idx="1071">
                  <c:v>34427</c:v>
                </c:pt>
                <c:pt idx="1072">
                  <c:v>34841</c:v>
                </c:pt>
                <c:pt idx="1073">
                  <c:v>35048</c:v>
                </c:pt>
                <c:pt idx="1074">
                  <c:v>35165</c:v>
                </c:pt>
                <c:pt idx="1075">
                  <c:v>35406</c:v>
                </c:pt>
                <c:pt idx="1076">
                  <c:v>35446</c:v>
                </c:pt>
                <c:pt idx="1077">
                  <c:v>35567</c:v>
                </c:pt>
                <c:pt idx="1078">
                  <c:v>35393</c:v>
                </c:pt>
                <c:pt idx="1079">
                  <c:v>35425</c:v>
                </c:pt>
                <c:pt idx="1080">
                  <c:v>35674</c:v>
                </c:pt>
                <c:pt idx="1081">
                  <c:v>35736</c:v>
                </c:pt>
                <c:pt idx="1082">
                  <c:v>35678</c:v>
                </c:pt>
                <c:pt idx="1083">
                  <c:v>35652</c:v>
                </c:pt>
                <c:pt idx="1084">
                  <c:v>35672</c:v>
                </c:pt>
                <c:pt idx="1085">
                  <c:v>35775</c:v>
                </c:pt>
                <c:pt idx="1086">
                  <c:v>35915</c:v>
                </c:pt>
                <c:pt idx="1087">
                  <c:v>36059</c:v>
                </c:pt>
                <c:pt idx="1088">
                  <c:v>36105</c:v>
                </c:pt>
                <c:pt idx="1089">
                  <c:v>36133</c:v>
                </c:pt>
                <c:pt idx="1090">
                  <c:v>36219</c:v>
                </c:pt>
                <c:pt idx="1091">
                  <c:v>36262</c:v>
                </c:pt>
                <c:pt idx="1092">
                  <c:v>36069</c:v>
                </c:pt>
                <c:pt idx="1093">
                  <c:v>36308</c:v>
                </c:pt>
                <c:pt idx="1094">
                  <c:v>36326</c:v>
                </c:pt>
                <c:pt idx="1095">
                  <c:v>36461</c:v>
                </c:pt>
                <c:pt idx="1096">
                  <c:v>36952</c:v>
                </c:pt>
                <c:pt idx="1097">
                  <c:v>37461</c:v>
                </c:pt>
                <c:pt idx="1098">
                  <c:v>37846</c:v>
                </c:pt>
                <c:pt idx="1099">
                  <c:v>38259</c:v>
                </c:pt>
                <c:pt idx="1100">
                  <c:v>37914</c:v>
                </c:pt>
                <c:pt idx="1101">
                  <c:v>37861</c:v>
                </c:pt>
                <c:pt idx="1102">
                  <c:v>38002</c:v>
                </c:pt>
                <c:pt idx="1103">
                  <c:v>38190</c:v>
                </c:pt>
                <c:pt idx="1104">
                  <c:v>38315</c:v>
                </c:pt>
                <c:pt idx="1105">
                  <c:v>38454</c:v>
                </c:pt>
                <c:pt idx="1106">
                  <c:v>38314</c:v>
                </c:pt>
                <c:pt idx="1107">
                  <c:v>38426</c:v>
                </c:pt>
                <c:pt idx="1108">
                  <c:v>38651</c:v>
                </c:pt>
                <c:pt idx="1109">
                  <c:v>38760</c:v>
                </c:pt>
                <c:pt idx="1110">
                  <c:v>39003</c:v>
                </c:pt>
                <c:pt idx="1111">
                  <c:v>39256</c:v>
                </c:pt>
                <c:pt idx="1112">
                  <c:v>39500</c:v>
                </c:pt>
                <c:pt idx="1113">
                  <c:v>39759</c:v>
                </c:pt>
                <c:pt idx="1114">
                  <c:v>39371</c:v>
                </c:pt>
                <c:pt idx="1115">
                  <c:v>39016</c:v>
                </c:pt>
                <c:pt idx="1116">
                  <c:v>38912</c:v>
                </c:pt>
                <c:pt idx="1117">
                  <c:v>38729</c:v>
                </c:pt>
                <c:pt idx="1118">
                  <c:v>38650</c:v>
                </c:pt>
                <c:pt idx="1119">
                  <c:v>38735</c:v>
                </c:pt>
                <c:pt idx="1120">
                  <c:v>38705</c:v>
                </c:pt>
                <c:pt idx="1121">
                  <c:v>38787</c:v>
                </c:pt>
                <c:pt idx="1122">
                  <c:v>39071</c:v>
                </c:pt>
                <c:pt idx="1123">
                  <c:v>39157</c:v>
                </c:pt>
                <c:pt idx="1124">
                  <c:v>39344</c:v>
                </c:pt>
                <c:pt idx="1125">
                  <c:v>39400</c:v>
                </c:pt>
                <c:pt idx="1126">
                  <c:v>39686</c:v>
                </c:pt>
                <c:pt idx="1127">
                  <c:v>39834</c:v>
                </c:pt>
                <c:pt idx="1128">
                  <c:v>40114</c:v>
                </c:pt>
                <c:pt idx="1129">
                  <c:v>40011</c:v>
                </c:pt>
                <c:pt idx="1130">
                  <c:v>39864</c:v>
                </c:pt>
                <c:pt idx="1131">
                  <c:v>39732</c:v>
                </c:pt>
                <c:pt idx="1132">
                  <c:v>39888</c:v>
                </c:pt>
                <c:pt idx="1133">
                  <c:v>39837</c:v>
                </c:pt>
                <c:pt idx="1134">
                  <c:v>39862</c:v>
                </c:pt>
                <c:pt idx="1135">
                  <c:v>39970</c:v>
                </c:pt>
                <c:pt idx="1136">
                  <c:v>39977</c:v>
                </c:pt>
                <c:pt idx="1137">
                  <c:v>39917</c:v>
                </c:pt>
                <c:pt idx="1138">
                  <c:v>39926</c:v>
                </c:pt>
                <c:pt idx="1139">
                  <c:v>40027</c:v>
                </c:pt>
                <c:pt idx="1140">
                  <c:v>40158</c:v>
                </c:pt>
                <c:pt idx="1141">
                  <c:v>40325</c:v>
                </c:pt>
                <c:pt idx="1142">
                  <c:v>40568</c:v>
                </c:pt>
                <c:pt idx="1143">
                  <c:v>40675</c:v>
                </c:pt>
                <c:pt idx="1144">
                  <c:v>40828</c:v>
                </c:pt>
                <c:pt idx="1145">
                  <c:v>40815</c:v>
                </c:pt>
                <c:pt idx="1146">
                  <c:v>40975</c:v>
                </c:pt>
                <c:pt idx="1147">
                  <c:v>41088</c:v>
                </c:pt>
                <c:pt idx="1148">
                  <c:v>40990</c:v>
                </c:pt>
                <c:pt idx="1149">
                  <c:v>41005</c:v>
                </c:pt>
                <c:pt idx="1150">
                  <c:v>41177</c:v>
                </c:pt>
                <c:pt idx="1151">
                  <c:v>41382</c:v>
                </c:pt>
                <c:pt idx="1152">
                  <c:v>41804</c:v>
                </c:pt>
                <c:pt idx="1153">
                  <c:v>41846</c:v>
                </c:pt>
                <c:pt idx="1154">
                  <c:v>41870</c:v>
                </c:pt>
                <c:pt idx="1155">
                  <c:v>41815</c:v>
                </c:pt>
                <c:pt idx="1156">
                  <c:v>41771</c:v>
                </c:pt>
                <c:pt idx="1157">
                  <c:v>41545</c:v>
                </c:pt>
                <c:pt idx="1158">
                  <c:v>41224</c:v>
                </c:pt>
                <c:pt idx="1159">
                  <c:v>41001</c:v>
                </c:pt>
                <c:pt idx="1160">
                  <c:v>41147</c:v>
                </c:pt>
                <c:pt idx="1161">
                  <c:v>41407</c:v>
                </c:pt>
                <c:pt idx="1162">
                  <c:v>41579</c:v>
                </c:pt>
                <c:pt idx="1163">
                  <c:v>41293</c:v>
                </c:pt>
                <c:pt idx="1164">
                  <c:v>41332</c:v>
                </c:pt>
                <c:pt idx="1165">
                  <c:v>41291</c:v>
                </c:pt>
                <c:pt idx="1166">
                  <c:v>41366</c:v>
                </c:pt>
                <c:pt idx="1167">
                  <c:v>41278</c:v>
                </c:pt>
                <c:pt idx="1168">
                  <c:v>41369</c:v>
                </c:pt>
                <c:pt idx="1169">
                  <c:v>41499</c:v>
                </c:pt>
                <c:pt idx="1170">
                  <c:v>41589</c:v>
                </c:pt>
                <c:pt idx="1171">
                  <c:v>41695</c:v>
                </c:pt>
                <c:pt idx="1172">
                  <c:v>41630</c:v>
                </c:pt>
                <c:pt idx="1173">
                  <c:v>41644</c:v>
                </c:pt>
                <c:pt idx="1174">
                  <c:v>41652</c:v>
                </c:pt>
                <c:pt idx="1175">
                  <c:v>41646</c:v>
                </c:pt>
                <c:pt idx="1176">
                  <c:v>41534</c:v>
                </c:pt>
                <c:pt idx="1177">
                  <c:v>41313</c:v>
                </c:pt>
                <c:pt idx="1178">
                  <c:v>41639</c:v>
                </c:pt>
                <c:pt idx="1179">
                  <c:v>41573</c:v>
                </c:pt>
                <c:pt idx="1180">
                  <c:v>41600</c:v>
                </c:pt>
                <c:pt idx="1181">
                  <c:v>41672</c:v>
                </c:pt>
                <c:pt idx="1182">
                  <c:v>41608</c:v>
                </c:pt>
                <c:pt idx="1183">
                  <c:v>41694</c:v>
                </c:pt>
                <c:pt idx="1184">
                  <c:v>41792</c:v>
                </c:pt>
                <c:pt idx="1185">
                  <c:v>41690</c:v>
                </c:pt>
                <c:pt idx="1186">
                  <c:v>41491</c:v>
                </c:pt>
                <c:pt idx="1187">
                  <c:v>41153</c:v>
                </c:pt>
                <c:pt idx="1188">
                  <c:v>40722</c:v>
                </c:pt>
                <c:pt idx="1189">
                  <c:v>40569</c:v>
                </c:pt>
                <c:pt idx="1190">
                  <c:v>40484</c:v>
                </c:pt>
                <c:pt idx="1191">
                  <c:v>40449</c:v>
                </c:pt>
                <c:pt idx="1192">
                  <c:v>40283</c:v>
                </c:pt>
                <c:pt idx="1193">
                  <c:v>40066</c:v>
                </c:pt>
                <c:pt idx="1194">
                  <c:v>39953</c:v>
                </c:pt>
                <c:pt idx="1195">
                  <c:v>40015</c:v>
                </c:pt>
                <c:pt idx="1196">
                  <c:v>40048</c:v>
                </c:pt>
                <c:pt idx="1197">
                  <c:v>39840</c:v>
                </c:pt>
                <c:pt idx="1198">
                  <c:v>39680</c:v>
                </c:pt>
                <c:pt idx="1199">
                  <c:v>39564</c:v>
                </c:pt>
                <c:pt idx="1200">
                  <c:v>39842</c:v>
                </c:pt>
                <c:pt idx="1201">
                  <c:v>39571</c:v>
                </c:pt>
                <c:pt idx="1202">
                  <c:v>38991</c:v>
                </c:pt>
                <c:pt idx="1203">
                  <c:v>38764</c:v>
                </c:pt>
                <c:pt idx="1204">
                  <c:v>38504</c:v>
                </c:pt>
                <c:pt idx="1205">
                  <c:v>38196</c:v>
                </c:pt>
                <c:pt idx="1206">
                  <c:v>37862</c:v>
                </c:pt>
                <c:pt idx="1207">
                  <c:v>37698</c:v>
                </c:pt>
                <c:pt idx="1208">
                  <c:v>37447</c:v>
                </c:pt>
                <c:pt idx="1209">
                  <c:v>36704</c:v>
                </c:pt>
                <c:pt idx="1210">
                  <c:v>35700</c:v>
                </c:pt>
                <c:pt idx="1211">
                  <c:v>35091</c:v>
                </c:pt>
                <c:pt idx="1212">
                  <c:v>34611</c:v>
                </c:pt>
                <c:pt idx="1213">
                  <c:v>34563</c:v>
                </c:pt>
                <c:pt idx="1214">
                  <c:v>34240</c:v>
                </c:pt>
                <c:pt idx="1215">
                  <c:v>34565</c:v>
                </c:pt>
                <c:pt idx="1216">
                  <c:v>34508</c:v>
                </c:pt>
                <c:pt idx="1217">
                  <c:v>33685</c:v>
                </c:pt>
                <c:pt idx="1218">
                  <c:v>33237</c:v>
                </c:pt>
                <c:pt idx="1219">
                  <c:v>32966</c:v>
                </c:pt>
                <c:pt idx="1220">
                  <c:v>32914</c:v>
                </c:pt>
                <c:pt idx="1221">
                  <c:v>32530</c:v>
                </c:pt>
                <c:pt idx="1222">
                  <c:v>32874</c:v>
                </c:pt>
                <c:pt idx="1223">
                  <c:v>32638</c:v>
                </c:pt>
                <c:pt idx="1224">
                  <c:v>32001</c:v>
                </c:pt>
                <c:pt idx="1225">
                  <c:v>31542</c:v>
                </c:pt>
                <c:pt idx="1226">
                  <c:v>31458</c:v>
                </c:pt>
                <c:pt idx="1227">
                  <c:v>31795</c:v>
                </c:pt>
                <c:pt idx="1228">
                  <c:v>32332</c:v>
                </c:pt>
                <c:pt idx="1229">
                  <c:v>32627</c:v>
                </c:pt>
                <c:pt idx="1230">
                  <c:v>32810</c:v>
                </c:pt>
                <c:pt idx="1231">
                  <c:v>32734</c:v>
                </c:pt>
                <c:pt idx="1232">
                  <c:v>32515</c:v>
                </c:pt>
                <c:pt idx="1233">
                  <c:v>33126</c:v>
                </c:pt>
                <c:pt idx="1234">
                  <c:v>32950</c:v>
                </c:pt>
                <c:pt idx="1235">
                  <c:v>32428</c:v>
                </c:pt>
                <c:pt idx="1236">
                  <c:v>31963</c:v>
                </c:pt>
                <c:pt idx="1237">
                  <c:v>31556</c:v>
                </c:pt>
                <c:pt idx="1238">
                  <c:v>31363</c:v>
                </c:pt>
                <c:pt idx="1239">
                  <c:v>31117</c:v>
                </c:pt>
                <c:pt idx="1240">
                  <c:v>30209</c:v>
                </c:pt>
                <c:pt idx="1241">
                  <c:v>29261</c:v>
                </c:pt>
                <c:pt idx="1242">
                  <c:v>29379</c:v>
                </c:pt>
                <c:pt idx="1243">
                  <c:v>30063</c:v>
                </c:pt>
                <c:pt idx="1244">
                  <c:v>30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204800"/>
        <c:axId val="640308864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spPr>
            <a:ln w="3175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H$218:$H$1462</c:f>
              <c:numCache>
                <c:formatCode>General</c:formatCode>
                <c:ptCount val="1245"/>
                <c:pt idx="0">
                  <c:v>1553.06</c:v>
                </c:pt>
                <c:pt idx="1">
                  <c:v>1535.78</c:v>
                </c:pt>
                <c:pt idx="2">
                  <c:v>1538.43</c:v>
                </c:pt>
                <c:pt idx="3">
                  <c:v>1561.91</c:v>
                </c:pt>
                <c:pt idx="4">
                  <c:v>1559.25</c:v>
                </c:pt>
                <c:pt idx="5">
                  <c:v>1581.09</c:v>
                </c:pt>
                <c:pt idx="6">
                  <c:v>1580.67</c:v>
                </c:pt>
                <c:pt idx="7">
                  <c:v>1556.97</c:v>
                </c:pt>
                <c:pt idx="8">
                  <c:v>1530.29</c:v>
                </c:pt>
                <c:pt idx="9">
                  <c:v>1489.46</c:v>
                </c:pt>
                <c:pt idx="10">
                  <c:v>1485.92</c:v>
                </c:pt>
                <c:pt idx="11">
                  <c:v>1444.33</c:v>
                </c:pt>
                <c:pt idx="12">
                  <c:v>1446.36</c:v>
                </c:pt>
                <c:pt idx="13">
                  <c:v>1460.98</c:v>
                </c:pt>
                <c:pt idx="14">
                  <c:v>1473.81</c:v>
                </c:pt>
                <c:pt idx="15">
                  <c:v>1470.79</c:v>
                </c:pt>
                <c:pt idx="16">
                  <c:v>1498.75</c:v>
                </c:pt>
                <c:pt idx="17">
                  <c:v>1507.15</c:v>
                </c:pt>
                <c:pt idx="18">
                  <c:v>1463.01</c:v>
                </c:pt>
                <c:pt idx="19">
                  <c:v>1411.14</c:v>
                </c:pt>
                <c:pt idx="20">
                  <c:v>1375.34</c:v>
                </c:pt>
                <c:pt idx="21">
                  <c:v>1390.32</c:v>
                </c:pt>
                <c:pt idx="22">
                  <c:v>1387.11</c:v>
                </c:pt>
                <c:pt idx="23">
                  <c:v>1391.94</c:v>
                </c:pt>
                <c:pt idx="24">
                  <c:v>1363.83</c:v>
                </c:pt>
                <c:pt idx="25">
                  <c:v>1375.99</c:v>
                </c:pt>
                <c:pt idx="26">
                  <c:v>1418.16</c:v>
                </c:pt>
                <c:pt idx="27">
                  <c:v>1421.97</c:v>
                </c:pt>
                <c:pt idx="28">
                  <c:v>1410.85</c:v>
                </c:pt>
                <c:pt idx="29">
                  <c:v>1373.11</c:v>
                </c:pt>
                <c:pt idx="30">
                  <c:v>1390.25</c:v>
                </c:pt>
                <c:pt idx="31">
                  <c:v>1410.85</c:v>
                </c:pt>
                <c:pt idx="32">
                  <c:v>1429.77</c:v>
                </c:pt>
                <c:pt idx="33">
                  <c:v>1445.62</c:v>
                </c:pt>
                <c:pt idx="34">
                  <c:v>1460.2</c:v>
                </c:pt>
                <c:pt idx="35">
                  <c:v>1470.41</c:v>
                </c:pt>
                <c:pt idx="36">
                  <c:v>1508.21</c:v>
                </c:pt>
                <c:pt idx="37">
                  <c:v>1502.7</c:v>
                </c:pt>
                <c:pt idx="38">
                  <c:v>1501.4</c:v>
                </c:pt>
                <c:pt idx="39">
                  <c:v>1504.04</c:v>
                </c:pt>
                <c:pt idx="40">
                  <c:v>1534.68</c:v>
                </c:pt>
                <c:pt idx="41">
                  <c:v>1514.4</c:v>
                </c:pt>
                <c:pt idx="42">
                  <c:v>1536.79</c:v>
                </c:pt>
                <c:pt idx="43">
                  <c:v>1563.46</c:v>
                </c:pt>
                <c:pt idx="44">
                  <c:v>1558.8</c:v>
                </c:pt>
                <c:pt idx="45">
                  <c:v>1544.71</c:v>
                </c:pt>
                <c:pt idx="46">
                  <c:v>1525.59</c:v>
                </c:pt>
                <c:pt idx="47">
                  <c:v>1524.96</c:v>
                </c:pt>
                <c:pt idx="48">
                  <c:v>1514.58</c:v>
                </c:pt>
                <c:pt idx="49">
                  <c:v>1515.04</c:v>
                </c:pt>
                <c:pt idx="50">
                  <c:v>1519.87</c:v>
                </c:pt>
                <c:pt idx="51">
                  <c:v>1551.57</c:v>
                </c:pt>
                <c:pt idx="52">
                  <c:v>1562.29</c:v>
                </c:pt>
                <c:pt idx="53">
                  <c:v>1572.48</c:v>
                </c:pt>
                <c:pt idx="54">
                  <c:v>1608.39</c:v>
                </c:pt>
                <c:pt idx="55">
                  <c:v>1614.45</c:v>
                </c:pt>
                <c:pt idx="56">
                  <c:v>1626.79</c:v>
                </c:pt>
                <c:pt idx="57">
                  <c:v>1633.32</c:v>
                </c:pt>
                <c:pt idx="58">
                  <c:v>1613.88</c:v>
                </c:pt>
                <c:pt idx="59">
                  <c:v>1600.84</c:v>
                </c:pt>
                <c:pt idx="60">
                  <c:v>1631.81</c:v>
                </c:pt>
                <c:pt idx="61">
                  <c:v>1648.43</c:v>
                </c:pt>
                <c:pt idx="62">
                  <c:v>1643.98</c:v>
                </c:pt>
                <c:pt idx="63">
                  <c:v>1673.41</c:v>
                </c:pt>
                <c:pt idx="64">
                  <c:v>1676.27</c:v>
                </c:pt>
                <c:pt idx="65">
                  <c:v>1642.57</c:v>
                </c:pt>
                <c:pt idx="66">
                  <c:v>1601.67</c:v>
                </c:pt>
                <c:pt idx="67">
                  <c:v>1619.43</c:v>
                </c:pt>
                <c:pt idx="68">
                  <c:v>1610.23</c:v>
                </c:pt>
                <c:pt idx="69">
                  <c:v>1583.54</c:v>
                </c:pt>
                <c:pt idx="70">
                  <c:v>1602.99</c:v>
                </c:pt>
                <c:pt idx="71">
                  <c:v>1626.1</c:v>
                </c:pt>
                <c:pt idx="72">
                  <c:v>1603.59</c:v>
                </c:pt>
                <c:pt idx="73">
                  <c:v>1563.1</c:v>
                </c:pt>
                <c:pt idx="74">
                  <c:v>1588.75</c:v>
                </c:pt>
                <c:pt idx="75">
                  <c:v>1572.84</c:v>
                </c:pt>
                <c:pt idx="76">
                  <c:v>1517.83</c:v>
                </c:pt>
                <c:pt idx="77">
                  <c:v>1482.67</c:v>
                </c:pt>
                <c:pt idx="78">
                  <c:v>1450.47</c:v>
                </c:pt>
                <c:pt idx="79">
                  <c:v>1369.91</c:v>
                </c:pt>
                <c:pt idx="80">
                  <c:v>1420.54</c:v>
                </c:pt>
                <c:pt idx="81">
                  <c:v>1485.36</c:v>
                </c:pt>
                <c:pt idx="82">
                  <c:v>1476.03</c:v>
                </c:pt>
                <c:pt idx="83">
                  <c:v>1441.68</c:v>
                </c:pt>
                <c:pt idx="84">
                  <c:v>1422.72</c:v>
                </c:pt>
                <c:pt idx="85">
                  <c:v>1438.94</c:v>
                </c:pt>
                <c:pt idx="86">
                  <c:v>1379.88</c:v>
                </c:pt>
                <c:pt idx="87">
                  <c:v>1303.24</c:v>
                </c:pt>
                <c:pt idx="88">
                  <c:v>1297.9100000000001</c:v>
                </c:pt>
                <c:pt idx="89">
                  <c:v>1311.7</c:v>
                </c:pt>
                <c:pt idx="90">
                  <c:v>1226.57</c:v>
                </c:pt>
                <c:pt idx="91">
                  <c:v>1305.25</c:v>
                </c:pt>
                <c:pt idx="92">
                  <c:v>1358.6</c:v>
                </c:pt>
                <c:pt idx="93">
                  <c:v>1366.9</c:v>
                </c:pt>
                <c:pt idx="94">
                  <c:v>1384.59</c:v>
                </c:pt>
                <c:pt idx="95">
                  <c:v>1373.87</c:v>
                </c:pt>
                <c:pt idx="96">
                  <c:v>1383.87</c:v>
                </c:pt>
                <c:pt idx="97">
                  <c:v>1393.12</c:v>
                </c:pt>
                <c:pt idx="98">
                  <c:v>1360.74</c:v>
                </c:pt>
                <c:pt idx="99">
                  <c:v>1340.82</c:v>
                </c:pt>
                <c:pt idx="100">
                  <c:v>1315.61</c:v>
                </c:pt>
                <c:pt idx="101">
                  <c:v>1334.55</c:v>
                </c:pt>
                <c:pt idx="102">
                  <c:v>1358.94</c:v>
                </c:pt>
                <c:pt idx="103">
                  <c:v>1356.79</c:v>
                </c:pt>
                <c:pt idx="104">
                  <c:v>1396.57</c:v>
                </c:pt>
                <c:pt idx="105">
                  <c:v>1401.63</c:v>
                </c:pt>
                <c:pt idx="106">
                  <c:v>1400.66</c:v>
                </c:pt>
                <c:pt idx="107">
                  <c:v>1409.43</c:v>
                </c:pt>
                <c:pt idx="108">
                  <c:v>1457.95</c:v>
                </c:pt>
                <c:pt idx="109">
                  <c:v>1434.93</c:v>
                </c:pt>
                <c:pt idx="110">
                  <c:v>1418.42</c:v>
                </c:pt>
                <c:pt idx="111">
                  <c:v>1402.97</c:v>
                </c:pt>
                <c:pt idx="112">
                  <c:v>1387.66</c:v>
                </c:pt>
                <c:pt idx="113">
                  <c:v>1403.42</c:v>
                </c:pt>
                <c:pt idx="114">
                  <c:v>1356.05</c:v>
                </c:pt>
                <c:pt idx="115">
                  <c:v>1339.35</c:v>
                </c:pt>
                <c:pt idx="116">
                  <c:v>1288.72</c:v>
                </c:pt>
                <c:pt idx="117">
                  <c:v>1316.65</c:v>
                </c:pt>
                <c:pt idx="118">
                  <c:v>1318</c:v>
                </c:pt>
                <c:pt idx="119">
                  <c:v>1353.66</c:v>
                </c:pt>
                <c:pt idx="120">
                  <c:v>1352.71</c:v>
                </c:pt>
                <c:pt idx="121">
                  <c:v>1356.09</c:v>
                </c:pt>
                <c:pt idx="122">
                  <c:v>1359.45</c:v>
                </c:pt>
                <c:pt idx="123">
                  <c:v>1386.42</c:v>
                </c:pt>
                <c:pt idx="124">
                  <c:v>1409.61</c:v>
                </c:pt>
                <c:pt idx="125">
                  <c:v>1412.14</c:v>
                </c:pt>
                <c:pt idx="126">
                  <c:v>1403.33</c:v>
                </c:pt>
                <c:pt idx="127">
                  <c:v>1389.92</c:v>
                </c:pt>
                <c:pt idx="128">
                  <c:v>1394.92</c:v>
                </c:pt>
                <c:pt idx="129">
                  <c:v>1388.43</c:v>
                </c:pt>
                <c:pt idx="130">
                  <c:v>1417.49</c:v>
                </c:pt>
                <c:pt idx="131">
                  <c:v>1442.91</c:v>
                </c:pt>
                <c:pt idx="132">
                  <c:v>1449.19</c:v>
                </c:pt>
                <c:pt idx="133">
                  <c:v>1467.68</c:v>
                </c:pt>
                <c:pt idx="134">
                  <c:v>1481.32</c:v>
                </c:pt>
                <c:pt idx="135">
                  <c:v>1474.96</c:v>
                </c:pt>
                <c:pt idx="136">
                  <c:v>1503.68</c:v>
                </c:pt>
                <c:pt idx="137">
                  <c:v>1479.73</c:v>
                </c:pt>
                <c:pt idx="138">
                  <c:v>1523.16</c:v>
                </c:pt>
                <c:pt idx="139">
                  <c:v>1517.65</c:v>
                </c:pt>
                <c:pt idx="140">
                  <c:v>1523.8</c:v>
                </c:pt>
                <c:pt idx="141">
                  <c:v>1517.87</c:v>
                </c:pt>
                <c:pt idx="142">
                  <c:v>1509.85</c:v>
                </c:pt>
                <c:pt idx="143">
                  <c:v>1520.56</c:v>
                </c:pt>
                <c:pt idx="144">
                  <c:v>1492.9</c:v>
                </c:pt>
                <c:pt idx="145">
                  <c:v>1460.67</c:v>
                </c:pt>
                <c:pt idx="146">
                  <c:v>1447.68</c:v>
                </c:pt>
                <c:pt idx="147">
                  <c:v>1445.37</c:v>
                </c:pt>
                <c:pt idx="148">
                  <c:v>1445.94</c:v>
                </c:pt>
                <c:pt idx="149">
                  <c:v>1464.49</c:v>
                </c:pt>
                <c:pt idx="150">
                  <c:v>1458.36</c:v>
                </c:pt>
                <c:pt idx="151">
                  <c:v>1445.72</c:v>
                </c:pt>
                <c:pt idx="152">
                  <c:v>1425.03</c:v>
                </c:pt>
                <c:pt idx="153">
                  <c:v>1425.91</c:v>
                </c:pt>
                <c:pt idx="154">
                  <c:v>1396.86</c:v>
                </c:pt>
                <c:pt idx="155">
                  <c:v>1385.81</c:v>
                </c:pt>
                <c:pt idx="156">
                  <c:v>1409.51</c:v>
                </c:pt>
                <c:pt idx="157">
                  <c:v>1421.47</c:v>
                </c:pt>
                <c:pt idx="158">
                  <c:v>1427.11</c:v>
                </c:pt>
                <c:pt idx="159">
                  <c:v>1421.21</c:v>
                </c:pt>
                <c:pt idx="160">
                  <c:v>1449.99</c:v>
                </c:pt>
                <c:pt idx="161">
                  <c:v>1455.64</c:v>
                </c:pt>
                <c:pt idx="162">
                  <c:v>1467.62</c:v>
                </c:pt>
                <c:pt idx="163">
                  <c:v>1469.75</c:v>
                </c:pt>
                <c:pt idx="164">
                  <c:v>1453.47</c:v>
                </c:pt>
                <c:pt idx="165">
                  <c:v>1468.11</c:v>
                </c:pt>
                <c:pt idx="166">
                  <c:v>1492</c:v>
                </c:pt>
                <c:pt idx="167">
                  <c:v>1487.09</c:v>
                </c:pt>
                <c:pt idx="168">
                  <c:v>1503.22</c:v>
                </c:pt>
                <c:pt idx="169">
                  <c:v>1493.21</c:v>
                </c:pt>
                <c:pt idx="170">
                  <c:v>1484.5</c:v>
                </c:pt>
                <c:pt idx="171">
                  <c:v>1463.88</c:v>
                </c:pt>
                <c:pt idx="172">
                  <c:v>1464.18</c:v>
                </c:pt>
                <c:pt idx="173">
                  <c:v>1467.11</c:v>
                </c:pt>
                <c:pt idx="174">
                  <c:v>1478.21</c:v>
                </c:pt>
                <c:pt idx="175">
                  <c:v>1477.01</c:v>
                </c:pt>
                <c:pt idx="176">
                  <c:v>1477.13</c:v>
                </c:pt>
                <c:pt idx="177">
                  <c:v>1488.67</c:v>
                </c:pt>
                <c:pt idx="178">
                  <c:v>1487.86</c:v>
                </c:pt>
                <c:pt idx="179">
                  <c:v>1483.68</c:v>
                </c:pt>
                <c:pt idx="180">
                  <c:v>1494.93</c:v>
                </c:pt>
                <c:pt idx="181">
                  <c:v>1507.66</c:v>
                </c:pt>
                <c:pt idx="182">
                  <c:v>1531.91</c:v>
                </c:pt>
                <c:pt idx="183">
                  <c:v>1542.58</c:v>
                </c:pt>
                <c:pt idx="184">
                  <c:v>1568.86</c:v>
                </c:pt>
                <c:pt idx="185">
                  <c:v>1578.35</c:v>
                </c:pt>
                <c:pt idx="186">
                  <c:v>1584.29</c:v>
                </c:pt>
                <c:pt idx="187">
                  <c:v>1566.85</c:v>
                </c:pt>
                <c:pt idx="188">
                  <c:v>1588.29</c:v>
                </c:pt>
                <c:pt idx="189">
                  <c:v>1574.2</c:v>
                </c:pt>
                <c:pt idx="190">
                  <c:v>1588.83</c:v>
                </c:pt>
                <c:pt idx="191">
                  <c:v>1586.94</c:v>
                </c:pt>
                <c:pt idx="192">
                  <c:v>1581.9</c:v>
                </c:pt>
                <c:pt idx="193">
                  <c:v>1583.04</c:v>
                </c:pt>
                <c:pt idx="194">
                  <c:v>1570.59</c:v>
                </c:pt>
                <c:pt idx="195">
                  <c:v>1556.74</c:v>
                </c:pt>
                <c:pt idx="196">
                  <c:v>1604.86</c:v>
                </c:pt>
                <c:pt idx="197">
                  <c:v>1608.71</c:v>
                </c:pt>
                <c:pt idx="198">
                  <c:v>1620.49</c:v>
                </c:pt>
                <c:pt idx="199">
                  <c:v>1609.79</c:v>
                </c:pt>
                <c:pt idx="200">
                  <c:v>1583.17</c:v>
                </c:pt>
                <c:pt idx="201">
                  <c:v>1583.44</c:v>
                </c:pt>
                <c:pt idx="202">
                  <c:v>1587.14</c:v>
                </c:pt>
                <c:pt idx="203">
                  <c:v>1600.36</c:v>
                </c:pt>
                <c:pt idx="204">
                  <c:v>1604.14</c:v>
                </c:pt>
                <c:pt idx="205">
                  <c:v>1602.53</c:v>
                </c:pt>
                <c:pt idx="206">
                  <c:v>1628.42</c:v>
                </c:pt>
                <c:pt idx="207">
                  <c:v>1659.45</c:v>
                </c:pt>
                <c:pt idx="208">
                  <c:v>1637.02</c:v>
                </c:pt>
                <c:pt idx="209">
                  <c:v>1629.37</c:v>
                </c:pt>
                <c:pt idx="210">
                  <c:v>1610.97</c:v>
                </c:pt>
                <c:pt idx="211">
                  <c:v>1606.08</c:v>
                </c:pt>
                <c:pt idx="212">
                  <c:v>1609.43</c:v>
                </c:pt>
                <c:pt idx="213">
                  <c:v>1568.13</c:v>
                </c:pt>
                <c:pt idx="214">
                  <c:v>1570.66</c:v>
                </c:pt>
                <c:pt idx="215">
                  <c:v>1598.63</c:v>
                </c:pt>
                <c:pt idx="216">
                  <c:v>1600.98</c:v>
                </c:pt>
                <c:pt idx="217">
                  <c:v>1600.3</c:v>
                </c:pt>
                <c:pt idx="218">
                  <c:v>1573.46</c:v>
                </c:pt>
                <c:pt idx="219">
                  <c:v>1600.5</c:v>
                </c:pt>
                <c:pt idx="220">
                  <c:v>1618.55</c:v>
                </c:pt>
                <c:pt idx="221">
                  <c:v>1602.48</c:v>
                </c:pt>
                <c:pt idx="222">
                  <c:v>1589.31</c:v>
                </c:pt>
                <c:pt idx="223">
                  <c:v>1597.35</c:v>
                </c:pt>
                <c:pt idx="224">
                  <c:v>1633.71</c:v>
                </c:pt>
                <c:pt idx="225">
                  <c:v>1665.72</c:v>
                </c:pt>
                <c:pt idx="226">
                  <c:v>1687.36</c:v>
                </c:pt>
                <c:pt idx="227">
                  <c:v>1711.44</c:v>
                </c:pt>
                <c:pt idx="228">
                  <c:v>1721.91</c:v>
                </c:pt>
                <c:pt idx="229">
                  <c:v>1694.3</c:v>
                </c:pt>
                <c:pt idx="230">
                  <c:v>1711.56</c:v>
                </c:pt>
                <c:pt idx="231">
                  <c:v>1712.93</c:v>
                </c:pt>
                <c:pt idx="232">
                  <c:v>1735.5</c:v>
                </c:pt>
                <c:pt idx="233">
                  <c:v>1745.8</c:v>
                </c:pt>
                <c:pt idx="234">
                  <c:v>1757.71</c:v>
                </c:pt>
                <c:pt idx="235">
                  <c:v>1744.28</c:v>
                </c:pt>
                <c:pt idx="236">
                  <c:v>1743.87</c:v>
                </c:pt>
                <c:pt idx="237">
                  <c:v>1739.67</c:v>
                </c:pt>
                <c:pt idx="238">
                  <c:v>1755.79</c:v>
                </c:pt>
                <c:pt idx="239">
                  <c:v>1764.04</c:v>
                </c:pt>
                <c:pt idx="240">
                  <c:v>1765.51</c:v>
                </c:pt>
                <c:pt idx="241">
                  <c:v>1769.57</c:v>
                </c:pt>
                <c:pt idx="242">
                  <c:v>1764.39</c:v>
                </c:pt>
                <c:pt idx="243">
                  <c:v>1769.41</c:v>
                </c:pt>
                <c:pt idx="244">
                  <c:v>1767.82</c:v>
                </c:pt>
                <c:pt idx="245">
                  <c:v>1770.28</c:v>
                </c:pt>
                <c:pt idx="246">
                  <c:v>1802.23</c:v>
                </c:pt>
                <c:pt idx="247">
                  <c:v>1868.94</c:v>
                </c:pt>
                <c:pt idx="248">
                  <c:v>1878.14</c:v>
                </c:pt>
                <c:pt idx="249">
                  <c:v>1870.09</c:v>
                </c:pt>
                <c:pt idx="250">
                  <c:v>1901.61</c:v>
                </c:pt>
                <c:pt idx="251">
                  <c:v>1900.94</c:v>
                </c:pt>
                <c:pt idx="252">
                  <c:v>1902.75</c:v>
                </c:pt>
                <c:pt idx="253">
                  <c:v>1868.46</c:v>
                </c:pt>
                <c:pt idx="254">
                  <c:v>1884.76</c:v>
                </c:pt>
                <c:pt idx="255">
                  <c:v>1861.66</c:v>
                </c:pt>
                <c:pt idx="256">
                  <c:v>1863.33</c:v>
                </c:pt>
                <c:pt idx="257">
                  <c:v>1894.92</c:v>
                </c:pt>
                <c:pt idx="258">
                  <c:v>1911.48</c:v>
                </c:pt>
                <c:pt idx="259">
                  <c:v>1885.53</c:v>
                </c:pt>
                <c:pt idx="260">
                  <c:v>1870.31</c:v>
                </c:pt>
                <c:pt idx="261">
                  <c:v>1910.01</c:v>
                </c:pt>
                <c:pt idx="262">
                  <c:v>1931.38</c:v>
                </c:pt>
                <c:pt idx="263">
                  <c:v>1917.07</c:v>
                </c:pt>
                <c:pt idx="264">
                  <c:v>1928.58</c:v>
                </c:pt>
                <c:pt idx="265">
                  <c:v>1935.15</c:v>
                </c:pt>
                <c:pt idx="266">
                  <c:v>1910.5</c:v>
                </c:pt>
                <c:pt idx="267">
                  <c:v>1900.28</c:v>
                </c:pt>
                <c:pt idx="268">
                  <c:v>1846.92</c:v>
                </c:pt>
                <c:pt idx="269">
                  <c:v>1881.9</c:v>
                </c:pt>
                <c:pt idx="270">
                  <c:v>1879.56</c:v>
                </c:pt>
                <c:pt idx="271">
                  <c:v>1865.99</c:v>
                </c:pt>
                <c:pt idx="272">
                  <c:v>1877.44</c:v>
                </c:pt>
                <c:pt idx="273">
                  <c:v>1871.59</c:v>
                </c:pt>
                <c:pt idx="274">
                  <c:v>1868.4</c:v>
                </c:pt>
                <c:pt idx="275">
                  <c:v>1889.33</c:v>
                </c:pt>
                <c:pt idx="276">
                  <c:v>1874.76</c:v>
                </c:pt>
                <c:pt idx="277">
                  <c:v>1901.14</c:v>
                </c:pt>
                <c:pt idx="278">
                  <c:v>1932.82</c:v>
                </c:pt>
                <c:pt idx="279">
                  <c:v>1969.91</c:v>
                </c:pt>
                <c:pt idx="280">
                  <c:v>1962.66</c:v>
                </c:pt>
                <c:pt idx="281">
                  <c:v>1991.29</c:v>
                </c:pt>
                <c:pt idx="282">
                  <c:v>2017.82</c:v>
                </c:pt>
                <c:pt idx="283">
                  <c:v>2012.68</c:v>
                </c:pt>
                <c:pt idx="284">
                  <c:v>2025.17</c:v>
                </c:pt>
                <c:pt idx="285">
                  <c:v>2012.22</c:v>
                </c:pt>
                <c:pt idx="286">
                  <c:v>1949.35</c:v>
                </c:pt>
                <c:pt idx="287">
                  <c:v>1929.59</c:v>
                </c:pt>
                <c:pt idx="288">
                  <c:v>1944.91</c:v>
                </c:pt>
                <c:pt idx="289">
                  <c:v>1906.83</c:v>
                </c:pt>
                <c:pt idx="290">
                  <c:v>1915.95</c:v>
                </c:pt>
                <c:pt idx="291">
                  <c:v>1945.74</c:v>
                </c:pt>
                <c:pt idx="292">
                  <c:v>1962.92</c:v>
                </c:pt>
                <c:pt idx="293">
                  <c:v>1981.98</c:v>
                </c:pt>
                <c:pt idx="294">
                  <c:v>1976.38</c:v>
                </c:pt>
                <c:pt idx="295">
                  <c:v>1997</c:v>
                </c:pt>
                <c:pt idx="296">
                  <c:v>2027.89</c:v>
                </c:pt>
                <c:pt idx="297">
                  <c:v>2041.49</c:v>
                </c:pt>
                <c:pt idx="298">
                  <c:v>2045.06</c:v>
                </c:pt>
                <c:pt idx="299">
                  <c:v>2018.74</c:v>
                </c:pt>
                <c:pt idx="300">
                  <c:v>2035.92</c:v>
                </c:pt>
                <c:pt idx="301">
                  <c:v>2044.2</c:v>
                </c:pt>
                <c:pt idx="302">
                  <c:v>2076.7800000000002</c:v>
                </c:pt>
                <c:pt idx="303">
                  <c:v>2092.3200000000002</c:v>
                </c:pt>
                <c:pt idx="304">
                  <c:v>2088.64</c:v>
                </c:pt>
                <c:pt idx="305">
                  <c:v>2110.9</c:v>
                </c:pt>
                <c:pt idx="306">
                  <c:v>2089.52</c:v>
                </c:pt>
                <c:pt idx="307">
                  <c:v>2123.56</c:v>
                </c:pt>
                <c:pt idx="308">
                  <c:v>2113.5500000000002</c:v>
                </c:pt>
                <c:pt idx="309">
                  <c:v>2062.52</c:v>
                </c:pt>
                <c:pt idx="310">
                  <c:v>2062.4699999999998</c:v>
                </c:pt>
                <c:pt idx="311">
                  <c:v>2028.67</c:v>
                </c:pt>
                <c:pt idx="312">
                  <c:v>2030.32</c:v>
                </c:pt>
                <c:pt idx="313">
                  <c:v>1950.15</c:v>
                </c:pt>
                <c:pt idx="314">
                  <c:v>1988.12</c:v>
                </c:pt>
                <c:pt idx="315">
                  <c:v>2030.97</c:v>
                </c:pt>
                <c:pt idx="316">
                  <c:v>2040.6</c:v>
                </c:pt>
                <c:pt idx="317">
                  <c:v>2049.0300000000002</c:v>
                </c:pt>
                <c:pt idx="318">
                  <c:v>2030.93</c:v>
                </c:pt>
                <c:pt idx="319">
                  <c:v>2033.32</c:v>
                </c:pt>
                <c:pt idx="320">
                  <c:v>2017.64</c:v>
                </c:pt>
                <c:pt idx="321">
                  <c:v>2028.94</c:v>
                </c:pt>
                <c:pt idx="322">
                  <c:v>2026.94</c:v>
                </c:pt>
                <c:pt idx="323">
                  <c:v>1976.74</c:v>
                </c:pt>
                <c:pt idx="324">
                  <c:v>1949.94</c:v>
                </c:pt>
                <c:pt idx="325">
                  <c:v>1916.33</c:v>
                </c:pt>
                <c:pt idx="326">
                  <c:v>1936.29</c:v>
                </c:pt>
                <c:pt idx="327">
                  <c:v>1927.82</c:v>
                </c:pt>
                <c:pt idx="328">
                  <c:v>1908.46</c:v>
                </c:pt>
                <c:pt idx="329">
                  <c:v>1864.95</c:v>
                </c:pt>
                <c:pt idx="330">
                  <c:v>1866.3</c:v>
                </c:pt>
                <c:pt idx="331">
                  <c:v>1846.32</c:v>
                </c:pt>
                <c:pt idx="332">
                  <c:v>1828.89</c:v>
                </c:pt>
                <c:pt idx="333">
                  <c:v>1849.6</c:v>
                </c:pt>
                <c:pt idx="334">
                  <c:v>1859.14</c:v>
                </c:pt>
                <c:pt idx="335">
                  <c:v>1825.34</c:v>
                </c:pt>
                <c:pt idx="336">
                  <c:v>1765.04</c:v>
                </c:pt>
                <c:pt idx="337">
                  <c:v>1800.04</c:v>
                </c:pt>
                <c:pt idx="338">
                  <c:v>1808.13</c:v>
                </c:pt>
                <c:pt idx="339">
                  <c:v>1818.36</c:v>
                </c:pt>
                <c:pt idx="340">
                  <c:v>1858.39</c:v>
                </c:pt>
                <c:pt idx="341">
                  <c:v>1865.74</c:v>
                </c:pt>
                <c:pt idx="342">
                  <c:v>1888.6</c:v>
                </c:pt>
                <c:pt idx="343">
                  <c:v>1876.81</c:v>
                </c:pt>
                <c:pt idx="344">
                  <c:v>1883.09</c:v>
                </c:pt>
                <c:pt idx="345">
                  <c:v>1858.08</c:v>
                </c:pt>
                <c:pt idx="346">
                  <c:v>1865.64</c:v>
                </c:pt>
                <c:pt idx="347">
                  <c:v>1940.98</c:v>
                </c:pt>
                <c:pt idx="348">
                  <c:v>1926.02</c:v>
                </c:pt>
                <c:pt idx="349">
                  <c:v>1925.56</c:v>
                </c:pt>
                <c:pt idx="350">
                  <c:v>1919.05</c:v>
                </c:pt>
                <c:pt idx="351">
                  <c:v>1896.72</c:v>
                </c:pt>
                <c:pt idx="352">
                  <c:v>1878.55</c:v>
                </c:pt>
                <c:pt idx="353">
                  <c:v>1858.34</c:v>
                </c:pt>
                <c:pt idx="354">
                  <c:v>1872.45</c:v>
                </c:pt>
                <c:pt idx="355">
                  <c:v>1878.38</c:v>
                </c:pt>
                <c:pt idx="356">
                  <c:v>1829.97</c:v>
                </c:pt>
                <c:pt idx="357">
                  <c:v>1857.04</c:v>
                </c:pt>
                <c:pt idx="358">
                  <c:v>1842.2</c:v>
                </c:pt>
                <c:pt idx="359">
                  <c:v>1874.34</c:v>
                </c:pt>
                <c:pt idx="360">
                  <c:v>1894.58</c:v>
                </c:pt>
                <c:pt idx="361">
                  <c:v>1906.71</c:v>
                </c:pt>
                <c:pt idx="362">
                  <c:v>1937.57</c:v>
                </c:pt>
                <c:pt idx="363">
                  <c:v>1948.48</c:v>
                </c:pt>
                <c:pt idx="364">
                  <c:v>1953.07</c:v>
                </c:pt>
                <c:pt idx="365">
                  <c:v>1939.01</c:v>
                </c:pt>
                <c:pt idx="366">
                  <c:v>1976.9</c:v>
                </c:pt>
                <c:pt idx="367">
                  <c:v>1958.4</c:v>
                </c:pt>
                <c:pt idx="368">
                  <c:v>1919.08</c:v>
                </c:pt>
                <c:pt idx="369">
                  <c:v>1916.81</c:v>
                </c:pt>
                <c:pt idx="370">
                  <c:v>1936.42</c:v>
                </c:pt>
                <c:pt idx="371">
                  <c:v>1939.68</c:v>
                </c:pt>
                <c:pt idx="372">
                  <c:v>1938.54</c:v>
                </c:pt>
                <c:pt idx="373">
                  <c:v>1904.29</c:v>
                </c:pt>
                <c:pt idx="374">
                  <c:v>1926.23</c:v>
                </c:pt>
                <c:pt idx="375">
                  <c:v>1936.54</c:v>
                </c:pt>
                <c:pt idx="376">
                  <c:v>1972.5</c:v>
                </c:pt>
                <c:pt idx="377">
                  <c:v>1976.82</c:v>
                </c:pt>
                <c:pt idx="378">
                  <c:v>1979.54</c:v>
                </c:pt>
                <c:pt idx="379">
                  <c:v>1987.79</c:v>
                </c:pt>
                <c:pt idx="380">
                  <c:v>1976.18</c:v>
                </c:pt>
                <c:pt idx="381">
                  <c:v>1985.11</c:v>
                </c:pt>
                <c:pt idx="382">
                  <c:v>1965.02</c:v>
                </c:pt>
                <c:pt idx="383">
                  <c:v>1985.78</c:v>
                </c:pt>
                <c:pt idx="384">
                  <c:v>1968.14</c:v>
                </c:pt>
                <c:pt idx="385">
                  <c:v>1901.73</c:v>
                </c:pt>
                <c:pt idx="386">
                  <c:v>1855.69</c:v>
                </c:pt>
                <c:pt idx="387">
                  <c:v>1798.75</c:v>
                </c:pt>
                <c:pt idx="388">
                  <c:v>1657.77</c:v>
                </c:pt>
                <c:pt idx="389">
                  <c:v>1610.22</c:v>
                </c:pt>
                <c:pt idx="390">
                  <c:v>1537.57</c:v>
                </c:pt>
                <c:pt idx="391">
                  <c:v>1544.83</c:v>
                </c:pt>
                <c:pt idx="392">
                  <c:v>1594.68</c:v>
                </c:pt>
                <c:pt idx="393">
                  <c:v>1655.03</c:v>
                </c:pt>
                <c:pt idx="394">
                  <c:v>1632.31</c:v>
                </c:pt>
                <c:pt idx="395">
                  <c:v>1575.33</c:v>
                </c:pt>
                <c:pt idx="396">
                  <c:v>1578.45</c:v>
                </c:pt>
                <c:pt idx="397">
                  <c:v>1578.91</c:v>
                </c:pt>
                <c:pt idx="398">
                  <c:v>1601.03</c:v>
                </c:pt>
                <c:pt idx="399">
                  <c:v>1583.97</c:v>
                </c:pt>
                <c:pt idx="400">
                  <c:v>1596.17</c:v>
                </c:pt>
                <c:pt idx="401">
                  <c:v>1667.66</c:v>
                </c:pt>
                <c:pt idx="402">
                  <c:v>1662.35</c:v>
                </c:pt>
                <c:pt idx="403">
                  <c:v>1702.28</c:v>
                </c:pt>
                <c:pt idx="404">
                  <c:v>1703.86</c:v>
                </c:pt>
                <c:pt idx="405">
                  <c:v>1657.25</c:v>
                </c:pt>
                <c:pt idx="406">
                  <c:v>1617.01</c:v>
                </c:pt>
                <c:pt idx="407">
                  <c:v>1618.63</c:v>
                </c:pt>
                <c:pt idx="408">
                  <c:v>1669.75</c:v>
                </c:pt>
                <c:pt idx="409">
                  <c:v>1675.14</c:v>
                </c:pt>
                <c:pt idx="410">
                  <c:v>1625.29</c:v>
                </c:pt>
                <c:pt idx="411">
                  <c:v>1566.64</c:v>
                </c:pt>
                <c:pt idx="412">
                  <c:v>1572</c:v>
                </c:pt>
                <c:pt idx="413">
                  <c:v>1570.38</c:v>
                </c:pt>
                <c:pt idx="414">
                  <c:v>1603.39</c:v>
                </c:pt>
                <c:pt idx="415">
                  <c:v>1574.94</c:v>
                </c:pt>
                <c:pt idx="416">
                  <c:v>1526.01</c:v>
                </c:pt>
                <c:pt idx="417">
                  <c:v>1535.62</c:v>
                </c:pt>
                <c:pt idx="418">
                  <c:v>1518.64</c:v>
                </c:pt>
                <c:pt idx="419">
                  <c:v>1387.86</c:v>
                </c:pt>
                <c:pt idx="420">
                  <c:v>1315.95</c:v>
                </c:pt>
                <c:pt idx="421">
                  <c:v>1315.25</c:v>
                </c:pt>
                <c:pt idx="422">
                  <c:v>1369.93</c:v>
                </c:pt>
                <c:pt idx="423">
                  <c:v>1367.37</c:v>
                </c:pt>
                <c:pt idx="424">
                  <c:v>1389.14</c:v>
                </c:pt>
                <c:pt idx="425">
                  <c:v>1341.09</c:v>
                </c:pt>
                <c:pt idx="426">
                  <c:v>1291.7</c:v>
                </c:pt>
                <c:pt idx="427">
                  <c:v>1224.92</c:v>
                </c:pt>
                <c:pt idx="428">
                  <c:v>1217.21</c:v>
                </c:pt>
                <c:pt idx="429">
                  <c:v>1271.71</c:v>
                </c:pt>
                <c:pt idx="430">
                  <c:v>1311.91</c:v>
                </c:pt>
                <c:pt idx="431">
                  <c:v>1365.73</c:v>
                </c:pt>
                <c:pt idx="432">
                  <c:v>1355.21</c:v>
                </c:pt>
                <c:pt idx="433">
                  <c:v>1407.77</c:v>
                </c:pt>
                <c:pt idx="434">
                  <c:v>1396.27</c:v>
                </c:pt>
                <c:pt idx="435">
                  <c:v>1449.28</c:v>
                </c:pt>
                <c:pt idx="436">
                  <c:v>1427.31</c:v>
                </c:pt>
                <c:pt idx="437">
                  <c:v>1427.26</c:v>
                </c:pt>
                <c:pt idx="438">
                  <c:v>1438.63</c:v>
                </c:pt>
                <c:pt idx="439">
                  <c:v>1423.03</c:v>
                </c:pt>
                <c:pt idx="440">
                  <c:v>1456.73</c:v>
                </c:pt>
                <c:pt idx="441">
                  <c:v>1508.82</c:v>
                </c:pt>
                <c:pt idx="442">
                  <c:v>1500.05</c:v>
                </c:pt>
                <c:pt idx="443">
                  <c:v>1530.11</c:v>
                </c:pt>
                <c:pt idx="444">
                  <c:v>1592.93</c:v>
                </c:pt>
                <c:pt idx="445">
                  <c:v>1610.32</c:v>
                </c:pt>
                <c:pt idx="446">
                  <c:v>1484.98</c:v>
                </c:pt>
                <c:pt idx="447">
                  <c:v>1526.19</c:v>
                </c:pt>
                <c:pt idx="448">
                  <c:v>1542.39</c:v>
                </c:pt>
                <c:pt idx="449">
                  <c:v>1563.24</c:v>
                </c:pt>
                <c:pt idx="450">
                  <c:v>1579.82</c:v>
                </c:pt>
                <c:pt idx="451">
                  <c:v>1512.85</c:v>
                </c:pt>
                <c:pt idx="452">
                  <c:v>1529.71</c:v>
                </c:pt>
                <c:pt idx="453">
                  <c:v>1530.7</c:v>
                </c:pt>
                <c:pt idx="454">
                  <c:v>1527.16</c:v>
                </c:pt>
                <c:pt idx="455">
                  <c:v>1526.98</c:v>
                </c:pt>
                <c:pt idx="456">
                  <c:v>1520.75</c:v>
                </c:pt>
                <c:pt idx="457">
                  <c:v>1512.67</c:v>
                </c:pt>
                <c:pt idx="458">
                  <c:v>1495.87</c:v>
                </c:pt>
                <c:pt idx="459">
                  <c:v>1424.97</c:v>
                </c:pt>
                <c:pt idx="460">
                  <c:v>1431.13</c:v>
                </c:pt>
                <c:pt idx="461">
                  <c:v>1422</c:v>
                </c:pt>
                <c:pt idx="462">
                  <c:v>1402.83</c:v>
                </c:pt>
                <c:pt idx="463">
                  <c:v>1413.18</c:v>
                </c:pt>
                <c:pt idx="464">
                  <c:v>1475.25</c:v>
                </c:pt>
                <c:pt idx="465">
                  <c:v>1466.36</c:v>
                </c:pt>
                <c:pt idx="466">
                  <c:v>1540.81</c:v>
                </c:pt>
                <c:pt idx="467">
                  <c:v>1546.7</c:v>
                </c:pt>
                <c:pt idx="468">
                  <c:v>1545.57</c:v>
                </c:pt>
                <c:pt idx="469">
                  <c:v>1559.28</c:v>
                </c:pt>
                <c:pt idx="470">
                  <c:v>1485.67</c:v>
                </c:pt>
                <c:pt idx="471">
                  <c:v>1467.69</c:v>
                </c:pt>
                <c:pt idx="472">
                  <c:v>1473.56</c:v>
                </c:pt>
                <c:pt idx="473">
                  <c:v>1410.28</c:v>
                </c:pt>
                <c:pt idx="474">
                  <c:v>1363.67</c:v>
                </c:pt>
                <c:pt idx="475">
                  <c:v>1387.13</c:v>
                </c:pt>
                <c:pt idx="476">
                  <c:v>1369.65</c:v>
                </c:pt>
                <c:pt idx="477">
                  <c:v>1395.28</c:v>
                </c:pt>
                <c:pt idx="478">
                  <c:v>1373.73</c:v>
                </c:pt>
                <c:pt idx="479">
                  <c:v>1370.11</c:v>
                </c:pt>
                <c:pt idx="480">
                  <c:v>1395.79</c:v>
                </c:pt>
                <c:pt idx="481">
                  <c:v>1382.5</c:v>
                </c:pt>
                <c:pt idx="482">
                  <c:v>1396.03</c:v>
                </c:pt>
                <c:pt idx="483">
                  <c:v>1394.12</c:v>
                </c:pt>
                <c:pt idx="484">
                  <c:v>1413.52</c:v>
                </c:pt>
                <c:pt idx="485">
                  <c:v>1398.51</c:v>
                </c:pt>
                <c:pt idx="486">
                  <c:v>1382.19</c:v>
                </c:pt>
                <c:pt idx="487">
                  <c:v>1365.13</c:v>
                </c:pt>
                <c:pt idx="488">
                  <c:v>1381.87</c:v>
                </c:pt>
                <c:pt idx="489">
                  <c:v>1434.23</c:v>
                </c:pt>
                <c:pt idx="490">
                  <c:v>1434.19</c:v>
                </c:pt>
                <c:pt idx="491">
                  <c:v>1415.48</c:v>
                </c:pt>
                <c:pt idx="492">
                  <c:v>1423.7</c:v>
                </c:pt>
                <c:pt idx="493">
                  <c:v>1430.13</c:v>
                </c:pt>
                <c:pt idx="494">
                  <c:v>1469.76</c:v>
                </c:pt>
                <c:pt idx="495">
                  <c:v>1452.69</c:v>
                </c:pt>
                <c:pt idx="496">
                  <c:v>1458.24</c:v>
                </c:pt>
                <c:pt idx="497">
                  <c:v>1446.46</c:v>
                </c:pt>
                <c:pt idx="498">
                  <c:v>1455.32</c:v>
                </c:pt>
                <c:pt idx="499">
                  <c:v>1476.31</c:v>
                </c:pt>
                <c:pt idx="500">
                  <c:v>1488.37</c:v>
                </c:pt>
                <c:pt idx="501">
                  <c:v>1503.89</c:v>
                </c:pt>
                <c:pt idx="502">
                  <c:v>1496.41</c:v>
                </c:pt>
                <c:pt idx="503">
                  <c:v>1522.57</c:v>
                </c:pt>
                <c:pt idx="504">
                  <c:v>1514.93</c:v>
                </c:pt>
                <c:pt idx="505">
                  <c:v>1534.14</c:v>
                </c:pt>
                <c:pt idx="506">
                  <c:v>1573.04</c:v>
                </c:pt>
                <c:pt idx="507">
                  <c:v>1565.82</c:v>
                </c:pt>
                <c:pt idx="508">
                  <c:v>1546.59</c:v>
                </c:pt>
                <c:pt idx="509">
                  <c:v>1577.29</c:v>
                </c:pt>
                <c:pt idx="510">
                  <c:v>1599.56</c:v>
                </c:pt>
                <c:pt idx="511">
                  <c:v>1602.99</c:v>
                </c:pt>
                <c:pt idx="512">
                  <c:v>1625.6</c:v>
                </c:pt>
                <c:pt idx="513">
                  <c:v>1626.46</c:v>
                </c:pt>
                <c:pt idx="514">
                  <c:v>1632.35</c:v>
                </c:pt>
                <c:pt idx="515">
                  <c:v>1643.53</c:v>
                </c:pt>
                <c:pt idx="516">
                  <c:v>1638.09</c:v>
                </c:pt>
                <c:pt idx="517">
                  <c:v>1603.25</c:v>
                </c:pt>
                <c:pt idx="518">
                  <c:v>1645.94</c:v>
                </c:pt>
                <c:pt idx="519">
                  <c:v>1644.1</c:v>
                </c:pt>
                <c:pt idx="520">
                  <c:v>1661.36</c:v>
                </c:pt>
                <c:pt idx="521">
                  <c:v>1641.51</c:v>
                </c:pt>
                <c:pt idx="522">
                  <c:v>1656.6</c:v>
                </c:pt>
                <c:pt idx="523">
                  <c:v>1674.27</c:v>
                </c:pt>
                <c:pt idx="524">
                  <c:v>1655.35</c:v>
                </c:pt>
                <c:pt idx="525">
                  <c:v>1642.01</c:v>
                </c:pt>
                <c:pt idx="526">
                  <c:v>1722.05</c:v>
                </c:pt>
                <c:pt idx="527">
                  <c:v>1728.13</c:v>
                </c:pt>
                <c:pt idx="528">
                  <c:v>1708.16</c:v>
                </c:pt>
                <c:pt idx="529">
                  <c:v>1734.99</c:v>
                </c:pt>
                <c:pt idx="530">
                  <c:v>1723.57</c:v>
                </c:pt>
                <c:pt idx="531">
                  <c:v>1726.73</c:v>
                </c:pt>
                <c:pt idx="532">
                  <c:v>1752.17</c:v>
                </c:pt>
                <c:pt idx="533">
                  <c:v>1676.48</c:v>
                </c:pt>
                <c:pt idx="534">
                  <c:v>1677.21</c:v>
                </c:pt>
                <c:pt idx="535">
                  <c:v>1721.27</c:v>
                </c:pt>
                <c:pt idx="536">
                  <c:v>1714.12</c:v>
                </c:pt>
                <c:pt idx="537">
                  <c:v>1729.91</c:v>
                </c:pt>
                <c:pt idx="538">
                  <c:v>1752.02</c:v>
                </c:pt>
                <c:pt idx="539">
                  <c:v>1754.81</c:v>
                </c:pt>
                <c:pt idx="540">
                  <c:v>1748.32</c:v>
                </c:pt>
                <c:pt idx="541">
                  <c:v>1722.5</c:v>
                </c:pt>
                <c:pt idx="542">
                  <c:v>1693.07</c:v>
                </c:pt>
                <c:pt idx="543">
                  <c:v>1686.91</c:v>
                </c:pt>
                <c:pt idx="544">
                  <c:v>1653.8</c:v>
                </c:pt>
                <c:pt idx="545">
                  <c:v>1668.41</c:v>
                </c:pt>
                <c:pt idx="546">
                  <c:v>1712.85</c:v>
                </c:pt>
                <c:pt idx="547">
                  <c:v>1699.68</c:v>
                </c:pt>
                <c:pt idx="548">
                  <c:v>1647.44</c:v>
                </c:pt>
                <c:pt idx="549">
                  <c:v>1613.41</c:v>
                </c:pt>
                <c:pt idx="550">
                  <c:v>1637.73</c:v>
                </c:pt>
                <c:pt idx="551">
                  <c:v>1643.2</c:v>
                </c:pt>
                <c:pt idx="552">
                  <c:v>1681.8</c:v>
                </c:pt>
                <c:pt idx="553">
                  <c:v>1632.21</c:v>
                </c:pt>
                <c:pt idx="554">
                  <c:v>1642.62</c:v>
                </c:pt>
                <c:pt idx="555">
                  <c:v>1613.25</c:v>
                </c:pt>
                <c:pt idx="556">
                  <c:v>1622.07</c:v>
                </c:pt>
                <c:pt idx="557">
                  <c:v>1606.98</c:v>
                </c:pt>
                <c:pt idx="558">
                  <c:v>1615.69</c:v>
                </c:pt>
                <c:pt idx="559">
                  <c:v>1620.19</c:v>
                </c:pt>
                <c:pt idx="560">
                  <c:v>1612.74</c:v>
                </c:pt>
                <c:pt idx="561">
                  <c:v>1587.58</c:v>
                </c:pt>
                <c:pt idx="562">
                  <c:v>1585.4</c:v>
                </c:pt>
                <c:pt idx="563">
                  <c:v>1583.06</c:v>
                </c:pt>
                <c:pt idx="564">
                  <c:v>1609.56</c:v>
                </c:pt>
                <c:pt idx="565">
                  <c:v>1619.53</c:v>
                </c:pt>
                <c:pt idx="566">
                  <c:v>1572.88</c:v>
                </c:pt>
                <c:pt idx="567">
                  <c:v>1576.22</c:v>
                </c:pt>
                <c:pt idx="568">
                  <c:v>1583.42</c:v>
                </c:pt>
                <c:pt idx="569">
                  <c:v>1574.61</c:v>
                </c:pt>
                <c:pt idx="570">
                  <c:v>1594.2</c:v>
                </c:pt>
                <c:pt idx="571">
                  <c:v>1593.97</c:v>
                </c:pt>
                <c:pt idx="572">
                  <c:v>1569.1</c:v>
                </c:pt>
                <c:pt idx="573">
                  <c:v>1560.11</c:v>
                </c:pt>
                <c:pt idx="574">
                  <c:v>1498.05</c:v>
                </c:pt>
                <c:pt idx="575">
                  <c:v>1489.55</c:v>
                </c:pt>
                <c:pt idx="576">
                  <c:v>1488.64</c:v>
                </c:pt>
                <c:pt idx="577">
                  <c:v>1481.06</c:v>
                </c:pt>
                <c:pt idx="578">
                  <c:v>1489.45</c:v>
                </c:pt>
                <c:pt idx="579">
                  <c:v>1464.53</c:v>
                </c:pt>
                <c:pt idx="580">
                  <c:v>1453.91</c:v>
                </c:pt>
                <c:pt idx="581">
                  <c:v>1401.73</c:v>
                </c:pt>
                <c:pt idx="582">
                  <c:v>1400.77</c:v>
                </c:pt>
                <c:pt idx="583">
                  <c:v>1373.82</c:v>
                </c:pt>
                <c:pt idx="584">
                  <c:v>1313.43</c:v>
                </c:pt>
                <c:pt idx="585">
                  <c:v>1289.46</c:v>
                </c:pt>
                <c:pt idx="586">
                  <c:v>1318.29</c:v>
                </c:pt>
                <c:pt idx="587">
                  <c:v>1321.87</c:v>
                </c:pt>
                <c:pt idx="588">
                  <c:v>1264.29</c:v>
                </c:pt>
                <c:pt idx="589">
                  <c:v>1287.43</c:v>
                </c:pt>
                <c:pt idx="590">
                  <c:v>1272.69</c:v>
                </c:pt>
                <c:pt idx="591">
                  <c:v>1277.1500000000001</c:v>
                </c:pt>
                <c:pt idx="592">
                  <c:v>1307.03</c:v>
                </c:pt>
                <c:pt idx="593">
                  <c:v>1273.26</c:v>
                </c:pt>
                <c:pt idx="594">
                  <c:v>1242.43</c:v>
                </c:pt>
                <c:pt idx="595">
                  <c:v>1227.6500000000001</c:v>
                </c:pt>
                <c:pt idx="596">
                  <c:v>1239.99</c:v>
                </c:pt>
                <c:pt idx="597">
                  <c:v>1246.4000000000001</c:v>
                </c:pt>
                <c:pt idx="598">
                  <c:v>1277.54</c:v>
                </c:pt>
                <c:pt idx="599">
                  <c:v>1303.96</c:v>
                </c:pt>
                <c:pt idx="600">
                  <c:v>1282.48</c:v>
                </c:pt>
                <c:pt idx="601">
                  <c:v>1296.98</c:v>
                </c:pt>
                <c:pt idx="602">
                  <c:v>1309.58</c:v>
                </c:pt>
                <c:pt idx="603">
                  <c:v>1304.07</c:v>
                </c:pt>
                <c:pt idx="604">
                  <c:v>1337.5</c:v>
                </c:pt>
                <c:pt idx="605">
                  <c:v>1348.38</c:v>
                </c:pt>
                <c:pt idx="606">
                  <c:v>1350.15</c:v>
                </c:pt>
                <c:pt idx="607">
                  <c:v>1332.64</c:v>
                </c:pt>
                <c:pt idx="608">
                  <c:v>1306.8499999999999</c:v>
                </c:pt>
                <c:pt idx="609">
                  <c:v>1281.8800000000001</c:v>
                </c:pt>
                <c:pt idx="610">
                  <c:v>1261.8900000000001</c:v>
                </c:pt>
                <c:pt idx="611">
                  <c:v>1288.67</c:v>
                </c:pt>
                <c:pt idx="612">
                  <c:v>1306.82</c:v>
                </c:pt>
                <c:pt idx="613">
                  <c:v>1280.92</c:v>
                </c:pt>
                <c:pt idx="614">
                  <c:v>1350.51</c:v>
                </c:pt>
                <c:pt idx="615">
                  <c:v>1357.34</c:v>
                </c:pt>
                <c:pt idx="616">
                  <c:v>1408.43</c:v>
                </c:pt>
                <c:pt idx="617">
                  <c:v>1408.21</c:v>
                </c:pt>
                <c:pt idx="618">
                  <c:v>1388.07</c:v>
                </c:pt>
                <c:pt idx="619">
                  <c:v>1357.71</c:v>
                </c:pt>
                <c:pt idx="620">
                  <c:v>1352.5</c:v>
                </c:pt>
                <c:pt idx="621">
                  <c:v>1362.95</c:v>
                </c:pt>
                <c:pt idx="622">
                  <c:v>1355.86</c:v>
                </c:pt>
                <c:pt idx="623">
                  <c:v>1340.17</c:v>
                </c:pt>
                <c:pt idx="624">
                  <c:v>1368.69</c:v>
                </c:pt>
                <c:pt idx="625">
                  <c:v>1374.02</c:v>
                </c:pt>
                <c:pt idx="626">
                  <c:v>1382</c:v>
                </c:pt>
                <c:pt idx="627">
                  <c:v>1390.63</c:v>
                </c:pt>
                <c:pt idx="628">
                  <c:v>1413.97</c:v>
                </c:pt>
                <c:pt idx="629">
                  <c:v>1391.55</c:v>
                </c:pt>
                <c:pt idx="630">
                  <c:v>1323.96</c:v>
                </c:pt>
                <c:pt idx="631">
                  <c:v>1314.27</c:v>
                </c:pt>
                <c:pt idx="632">
                  <c:v>1318.31</c:v>
                </c:pt>
                <c:pt idx="633">
                  <c:v>1349.9</c:v>
                </c:pt>
                <c:pt idx="634">
                  <c:v>1382.82</c:v>
                </c:pt>
                <c:pt idx="635">
                  <c:v>1398.07</c:v>
                </c:pt>
                <c:pt idx="636">
                  <c:v>1377.35</c:v>
                </c:pt>
                <c:pt idx="637">
                  <c:v>1374.98</c:v>
                </c:pt>
                <c:pt idx="638">
                  <c:v>1355.32</c:v>
                </c:pt>
                <c:pt idx="639">
                  <c:v>1398.33</c:v>
                </c:pt>
                <c:pt idx="640">
                  <c:v>1433.54</c:v>
                </c:pt>
                <c:pt idx="641">
                  <c:v>1445.34</c:v>
                </c:pt>
                <c:pt idx="642">
                  <c:v>1444.79</c:v>
                </c:pt>
                <c:pt idx="643">
                  <c:v>1447.09</c:v>
                </c:pt>
                <c:pt idx="644">
                  <c:v>1427.33</c:v>
                </c:pt>
                <c:pt idx="645">
                  <c:v>1436.15</c:v>
                </c:pt>
                <c:pt idx="646">
                  <c:v>1445.29</c:v>
                </c:pt>
                <c:pt idx="647">
                  <c:v>1427.67</c:v>
                </c:pt>
                <c:pt idx="648">
                  <c:v>1431.07</c:v>
                </c:pt>
                <c:pt idx="649">
                  <c:v>1416.78</c:v>
                </c:pt>
                <c:pt idx="650">
                  <c:v>1403.55</c:v>
                </c:pt>
                <c:pt idx="651">
                  <c:v>1442.72</c:v>
                </c:pt>
                <c:pt idx="652">
                  <c:v>1430.48</c:v>
                </c:pt>
                <c:pt idx="653">
                  <c:v>1442.94</c:v>
                </c:pt>
                <c:pt idx="654">
                  <c:v>1436.84</c:v>
                </c:pt>
                <c:pt idx="655">
                  <c:v>1431.53</c:v>
                </c:pt>
                <c:pt idx="656">
                  <c:v>1428.88</c:v>
                </c:pt>
                <c:pt idx="657">
                  <c:v>1410.16</c:v>
                </c:pt>
                <c:pt idx="658">
                  <c:v>1384.26</c:v>
                </c:pt>
                <c:pt idx="659">
                  <c:v>1389.72</c:v>
                </c:pt>
                <c:pt idx="660">
                  <c:v>1406.04</c:v>
                </c:pt>
                <c:pt idx="661">
                  <c:v>1405.71</c:v>
                </c:pt>
                <c:pt idx="662">
                  <c:v>1391.02</c:v>
                </c:pt>
                <c:pt idx="663">
                  <c:v>1437.37</c:v>
                </c:pt>
                <c:pt idx="664">
                  <c:v>1471.8</c:v>
                </c:pt>
                <c:pt idx="665">
                  <c:v>1476.44</c:v>
                </c:pt>
                <c:pt idx="666">
                  <c:v>1480.05</c:v>
                </c:pt>
                <c:pt idx="667">
                  <c:v>1482.51</c:v>
                </c:pt>
                <c:pt idx="668">
                  <c:v>1484.88</c:v>
                </c:pt>
                <c:pt idx="669">
                  <c:v>1589.4</c:v>
                </c:pt>
                <c:pt idx="670">
                  <c:v>1582.22</c:v>
                </c:pt>
                <c:pt idx="671">
                  <c:v>1547.74</c:v>
                </c:pt>
                <c:pt idx="672">
                  <c:v>1517.58</c:v>
                </c:pt>
                <c:pt idx="673">
                  <c:v>1515.88</c:v>
                </c:pt>
                <c:pt idx="674">
                  <c:v>1522.63</c:v>
                </c:pt>
                <c:pt idx="675">
                  <c:v>1509.58</c:v>
                </c:pt>
                <c:pt idx="676">
                  <c:v>1510.96</c:v>
                </c:pt>
                <c:pt idx="677">
                  <c:v>1456.99</c:v>
                </c:pt>
                <c:pt idx="678">
                  <c:v>1474.76</c:v>
                </c:pt>
                <c:pt idx="679">
                  <c:v>1475.7</c:v>
                </c:pt>
                <c:pt idx="680">
                  <c:v>1513.81</c:v>
                </c:pt>
                <c:pt idx="681">
                  <c:v>1507.77</c:v>
                </c:pt>
                <c:pt idx="682">
                  <c:v>1492.3</c:v>
                </c:pt>
                <c:pt idx="683">
                  <c:v>1483.03</c:v>
                </c:pt>
                <c:pt idx="684">
                  <c:v>1508.72</c:v>
                </c:pt>
                <c:pt idx="685">
                  <c:v>1492.51</c:v>
                </c:pt>
                <c:pt idx="686">
                  <c:v>1494.16</c:v>
                </c:pt>
                <c:pt idx="687">
                  <c:v>1483.84</c:v>
                </c:pt>
                <c:pt idx="688">
                  <c:v>1490.41</c:v>
                </c:pt>
                <c:pt idx="689">
                  <c:v>1472.36</c:v>
                </c:pt>
                <c:pt idx="690">
                  <c:v>1466.82</c:v>
                </c:pt>
                <c:pt idx="691">
                  <c:v>1488.18</c:v>
                </c:pt>
                <c:pt idx="692">
                  <c:v>1513.96</c:v>
                </c:pt>
                <c:pt idx="693">
                  <c:v>1512.01</c:v>
                </c:pt>
                <c:pt idx="694">
                  <c:v>1494.44</c:v>
                </c:pt>
                <c:pt idx="695">
                  <c:v>1497.63</c:v>
                </c:pt>
                <c:pt idx="696">
                  <c:v>1456.73</c:v>
                </c:pt>
                <c:pt idx="697">
                  <c:v>1462.43</c:v>
                </c:pt>
                <c:pt idx="698">
                  <c:v>1456.91</c:v>
                </c:pt>
                <c:pt idx="699">
                  <c:v>1441.38</c:v>
                </c:pt>
                <c:pt idx="700">
                  <c:v>1435.05</c:v>
                </c:pt>
                <c:pt idx="701">
                  <c:v>1430.1</c:v>
                </c:pt>
                <c:pt idx="702">
                  <c:v>1433.96</c:v>
                </c:pt>
                <c:pt idx="703">
                  <c:v>1443.5</c:v>
                </c:pt>
                <c:pt idx="704">
                  <c:v>1444.19</c:v>
                </c:pt>
                <c:pt idx="705">
                  <c:v>1448.98</c:v>
                </c:pt>
                <c:pt idx="706">
                  <c:v>1426.94</c:v>
                </c:pt>
                <c:pt idx="707">
                  <c:v>1410.27</c:v>
                </c:pt>
                <c:pt idx="708">
                  <c:v>1397.86</c:v>
                </c:pt>
                <c:pt idx="709">
                  <c:v>1404.26</c:v>
                </c:pt>
                <c:pt idx="710">
                  <c:v>1363.63</c:v>
                </c:pt>
                <c:pt idx="711">
                  <c:v>1367.15</c:v>
                </c:pt>
                <c:pt idx="712">
                  <c:v>1381.58</c:v>
                </c:pt>
                <c:pt idx="713">
                  <c:v>1376.1</c:v>
                </c:pt>
                <c:pt idx="714">
                  <c:v>1399.7</c:v>
                </c:pt>
                <c:pt idx="715">
                  <c:v>1403.59</c:v>
                </c:pt>
                <c:pt idx="716">
                  <c:v>1420.97</c:v>
                </c:pt>
                <c:pt idx="717">
                  <c:v>1419.88</c:v>
                </c:pt>
                <c:pt idx="718">
                  <c:v>1432.24</c:v>
                </c:pt>
                <c:pt idx="719">
                  <c:v>1426.96</c:v>
                </c:pt>
                <c:pt idx="720">
                  <c:v>1417.6</c:v>
                </c:pt>
                <c:pt idx="721">
                  <c:v>1397.38</c:v>
                </c:pt>
                <c:pt idx="722">
                  <c:v>1420.35</c:v>
                </c:pt>
                <c:pt idx="723">
                  <c:v>1436.55</c:v>
                </c:pt>
                <c:pt idx="724">
                  <c:v>1451.69</c:v>
                </c:pt>
                <c:pt idx="725">
                  <c:v>1443.87</c:v>
                </c:pt>
                <c:pt idx="726">
                  <c:v>1469.54</c:v>
                </c:pt>
                <c:pt idx="727">
                  <c:v>1467</c:v>
                </c:pt>
                <c:pt idx="728">
                  <c:v>1471.09</c:v>
                </c:pt>
                <c:pt idx="729">
                  <c:v>1480.78</c:v>
                </c:pt>
                <c:pt idx="730">
                  <c:v>1484.5</c:v>
                </c:pt>
                <c:pt idx="731">
                  <c:v>1506.91</c:v>
                </c:pt>
                <c:pt idx="732">
                  <c:v>1499.68</c:v>
                </c:pt>
                <c:pt idx="733">
                  <c:v>1500.89</c:v>
                </c:pt>
                <c:pt idx="734">
                  <c:v>1491.21</c:v>
                </c:pt>
                <c:pt idx="735">
                  <c:v>1511.43</c:v>
                </c:pt>
                <c:pt idx="736">
                  <c:v>1517.39</c:v>
                </c:pt>
                <c:pt idx="737">
                  <c:v>1528.89</c:v>
                </c:pt>
                <c:pt idx="738">
                  <c:v>1512.18</c:v>
                </c:pt>
                <c:pt idx="739">
                  <c:v>1515.87</c:v>
                </c:pt>
                <c:pt idx="740">
                  <c:v>1513.74</c:v>
                </c:pt>
                <c:pt idx="741">
                  <c:v>1526.34</c:v>
                </c:pt>
                <c:pt idx="742">
                  <c:v>1535.05</c:v>
                </c:pt>
                <c:pt idx="743">
                  <c:v>1526.98</c:v>
                </c:pt>
                <c:pt idx="744">
                  <c:v>1568.59</c:v>
                </c:pt>
                <c:pt idx="745">
                  <c:v>1572</c:v>
                </c:pt>
                <c:pt idx="746">
                  <c:v>1571.73</c:v>
                </c:pt>
                <c:pt idx="747">
                  <c:v>1590.21</c:v>
                </c:pt>
                <c:pt idx="748">
                  <c:v>1576.54</c:v>
                </c:pt>
                <c:pt idx="749">
                  <c:v>1571.15</c:v>
                </c:pt>
                <c:pt idx="750">
                  <c:v>1585.44</c:v>
                </c:pt>
                <c:pt idx="751">
                  <c:v>1603.5</c:v>
                </c:pt>
                <c:pt idx="752">
                  <c:v>1600.13</c:v>
                </c:pt>
                <c:pt idx="753">
                  <c:v>1589.02</c:v>
                </c:pt>
                <c:pt idx="754">
                  <c:v>1605.36</c:v>
                </c:pt>
                <c:pt idx="755">
                  <c:v>1604.65</c:v>
                </c:pt>
                <c:pt idx="756">
                  <c:v>1618.84</c:v>
                </c:pt>
                <c:pt idx="757">
                  <c:v>1635.5</c:v>
                </c:pt>
                <c:pt idx="758">
                  <c:v>1623.87</c:v>
                </c:pt>
                <c:pt idx="759">
                  <c:v>1618.77</c:v>
                </c:pt>
                <c:pt idx="760">
                  <c:v>1622.13</c:v>
                </c:pt>
                <c:pt idx="761">
                  <c:v>1628.31</c:v>
                </c:pt>
                <c:pt idx="762">
                  <c:v>1612.52</c:v>
                </c:pt>
                <c:pt idx="763">
                  <c:v>1614.09</c:v>
                </c:pt>
                <c:pt idx="764">
                  <c:v>1602.99</c:v>
                </c:pt>
                <c:pt idx="765">
                  <c:v>1595.36</c:v>
                </c:pt>
                <c:pt idx="766">
                  <c:v>1590.13</c:v>
                </c:pt>
                <c:pt idx="767">
                  <c:v>1581.95</c:v>
                </c:pt>
                <c:pt idx="768">
                  <c:v>1582.35</c:v>
                </c:pt>
                <c:pt idx="769">
                  <c:v>1612.65</c:v>
                </c:pt>
                <c:pt idx="770">
                  <c:v>1588.31</c:v>
                </c:pt>
                <c:pt idx="771">
                  <c:v>1577.26</c:v>
                </c:pt>
                <c:pt idx="772">
                  <c:v>1578.65</c:v>
                </c:pt>
                <c:pt idx="773">
                  <c:v>1592.74</c:v>
                </c:pt>
                <c:pt idx="774">
                  <c:v>1582.63</c:v>
                </c:pt>
                <c:pt idx="775">
                  <c:v>1548.76</c:v>
                </c:pt>
                <c:pt idx="776">
                  <c:v>1551.04</c:v>
                </c:pt>
                <c:pt idx="777">
                  <c:v>1565.07</c:v>
                </c:pt>
                <c:pt idx="778">
                  <c:v>1530.82</c:v>
                </c:pt>
                <c:pt idx="779">
                  <c:v>1530.52</c:v>
                </c:pt>
                <c:pt idx="780">
                  <c:v>1534.41</c:v>
                </c:pt>
                <c:pt idx="781">
                  <c:v>1509.8</c:v>
                </c:pt>
                <c:pt idx="782">
                  <c:v>1498.79</c:v>
                </c:pt>
                <c:pt idx="783">
                  <c:v>1523.34</c:v>
                </c:pt>
                <c:pt idx="784">
                  <c:v>1529.32</c:v>
                </c:pt>
                <c:pt idx="785">
                  <c:v>1532.09</c:v>
                </c:pt>
                <c:pt idx="786">
                  <c:v>1539.87</c:v>
                </c:pt>
                <c:pt idx="787">
                  <c:v>1542.55</c:v>
                </c:pt>
                <c:pt idx="788">
                  <c:v>1531.14</c:v>
                </c:pt>
                <c:pt idx="789">
                  <c:v>1535.73</c:v>
                </c:pt>
                <c:pt idx="790">
                  <c:v>1537.66</c:v>
                </c:pt>
                <c:pt idx="791">
                  <c:v>1494.3</c:v>
                </c:pt>
                <c:pt idx="792">
                  <c:v>1478.82</c:v>
                </c:pt>
                <c:pt idx="793">
                  <c:v>1489.34</c:v>
                </c:pt>
                <c:pt idx="794">
                  <c:v>1485.73</c:v>
                </c:pt>
                <c:pt idx="795">
                  <c:v>1470.91</c:v>
                </c:pt>
                <c:pt idx="796">
                  <c:v>1458.8</c:v>
                </c:pt>
                <c:pt idx="797">
                  <c:v>1445.46</c:v>
                </c:pt>
                <c:pt idx="798">
                  <c:v>1446.04</c:v>
                </c:pt>
                <c:pt idx="799">
                  <c:v>1454.72</c:v>
                </c:pt>
                <c:pt idx="800">
                  <c:v>1460.04</c:v>
                </c:pt>
                <c:pt idx="801">
                  <c:v>1445.57</c:v>
                </c:pt>
                <c:pt idx="802">
                  <c:v>1440.1</c:v>
                </c:pt>
                <c:pt idx="803">
                  <c:v>1425.99</c:v>
                </c:pt>
                <c:pt idx="804">
                  <c:v>1419.45</c:v>
                </c:pt>
                <c:pt idx="805">
                  <c:v>1411.09</c:v>
                </c:pt>
                <c:pt idx="806">
                  <c:v>1419.63</c:v>
                </c:pt>
                <c:pt idx="807">
                  <c:v>1439.46</c:v>
                </c:pt>
                <c:pt idx="808">
                  <c:v>1453.81</c:v>
                </c:pt>
                <c:pt idx="809">
                  <c:v>1433.08</c:v>
                </c:pt>
                <c:pt idx="810">
                  <c:v>1405.47</c:v>
                </c:pt>
                <c:pt idx="811">
                  <c:v>1366.53</c:v>
                </c:pt>
                <c:pt idx="812">
                  <c:v>1356.65</c:v>
                </c:pt>
                <c:pt idx="813">
                  <c:v>1327.92</c:v>
                </c:pt>
                <c:pt idx="814">
                  <c:v>1327.55</c:v>
                </c:pt>
                <c:pt idx="815">
                  <c:v>1336.46</c:v>
                </c:pt>
                <c:pt idx="816">
                  <c:v>1329.14</c:v>
                </c:pt>
                <c:pt idx="817">
                  <c:v>1333.89</c:v>
                </c:pt>
                <c:pt idx="818">
                  <c:v>1375.4</c:v>
                </c:pt>
                <c:pt idx="819">
                  <c:v>1387.98</c:v>
                </c:pt>
                <c:pt idx="820">
                  <c:v>1382.22</c:v>
                </c:pt>
                <c:pt idx="821">
                  <c:v>1387.54</c:v>
                </c:pt>
                <c:pt idx="822">
                  <c:v>1407.21</c:v>
                </c:pt>
                <c:pt idx="823">
                  <c:v>1432.15</c:v>
                </c:pt>
                <c:pt idx="824">
                  <c:v>1451.84</c:v>
                </c:pt>
                <c:pt idx="825">
                  <c:v>1452.17</c:v>
                </c:pt>
                <c:pt idx="826">
                  <c:v>1422.29</c:v>
                </c:pt>
                <c:pt idx="827">
                  <c:v>1412.69</c:v>
                </c:pt>
                <c:pt idx="828">
                  <c:v>1391.01</c:v>
                </c:pt>
                <c:pt idx="829">
                  <c:v>1380.58</c:v>
                </c:pt>
                <c:pt idx="830">
                  <c:v>1405.34</c:v>
                </c:pt>
                <c:pt idx="831">
                  <c:v>1417.05</c:v>
                </c:pt>
                <c:pt idx="832">
                  <c:v>1433.02</c:v>
                </c:pt>
                <c:pt idx="833">
                  <c:v>1461.93</c:v>
                </c:pt>
                <c:pt idx="834">
                  <c:v>1400.84</c:v>
                </c:pt>
                <c:pt idx="835">
                  <c:v>1388.52</c:v>
                </c:pt>
                <c:pt idx="836">
                  <c:v>1385.08</c:v>
                </c:pt>
                <c:pt idx="837">
                  <c:v>1399.11</c:v>
                </c:pt>
                <c:pt idx="838">
                  <c:v>1360.06</c:v>
                </c:pt>
                <c:pt idx="839">
                  <c:v>1350.42</c:v>
                </c:pt>
                <c:pt idx="840">
                  <c:v>1331.43</c:v>
                </c:pt>
                <c:pt idx="841">
                  <c:v>1319.01</c:v>
                </c:pt>
                <c:pt idx="842">
                  <c:v>1322.39</c:v>
                </c:pt>
                <c:pt idx="843">
                  <c:v>1301.08</c:v>
                </c:pt>
                <c:pt idx="844">
                  <c:v>1286.8599999999999</c:v>
                </c:pt>
                <c:pt idx="845">
                  <c:v>1314.41</c:v>
                </c:pt>
                <c:pt idx="846">
                  <c:v>1300.54</c:v>
                </c:pt>
                <c:pt idx="847">
                  <c:v>1263.6600000000001</c:v>
                </c:pt>
                <c:pt idx="848">
                  <c:v>1261.6300000000001</c:v>
                </c:pt>
                <c:pt idx="849">
                  <c:v>1293.8800000000001</c:v>
                </c:pt>
                <c:pt idx="850">
                  <c:v>1314.01</c:v>
                </c:pt>
                <c:pt idx="851">
                  <c:v>1314.06</c:v>
                </c:pt>
                <c:pt idx="852">
                  <c:v>1291.72</c:v>
                </c:pt>
                <c:pt idx="853">
                  <c:v>1243.32</c:v>
                </c:pt>
                <c:pt idx="854">
                  <c:v>1245.72</c:v>
                </c:pt>
                <c:pt idx="855">
                  <c:v>1233.04</c:v>
                </c:pt>
                <c:pt idx="856">
                  <c:v>1243.2</c:v>
                </c:pt>
                <c:pt idx="857">
                  <c:v>1261.1300000000001</c:v>
                </c:pt>
                <c:pt idx="858">
                  <c:v>1262.77</c:v>
                </c:pt>
                <c:pt idx="859">
                  <c:v>1275.44</c:v>
                </c:pt>
                <c:pt idx="860">
                  <c:v>1276.8499999999999</c:v>
                </c:pt>
                <c:pt idx="861">
                  <c:v>1274.07</c:v>
                </c:pt>
                <c:pt idx="862">
                  <c:v>1264.29</c:v>
                </c:pt>
                <c:pt idx="863">
                  <c:v>1280.6099999999999</c:v>
                </c:pt>
                <c:pt idx="864">
                  <c:v>1268.5899999999999</c:v>
                </c:pt>
                <c:pt idx="865">
                  <c:v>1277.29</c:v>
                </c:pt>
                <c:pt idx="866">
                  <c:v>1282.8399999999999</c:v>
                </c:pt>
                <c:pt idx="867">
                  <c:v>1275.29</c:v>
                </c:pt>
                <c:pt idx="868">
                  <c:v>1322.76</c:v>
                </c:pt>
                <c:pt idx="869">
                  <c:v>1348.81</c:v>
                </c:pt>
                <c:pt idx="870">
                  <c:v>1354.54</c:v>
                </c:pt>
                <c:pt idx="871">
                  <c:v>1368.83</c:v>
                </c:pt>
                <c:pt idx="872">
                  <c:v>1393.05</c:v>
                </c:pt>
                <c:pt idx="873">
                  <c:v>1377.35</c:v>
                </c:pt>
                <c:pt idx="874">
                  <c:v>1382.33</c:v>
                </c:pt>
                <c:pt idx="875">
                  <c:v>1380.01</c:v>
                </c:pt>
                <c:pt idx="876">
                  <c:v>1379.88</c:v>
                </c:pt>
                <c:pt idx="877">
                  <c:v>1369.36</c:v>
                </c:pt>
                <c:pt idx="878">
                  <c:v>1353.38</c:v>
                </c:pt>
                <c:pt idx="879">
                  <c:v>1348.37</c:v>
                </c:pt>
                <c:pt idx="880">
                  <c:v>1341.34</c:v>
                </c:pt>
                <c:pt idx="881">
                  <c:v>1326.41</c:v>
                </c:pt>
                <c:pt idx="882">
                  <c:v>1313.38</c:v>
                </c:pt>
                <c:pt idx="883">
                  <c:v>1331.71</c:v>
                </c:pt>
                <c:pt idx="884">
                  <c:v>1336.39</c:v>
                </c:pt>
                <c:pt idx="885">
                  <c:v>1333.42</c:v>
                </c:pt>
                <c:pt idx="886">
                  <c:v>1304.98</c:v>
                </c:pt>
                <c:pt idx="887">
                  <c:v>1301.28</c:v>
                </c:pt>
                <c:pt idx="888">
                  <c:v>1303.28</c:v>
                </c:pt>
                <c:pt idx="889">
                  <c:v>1325.72</c:v>
                </c:pt>
                <c:pt idx="890">
                  <c:v>1326.53</c:v>
                </c:pt>
                <c:pt idx="891">
                  <c:v>1338.85</c:v>
                </c:pt>
                <c:pt idx="892">
                  <c:v>1356.34</c:v>
                </c:pt>
                <c:pt idx="893">
                  <c:v>1327.49</c:v>
                </c:pt>
                <c:pt idx="894">
                  <c:v>1323.42</c:v>
                </c:pt>
                <c:pt idx="895">
                  <c:v>1322.25</c:v>
                </c:pt>
                <c:pt idx="896">
                  <c:v>1317.77</c:v>
                </c:pt>
                <c:pt idx="897">
                  <c:v>1312.47</c:v>
                </c:pt>
                <c:pt idx="898">
                  <c:v>1329.05</c:v>
                </c:pt>
                <c:pt idx="899">
                  <c:v>1330.99</c:v>
                </c:pt>
                <c:pt idx="900">
                  <c:v>1324.48</c:v>
                </c:pt>
                <c:pt idx="901">
                  <c:v>1304.33</c:v>
                </c:pt>
                <c:pt idx="902">
                  <c:v>1299.6500000000001</c:v>
                </c:pt>
                <c:pt idx="903">
                  <c:v>1300.67</c:v>
                </c:pt>
                <c:pt idx="904">
                  <c:v>1290.96</c:v>
                </c:pt>
                <c:pt idx="905">
                  <c:v>1291.98</c:v>
                </c:pt>
                <c:pt idx="906">
                  <c:v>1293.1099999999999</c:v>
                </c:pt>
                <c:pt idx="907">
                  <c:v>1298.53</c:v>
                </c:pt>
                <c:pt idx="908">
                  <c:v>1339.8</c:v>
                </c:pt>
                <c:pt idx="909">
                  <c:v>1345.6</c:v>
                </c:pt>
                <c:pt idx="910">
                  <c:v>1380.37</c:v>
                </c:pt>
                <c:pt idx="911" formatCode="#,##0.0">
                  <c:v>1390.55</c:v>
                </c:pt>
                <c:pt idx="912" formatCode="#,##0.0">
                  <c:v>1394.03</c:v>
                </c:pt>
                <c:pt idx="913" formatCode="#,##0.0">
                  <c:v>1401.46</c:v>
                </c:pt>
                <c:pt idx="914" formatCode="#,##0.0">
                  <c:v>1396.57</c:v>
                </c:pt>
                <c:pt idx="915" formatCode="#,##0.0">
                  <c:v>1436.14</c:v>
                </c:pt>
                <c:pt idx="916" formatCode="#,##0.0">
                  <c:v>1439.79</c:v>
                </c:pt>
                <c:pt idx="917" formatCode="#,##0.0">
                  <c:v>1429.62</c:v>
                </c:pt>
                <c:pt idx="918" formatCode="#,##0.0">
                  <c:v>1478.75</c:v>
                </c:pt>
                <c:pt idx="919" formatCode="#,##0.0">
                  <c:v>1462.92</c:v>
                </c:pt>
                <c:pt idx="920" formatCode="#,##0.0">
                  <c:v>1451.43</c:v>
                </c:pt>
                <c:pt idx="921" formatCode="#,##0.0">
                  <c:v>1446.41</c:v>
                </c:pt>
                <c:pt idx="922" formatCode="#,##0.0">
                  <c:v>1452.98</c:v>
                </c:pt>
                <c:pt idx="923" formatCode="#,##0.0">
                  <c:v>1451.64</c:v>
                </c:pt>
                <c:pt idx="924" formatCode="#,##0.0">
                  <c:v>1432.87</c:v>
                </c:pt>
                <c:pt idx="925" formatCode="#,##0.0">
                  <c:v>1422.49</c:v>
                </c:pt>
                <c:pt idx="926" formatCode="#,##0.0">
                  <c:v>1438.04</c:v>
                </c:pt>
                <c:pt idx="927" formatCode="#,##0.0">
                  <c:v>1421.94</c:v>
                </c:pt>
                <c:pt idx="928" formatCode="#,##0.0">
                  <c:v>1427.81</c:v>
                </c:pt>
                <c:pt idx="929" formatCode="#,##0.0">
                  <c:v>1443.15</c:v>
                </c:pt>
                <c:pt idx="930" formatCode="#,##0.0">
                  <c:v>1444.32</c:v>
                </c:pt>
                <c:pt idx="931" formatCode="#,##0.0">
                  <c:v>1471.65</c:v>
                </c:pt>
                <c:pt idx="932" formatCode="#,##0.0">
                  <c:v>1461</c:v>
                </c:pt>
                <c:pt idx="933" formatCode="#,##0.0">
                  <c:v>1484.82</c:v>
                </c:pt>
                <c:pt idx="934" formatCode="#,##0.0">
                  <c:v>1477</c:v>
                </c:pt>
                <c:pt idx="935" formatCode="#,##0.0">
                  <c:v>1473.97</c:v>
                </c:pt>
                <c:pt idx="936" formatCode="#,##0.0">
                  <c:v>1495.31</c:v>
                </c:pt>
                <c:pt idx="937" formatCode="#,##0.0">
                  <c:v>1500.25</c:v>
                </c:pt>
                <c:pt idx="938" formatCode="#,##0.0">
                  <c:v>1491.85</c:v>
                </c:pt>
                <c:pt idx="939" formatCode="#,##0.0">
                  <c:v>1516.62</c:v>
                </c:pt>
                <c:pt idx="940" formatCode="#,##0.0">
                  <c:v>1516.96</c:v>
                </c:pt>
                <c:pt idx="941" formatCode="#,##0.0">
                  <c:v>1519.61</c:v>
                </c:pt>
                <c:pt idx="942" formatCode="#,##0.0">
                  <c:v>1496.15</c:v>
                </c:pt>
                <c:pt idx="943" formatCode="#,##0.0">
                  <c:v>1497.49</c:v>
                </c:pt>
                <c:pt idx="944" formatCode="#,##0.0">
                  <c:v>1495.36</c:v>
                </c:pt>
                <c:pt idx="945" formatCode="#,##0.0">
                  <c:v>1489.48</c:v>
                </c:pt>
                <c:pt idx="946" formatCode="#,##0.0">
                  <c:v>1492.89</c:v>
                </c:pt>
                <c:pt idx="947" formatCode="#,##0.0">
                  <c:v>1490.07</c:v>
                </c:pt>
                <c:pt idx="948" formatCode="#,##0.0">
                  <c:v>1484.74</c:v>
                </c:pt>
                <c:pt idx="949">
                  <c:v>1475.18</c:v>
                </c:pt>
                <c:pt idx="950">
                  <c:v>1460.23</c:v>
                </c:pt>
                <c:pt idx="951">
                  <c:v>1458.93</c:v>
                </c:pt>
                <c:pt idx="952">
                  <c:v>1468.22</c:v>
                </c:pt>
                <c:pt idx="953">
                  <c:v>1435.12</c:v>
                </c:pt>
                <c:pt idx="954">
                  <c:v>1427.93</c:v>
                </c:pt>
                <c:pt idx="955">
                  <c:v>1437.37</c:v>
                </c:pt>
                <c:pt idx="956">
                  <c:v>1406.92</c:v>
                </c:pt>
                <c:pt idx="957">
                  <c:v>1434.44</c:v>
                </c:pt>
                <c:pt idx="958">
                  <c:v>1444.24</c:v>
                </c:pt>
                <c:pt idx="959">
                  <c:v>1462.98</c:v>
                </c:pt>
                <c:pt idx="960">
                  <c:v>1455.04</c:v>
                </c:pt>
                <c:pt idx="961">
                  <c:v>1447.2</c:v>
                </c:pt>
                <c:pt idx="962">
                  <c:v>1425.86</c:v>
                </c:pt>
                <c:pt idx="963">
                  <c:v>1444.91</c:v>
                </c:pt>
                <c:pt idx="964">
                  <c:v>1433.55</c:v>
                </c:pt>
                <c:pt idx="965">
                  <c:v>1416.43</c:v>
                </c:pt>
                <c:pt idx="966">
                  <c:v>1404.31</c:v>
                </c:pt>
                <c:pt idx="967">
                  <c:v>1406.51</c:v>
                </c:pt>
                <c:pt idx="968">
                  <c:v>1402.93</c:v>
                </c:pt>
                <c:pt idx="969">
                  <c:v>1398.74</c:v>
                </c:pt>
                <c:pt idx="970">
                  <c:v>1372.44</c:v>
                </c:pt>
                <c:pt idx="971">
                  <c:v>1364.44</c:v>
                </c:pt>
                <c:pt idx="972">
                  <c:v>1362.55</c:v>
                </c:pt>
                <c:pt idx="973">
                  <c:v>1390.61</c:v>
                </c:pt>
                <c:pt idx="974">
                  <c:v>1412.08</c:v>
                </c:pt>
                <c:pt idx="975">
                  <c:v>1409.85</c:v>
                </c:pt>
                <c:pt idx="976">
                  <c:v>1409.28</c:v>
                </c:pt>
                <c:pt idx="977">
                  <c:v>1393.57</c:v>
                </c:pt>
                <c:pt idx="978">
                  <c:v>1391.85</c:v>
                </c:pt>
                <c:pt idx="979">
                  <c:v>1407.25</c:v>
                </c:pt>
                <c:pt idx="980">
                  <c:v>1414.68</c:v>
                </c:pt>
                <c:pt idx="981">
                  <c:v>1423.87</c:v>
                </c:pt>
                <c:pt idx="982">
                  <c:v>1431.11</c:v>
                </c:pt>
                <c:pt idx="983">
                  <c:v>1429.91</c:v>
                </c:pt>
                <c:pt idx="984">
                  <c:v>1453.1</c:v>
                </c:pt>
                <c:pt idx="985">
                  <c:v>1454.02</c:v>
                </c:pt>
                <c:pt idx="986">
                  <c:v>1447.5</c:v>
                </c:pt>
                <c:pt idx="987">
                  <c:v>1448.29</c:v>
                </c:pt>
                <c:pt idx="988">
                  <c:v>1445.39</c:v>
                </c:pt>
                <c:pt idx="989">
                  <c:v>1388.86</c:v>
                </c:pt>
                <c:pt idx="990">
                  <c:v>1395.91</c:v>
                </c:pt>
                <c:pt idx="991">
                  <c:v>1401.82</c:v>
                </c:pt>
                <c:pt idx="992">
                  <c:v>1388.69</c:v>
                </c:pt>
                <c:pt idx="993">
                  <c:v>1401.78</c:v>
                </c:pt>
                <c:pt idx="994">
                  <c:v>1397.23</c:v>
                </c:pt>
                <c:pt idx="995">
                  <c:v>1395.79</c:v>
                </c:pt>
                <c:pt idx="996">
                  <c:v>1394.49</c:v>
                </c:pt>
                <c:pt idx="997">
                  <c:v>1395.87</c:v>
                </c:pt>
                <c:pt idx="998">
                  <c:v>1391.75</c:v>
                </c:pt>
                <c:pt idx="999">
                  <c:v>1381.59</c:v>
                </c:pt>
                <c:pt idx="1000">
                  <c:v>1364.11</c:v>
                </c:pt>
                <c:pt idx="1001">
                  <c:v>1346.51</c:v>
                </c:pt>
                <c:pt idx="1002">
                  <c:v>1332.51</c:v>
                </c:pt>
                <c:pt idx="1003">
                  <c:v>1308</c:v>
                </c:pt>
                <c:pt idx="1004">
                  <c:v>1320.9</c:v>
                </c:pt>
                <c:pt idx="1005">
                  <c:v>1301.02</c:v>
                </c:pt>
                <c:pt idx="1006">
                  <c:v>1293.2</c:v>
                </c:pt>
                <c:pt idx="1007">
                  <c:v>1291.82</c:v>
                </c:pt>
                <c:pt idx="1008">
                  <c:v>1317.5</c:v>
                </c:pt>
                <c:pt idx="1009">
                  <c:v>1330.28</c:v>
                </c:pt>
                <c:pt idx="1010">
                  <c:v>1341.49</c:v>
                </c:pt>
                <c:pt idx="1011">
                  <c:v>1336.02</c:v>
                </c:pt>
                <c:pt idx="1012">
                  <c:v>1341.85</c:v>
                </c:pt>
                <c:pt idx="1013">
                  <c:v>1353.17</c:v>
                </c:pt>
                <c:pt idx="1014">
                  <c:v>1321.61</c:v>
                </c:pt>
                <c:pt idx="1015">
                  <c:v>1343.2</c:v>
                </c:pt>
                <c:pt idx="1016">
                  <c:v>1347.41</c:v>
                </c:pt>
                <c:pt idx="1017">
                  <c:v>1343.62</c:v>
                </c:pt>
                <c:pt idx="1018">
                  <c:v>1306</c:v>
                </c:pt>
                <c:pt idx="1019">
                  <c:v>1303.1500000000001</c:v>
                </c:pt>
                <c:pt idx="1020">
                  <c:v>1315.54</c:v>
                </c:pt>
                <c:pt idx="1021">
                  <c:v>1318.98</c:v>
                </c:pt>
                <c:pt idx="1022">
                  <c:v>1306.3699999999999</c:v>
                </c:pt>
                <c:pt idx="1023">
                  <c:v>1286.07</c:v>
                </c:pt>
                <c:pt idx="1024">
                  <c:v>1260.95</c:v>
                </c:pt>
                <c:pt idx="1025">
                  <c:v>1267.27</c:v>
                </c:pt>
                <c:pt idx="1026">
                  <c:v>1115.06</c:v>
                </c:pt>
                <c:pt idx="1027">
                  <c:v>1184.22</c:v>
                </c:pt>
                <c:pt idx="1028">
                  <c:v>1182.05</c:v>
                </c:pt>
                <c:pt idx="1029">
                  <c:v>1164.6300000000001</c:v>
                </c:pt>
                <c:pt idx="1030">
                  <c:v>1158.8699999999999</c:v>
                </c:pt>
                <c:pt idx="1031">
                  <c:v>1132.05</c:v>
                </c:pt>
                <c:pt idx="1032">
                  <c:v>1100.1400000000001</c:v>
                </c:pt>
                <c:pt idx="1033">
                  <c:v>1077.8900000000001</c:v>
                </c:pt>
                <c:pt idx="1034">
                  <c:v>1062.47</c:v>
                </c:pt>
                <c:pt idx="1035">
                  <c:v>1114.6600000000001</c:v>
                </c:pt>
                <c:pt idx="1036">
                  <c:v>1161.26</c:v>
                </c:pt>
                <c:pt idx="1037">
                  <c:v>1155.81</c:v>
                </c:pt>
                <c:pt idx="1038">
                  <c:v>1150.82</c:v>
                </c:pt>
                <c:pt idx="1039">
                  <c:v>1136.21</c:v>
                </c:pt>
                <c:pt idx="1040">
                  <c:v>1131.5999999999999</c:v>
                </c:pt>
                <c:pt idx="1041">
                  <c:v>1170.2</c:v>
                </c:pt>
                <c:pt idx="1042">
                  <c:v>1198.8900000000001</c:v>
                </c:pt>
                <c:pt idx="1043">
                  <c:v>1179.47</c:v>
                </c:pt>
                <c:pt idx="1044">
                  <c:v>1186.28</c:v>
                </c:pt>
                <c:pt idx="1045">
                  <c:v>1226.0999999999999</c:v>
                </c:pt>
                <c:pt idx="1046">
                  <c:v>1235.74</c:v>
                </c:pt>
                <c:pt idx="1047">
                  <c:v>1222.47</c:v>
                </c:pt>
                <c:pt idx="1048">
                  <c:v>1210.71</c:v>
                </c:pt>
                <c:pt idx="1049">
                  <c:v>1233.93</c:v>
                </c:pt>
                <c:pt idx="1050">
                  <c:v>1193.78</c:v>
                </c:pt>
                <c:pt idx="1051">
                  <c:v>1195.71</c:v>
                </c:pt>
                <c:pt idx="1052">
                  <c:v>1190.1300000000001</c:v>
                </c:pt>
                <c:pt idx="1053">
                  <c:v>1213.46</c:v>
                </c:pt>
                <c:pt idx="1054">
                  <c:v>1204.07</c:v>
                </c:pt>
                <c:pt idx="1055">
                  <c:v>1179.97</c:v>
                </c:pt>
                <c:pt idx="1056">
                  <c:v>1142.96</c:v>
                </c:pt>
                <c:pt idx="1057">
                  <c:v>1154.31</c:v>
                </c:pt>
                <c:pt idx="1058">
                  <c:v>1172.6199999999999</c:v>
                </c:pt>
                <c:pt idx="1059">
                  <c:v>1200.22</c:v>
                </c:pt>
                <c:pt idx="1060">
                  <c:v>1187.94</c:v>
                </c:pt>
                <c:pt idx="1061">
                  <c:v>1178.81</c:v>
                </c:pt>
                <c:pt idx="1062">
                  <c:v>1171.99</c:v>
                </c:pt>
                <c:pt idx="1063">
                  <c:v>1145.6600000000001</c:v>
                </c:pt>
                <c:pt idx="1064">
                  <c:v>1119.3699999999999</c:v>
                </c:pt>
                <c:pt idx="1065">
                  <c:v>1139.29</c:v>
                </c:pt>
                <c:pt idx="1066">
                  <c:v>1153.3599999999999</c:v>
                </c:pt>
                <c:pt idx="1067">
                  <c:v>1155.7</c:v>
                </c:pt>
                <c:pt idx="1068">
                  <c:v>1143.44</c:v>
                </c:pt>
                <c:pt idx="1069">
                  <c:v>1172.9100000000001</c:v>
                </c:pt>
                <c:pt idx="1070">
                  <c:v>1227.75</c:v>
                </c:pt>
                <c:pt idx="1071">
                  <c:v>1232.78</c:v>
                </c:pt>
                <c:pt idx="1072">
                  <c:v>1234.31</c:v>
                </c:pt>
                <c:pt idx="1073">
                  <c:v>1254.29</c:v>
                </c:pt>
                <c:pt idx="1074">
                  <c:v>1261.01</c:v>
                </c:pt>
                <c:pt idx="1075">
                  <c:v>1253</c:v>
                </c:pt>
                <c:pt idx="1076">
                  <c:v>1262.01</c:v>
                </c:pt>
                <c:pt idx="1077">
                  <c:v>1289.98</c:v>
                </c:pt>
                <c:pt idx="1078">
                  <c:v>1298.6400000000001</c:v>
                </c:pt>
                <c:pt idx="1079">
                  <c:v>1317.09</c:v>
                </c:pt>
                <c:pt idx="1080">
                  <c:v>1312.97</c:v>
                </c:pt>
                <c:pt idx="1081">
                  <c:v>1326.58</c:v>
                </c:pt>
                <c:pt idx="1082">
                  <c:v>1335.73</c:v>
                </c:pt>
                <c:pt idx="1083">
                  <c:v>1297.5</c:v>
                </c:pt>
                <c:pt idx="1084">
                  <c:v>1300.46</c:v>
                </c:pt>
                <c:pt idx="1085">
                  <c:v>1314.71</c:v>
                </c:pt>
                <c:pt idx="1086">
                  <c:v>1295.75</c:v>
                </c:pt>
                <c:pt idx="1087">
                  <c:v>1322.52</c:v>
                </c:pt>
                <c:pt idx="1088">
                  <c:v>1324.03</c:v>
                </c:pt>
                <c:pt idx="1089">
                  <c:v>1324.87</c:v>
                </c:pt>
                <c:pt idx="1090">
                  <c:v>1333.86</c:v>
                </c:pt>
                <c:pt idx="1091">
                  <c:v>1359.1</c:v>
                </c:pt>
                <c:pt idx="1092">
                  <c:v>1361.65</c:v>
                </c:pt>
                <c:pt idx="1093">
                  <c:v>1368.84</c:v>
                </c:pt>
                <c:pt idx="1094">
                  <c:v>1374.94</c:v>
                </c:pt>
                <c:pt idx="1095">
                  <c:v>1357.8</c:v>
                </c:pt>
                <c:pt idx="1096">
                  <c:v>1343.5</c:v>
                </c:pt>
                <c:pt idx="1097">
                  <c:v>1362.99</c:v>
                </c:pt>
                <c:pt idx="1098">
                  <c:v>1371.55</c:v>
                </c:pt>
                <c:pt idx="1099">
                  <c:v>1358.73</c:v>
                </c:pt>
                <c:pt idx="1100">
                  <c:v>1369.1</c:v>
                </c:pt>
                <c:pt idx="1101">
                  <c:v>1421.07</c:v>
                </c:pt>
                <c:pt idx="1102">
                  <c:v>1383.02</c:v>
                </c:pt>
                <c:pt idx="1103">
                  <c:v>1377.41</c:v>
                </c:pt>
                <c:pt idx="1104">
                  <c:v>1379.75</c:v>
                </c:pt>
                <c:pt idx="1105">
                  <c:v>1366.08</c:v>
                </c:pt>
                <c:pt idx="1106">
                  <c:v>1362.1</c:v>
                </c:pt>
                <c:pt idx="1107">
                  <c:v>1390.47</c:v>
                </c:pt>
                <c:pt idx="1108">
                  <c:v>1390.72</c:v>
                </c:pt>
                <c:pt idx="1109">
                  <c:v>1360.48</c:v>
                </c:pt>
                <c:pt idx="1110">
                  <c:v>1385.24</c:v>
                </c:pt>
                <c:pt idx="1111">
                  <c:v>1393.59</c:v>
                </c:pt>
                <c:pt idx="1112">
                  <c:v>1403.72</c:v>
                </c:pt>
                <c:pt idx="1113">
                  <c:v>1383.7</c:v>
                </c:pt>
                <c:pt idx="1114">
                  <c:v>1383.18</c:v>
                </c:pt>
                <c:pt idx="1115">
                  <c:v>1361.89</c:v>
                </c:pt>
                <c:pt idx="1116">
                  <c:v>1352.15</c:v>
                </c:pt>
                <c:pt idx="1117">
                  <c:v>1350.52</c:v>
                </c:pt>
                <c:pt idx="1118">
                  <c:v>1299.03</c:v>
                </c:pt>
                <c:pt idx="1119">
                  <c:v>1276.28</c:v>
                </c:pt>
                <c:pt idx="1120">
                  <c:v>1239.1300000000001</c:v>
                </c:pt>
                <c:pt idx="1121">
                  <c:v>1266.8800000000001</c:v>
                </c:pt>
                <c:pt idx="1122">
                  <c:v>1272.02</c:v>
                </c:pt>
                <c:pt idx="1123">
                  <c:v>1266.72</c:v>
                </c:pt>
                <c:pt idx="1124">
                  <c:v>1246.25</c:v>
                </c:pt>
                <c:pt idx="1125">
                  <c:v>1208.83</c:v>
                </c:pt>
                <c:pt idx="1126">
                  <c:v>1207.29</c:v>
                </c:pt>
                <c:pt idx="1127">
                  <c:v>1222.4000000000001</c:v>
                </c:pt>
                <c:pt idx="1128">
                  <c:v>1219.3599999999999</c:v>
                </c:pt>
                <c:pt idx="1129">
                  <c:v>1212.74</c:v>
                </c:pt>
                <c:pt idx="1130">
                  <c:v>1212.21</c:v>
                </c:pt>
                <c:pt idx="1131">
                  <c:v>1191.3699999999999</c:v>
                </c:pt>
                <c:pt idx="1132">
                  <c:v>1160.8599999999999</c:v>
                </c:pt>
                <c:pt idx="1133">
                  <c:v>1157.97</c:v>
                </c:pt>
                <c:pt idx="1134">
                  <c:v>1170.5999999999999</c:v>
                </c:pt>
                <c:pt idx="1135">
                  <c:v>1203.67</c:v>
                </c:pt>
                <c:pt idx="1136">
                  <c:v>1198.72</c:v>
                </c:pt>
                <c:pt idx="1137">
                  <c:v>1220.8</c:v>
                </c:pt>
                <c:pt idx="1138">
                  <c:v>1231.94</c:v>
                </c:pt>
                <c:pt idx="1139">
                  <c:v>1232.3399999999999</c:v>
                </c:pt>
                <c:pt idx="1140">
                  <c:v>1243.56</c:v>
                </c:pt>
                <c:pt idx="1141">
                  <c:v>1251.69</c:v>
                </c:pt>
                <c:pt idx="1142">
                  <c:v>1257.4100000000001</c:v>
                </c:pt>
                <c:pt idx="1143">
                  <c:v>1275.5999999999999</c:v>
                </c:pt>
                <c:pt idx="1144">
                  <c:v>1260.07</c:v>
                </c:pt>
                <c:pt idx="1145">
                  <c:v>1267.42</c:v>
                </c:pt>
                <c:pt idx="1146">
                  <c:v>1259.47</c:v>
                </c:pt>
                <c:pt idx="1147">
                  <c:v>1260.72</c:v>
                </c:pt>
                <c:pt idx="1148">
                  <c:v>1219.49</c:v>
                </c:pt>
                <c:pt idx="1149">
                  <c:v>1190.23</c:v>
                </c:pt>
                <c:pt idx="1150">
                  <c:v>1177.6600000000001</c:v>
                </c:pt>
                <c:pt idx="1151">
                  <c:v>1177.93</c:v>
                </c:pt>
                <c:pt idx="1152">
                  <c:v>1239.23</c:v>
                </c:pt>
                <c:pt idx="1153">
                  <c:v>1241.51</c:v>
                </c:pt>
                <c:pt idx="1154">
                  <c:v>1257.26</c:v>
                </c:pt>
                <c:pt idx="1155">
                  <c:v>1245.53</c:v>
                </c:pt>
                <c:pt idx="1156">
                  <c:v>1246.6400000000001</c:v>
                </c:pt>
                <c:pt idx="1157">
                  <c:v>1239.0899999999999</c:v>
                </c:pt>
                <c:pt idx="1158">
                  <c:v>1217.8800000000001</c:v>
                </c:pt>
                <c:pt idx="1159">
                  <c:v>1213.27</c:v>
                </c:pt>
                <c:pt idx="1160">
                  <c:v>1194.73</c:v>
                </c:pt>
                <c:pt idx="1161">
                  <c:v>1202</c:v>
                </c:pt>
                <c:pt idx="1162">
                  <c:v>1190.0999999999999</c:v>
                </c:pt>
                <c:pt idx="1163">
                  <c:v>1187.24</c:v>
                </c:pt>
                <c:pt idx="1164">
                  <c:v>1170.25</c:v>
                </c:pt>
                <c:pt idx="1165">
                  <c:v>1151.1600000000001</c:v>
                </c:pt>
                <c:pt idx="1166">
                  <c:v>1167.25</c:v>
                </c:pt>
                <c:pt idx="1167">
                  <c:v>1189.23</c:v>
                </c:pt>
                <c:pt idx="1168">
                  <c:v>1175.5899999999999</c:v>
                </c:pt>
                <c:pt idx="1169">
                  <c:v>1156.1500000000001</c:v>
                </c:pt>
                <c:pt idx="1170">
                  <c:v>1126.21</c:v>
                </c:pt>
                <c:pt idx="1171">
                  <c:v>1123.72</c:v>
                </c:pt>
                <c:pt idx="1172">
                  <c:v>1113.42</c:v>
                </c:pt>
                <c:pt idx="1173">
                  <c:v>1095.1099999999999</c:v>
                </c:pt>
                <c:pt idx="1174">
                  <c:v>1092.1199999999999</c:v>
                </c:pt>
                <c:pt idx="1175">
                  <c:v>1120.2</c:v>
                </c:pt>
                <c:pt idx="1176">
                  <c:v>1106.8</c:v>
                </c:pt>
                <c:pt idx="1177">
                  <c:v>1082.5899999999999</c:v>
                </c:pt>
                <c:pt idx="1178">
                  <c:v>1088.8</c:v>
                </c:pt>
                <c:pt idx="1179">
                  <c:v>1064.29</c:v>
                </c:pt>
                <c:pt idx="1180">
                  <c:v>1076.58</c:v>
                </c:pt>
                <c:pt idx="1181">
                  <c:v>1075.45</c:v>
                </c:pt>
                <c:pt idx="1182">
                  <c:v>1067.05</c:v>
                </c:pt>
                <c:pt idx="1183">
                  <c:v>1045.23</c:v>
                </c:pt>
                <c:pt idx="1184">
                  <c:v>1072.94</c:v>
                </c:pt>
                <c:pt idx="1185">
                  <c:v>1056.71</c:v>
                </c:pt>
                <c:pt idx="1186">
                  <c:v>1063.8599999999999</c:v>
                </c:pt>
                <c:pt idx="1187">
                  <c:v>1047.47</c:v>
                </c:pt>
                <c:pt idx="1188">
                  <c:v>1035.9100000000001</c:v>
                </c:pt>
                <c:pt idx="1189">
                  <c:v>1036.68</c:v>
                </c:pt>
                <c:pt idx="1190">
                  <c:v>1039.5</c:v>
                </c:pt>
                <c:pt idx="1191">
                  <c:v>1049.58</c:v>
                </c:pt>
                <c:pt idx="1192">
                  <c:v>1059.6199999999999</c:v>
                </c:pt>
                <c:pt idx="1193">
                  <c:v>1098.68</c:v>
                </c:pt>
                <c:pt idx="1194">
                  <c:v>1091.44</c:v>
                </c:pt>
                <c:pt idx="1195">
                  <c:v>1054.45</c:v>
                </c:pt>
                <c:pt idx="1196">
                  <c:v>1017.28</c:v>
                </c:pt>
                <c:pt idx="1197">
                  <c:v>1007.68</c:v>
                </c:pt>
                <c:pt idx="1198">
                  <c:v>1045.51</c:v>
                </c:pt>
                <c:pt idx="1199">
                  <c:v>1028.95</c:v>
                </c:pt>
                <c:pt idx="1200">
                  <c:v>1045.0899999999999</c:v>
                </c:pt>
                <c:pt idx="1201">
                  <c:v>1012.16</c:v>
                </c:pt>
                <c:pt idx="1202">
                  <c:v>1002.96</c:v>
                </c:pt>
                <c:pt idx="1203">
                  <c:v>1004.13</c:v>
                </c:pt>
                <c:pt idx="1204">
                  <c:v>1020.77</c:v>
                </c:pt>
                <c:pt idx="1205">
                  <c:v>1021.17</c:v>
                </c:pt>
                <c:pt idx="1206">
                  <c:v>1040.3599999999999</c:v>
                </c:pt>
                <c:pt idx="1207">
                  <c:v>1058.8</c:v>
                </c:pt>
                <c:pt idx="1208">
                  <c:v>1076.1600000000001</c:v>
                </c:pt>
                <c:pt idx="1209">
                  <c:v>1054.3800000000001</c:v>
                </c:pt>
                <c:pt idx="1210">
                  <c:v>1027.6099999999999</c:v>
                </c:pt>
                <c:pt idx="1211">
                  <c:v>1006.43</c:v>
                </c:pt>
                <c:pt idx="1212">
                  <c:v>974.27</c:v>
                </c:pt>
                <c:pt idx="1213">
                  <c:v>958.33</c:v>
                </c:pt>
                <c:pt idx="1214">
                  <c:v>925.43</c:v>
                </c:pt>
                <c:pt idx="1215">
                  <c:v>948.58</c:v>
                </c:pt>
                <c:pt idx="1216">
                  <c:v>918.65</c:v>
                </c:pt>
                <c:pt idx="1217">
                  <c:v>908.75</c:v>
                </c:pt>
                <c:pt idx="1218">
                  <c:v>870.37</c:v>
                </c:pt>
                <c:pt idx="1219">
                  <c:v>857.51</c:v>
                </c:pt>
                <c:pt idx="1220">
                  <c:v>855.05</c:v>
                </c:pt>
                <c:pt idx="1221">
                  <c:v>824.01</c:v>
                </c:pt>
                <c:pt idx="1222">
                  <c:v>799.18</c:v>
                </c:pt>
                <c:pt idx="1223">
                  <c:v>718.32</c:v>
                </c:pt>
                <c:pt idx="1224">
                  <c:v>629.15</c:v>
                </c:pt>
                <c:pt idx="1225">
                  <c:v>718.26</c:v>
                </c:pt>
                <c:pt idx="1226">
                  <c:v>764.93</c:v>
                </c:pt>
                <c:pt idx="1227">
                  <c:v>768.06</c:v>
                </c:pt>
                <c:pt idx="1228">
                  <c:v>811.03</c:v>
                </c:pt>
                <c:pt idx="1229">
                  <c:v>794.99</c:v>
                </c:pt>
                <c:pt idx="1230">
                  <c:v>814.97</c:v>
                </c:pt>
                <c:pt idx="1231">
                  <c:v>844.09</c:v>
                </c:pt>
                <c:pt idx="1232">
                  <c:v>828.57</c:v>
                </c:pt>
                <c:pt idx="1233">
                  <c:v>756.63</c:v>
                </c:pt>
                <c:pt idx="1234">
                  <c:v>737.88</c:v>
                </c:pt>
                <c:pt idx="1235">
                  <c:v>743.06</c:v>
                </c:pt>
                <c:pt idx="1236">
                  <c:v>762.39</c:v>
                </c:pt>
                <c:pt idx="1237">
                  <c:v>769.8</c:v>
                </c:pt>
                <c:pt idx="1238">
                  <c:v>766.57</c:v>
                </c:pt>
                <c:pt idx="1239">
                  <c:v>756.27</c:v>
                </c:pt>
                <c:pt idx="1240">
                  <c:v>782.13</c:v>
                </c:pt>
                <c:pt idx="1241">
                  <c:v>817.14</c:v>
                </c:pt>
                <c:pt idx="1242">
                  <c:v>820.99</c:v>
                </c:pt>
                <c:pt idx="1243">
                  <c:v>781.31</c:v>
                </c:pt>
                <c:pt idx="1244">
                  <c:v>783.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205824"/>
        <c:axId val="640309440"/>
      </c:lineChart>
      <c:dateAx>
        <c:axId val="640204800"/>
        <c:scaling>
          <c:orientation val="minMax"/>
          <c:max val="41999"/>
          <c:min val="40189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308864"/>
        <c:crosses val="autoZero"/>
        <c:auto val="1"/>
        <c:lblOffset val="100"/>
        <c:baseTimeUnit val="days"/>
        <c:majorUnit val="10"/>
        <c:majorTimeUnit val="months"/>
      </c:dateAx>
      <c:valAx>
        <c:axId val="640308864"/>
        <c:scaling>
          <c:orientation val="minMax"/>
        </c:scaling>
        <c:delete val="0"/>
        <c:axPos val="l"/>
        <c:majorGridlines/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5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204800"/>
        <c:crosses val="autoZero"/>
        <c:crossBetween val="between"/>
      </c:valAx>
      <c:dateAx>
        <c:axId val="64020582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40309440"/>
        <c:crosses val="autoZero"/>
        <c:auto val="0"/>
        <c:lblOffset val="100"/>
        <c:baseTimeUnit val="days"/>
      </c:dateAx>
      <c:valAx>
        <c:axId val="64030944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5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205824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8.2647604203058236E-2"/>
          <c:y val="0.90386683243541921"/>
          <c:w val="0.8038153592575672"/>
          <c:h val="6.8509462632960316E-2"/>
        </c:manualLayout>
      </c:layout>
      <c:overlay val="0"/>
      <c:txPr>
        <a:bodyPr/>
        <a:lstStyle/>
        <a:p>
          <a:pPr>
            <a:defRPr sz="8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r">
              <a:defRPr sz="900" b="0">
                <a:latin typeface="+mj-lt"/>
              </a:defRPr>
            </a:pPr>
            <a:r>
              <a:rPr lang="ru-RU" sz="900" b="0" dirty="0">
                <a:latin typeface="+mj-lt"/>
              </a:rPr>
              <a:t>Рынок нефтепродуктов на </a:t>
            </a:r>
            <a:r>
              <a:rPr lang="ru-RU" sz="900" b="0" dirty="0" smtClean="0">
                <a:latin typeface="+mj-lt"/>
              </a:rPr>
              <a:t>СПБМТСБ в </a:t>
            </a:r>
            <a:r>
              <a:rPr lang="ru-RU" sz="900" b="0" dirty="0" smtClean="0">
                <a:latin typeface="+mj-lt"/>
              </a:rPr>
              <a:t>2015г.</a:t>
            </a:r>
            <a:endParaRPr lang="ru-RU" sz="900" b="0" dirty="0">
              <a:latin typeface="+mj-lt"/>
            </a:endParaRPr>
          </a:p>
        </c:rich>
      </c:tx>
      <c:layout>
        <c:manualLayout>
          <c:xMode val="edge"/>
          <c:yMode val="edge"/>
          <c:x val="0.16354996195391289"/>
          <c:y val="9.261223515685078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0994061456483869E-2"/>
          <c:y val="0.20568103471135743"/>
          <c:w val="0.60340113936755202"/>
          <c:h val="0.7460621526199886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ынок нефтепродуктов на СПБМТСБ 2014 г.</c:v>
                </c:pt>
              </c:strCache>
            </c:strRef>
          </c:tx>
          <c:spPr>
            <a:effectLst/>
          </c:spPr>
          <c:explosion val="25"/>
          <c:dPt>
            <c:idx val="0"/>
            <c:bubble3D val="0"/>
            <c:explosion val="8"/>
            <c:spPr>
              <a:solidFill>
                <a:schemeClr val="accent2">
                  <a:lumMod val="60000"/>
                  <a:lumOff val="40000"/>
                </a:schemeClr>
              </a:solidFill>
              <a:effectLst/>
            </c:spPr>
          </c:dPt>
          <c:dPt>
            <c:idx val="1"/>
            <c:bubble3D val="0"/>
            <c:explosion val="4"/>
            <c:spPr>
              <a:solidFill>
                <a:schemeClr val="bg2">
                  <a:lumMod val="60000"/>
                  <a:lumOff val="40000"/>
                </a:schemeClr>
              </a:solidFill>
              <a:effectLst/>
            </c:spPr>
          </c:dPt>
          <c:dPt>
            <c:idx val="2"/>
            <c:bubble3D val="0"/>
            <c:explosion val="6"/>
            <c:spPr>
              <a:solidFill>
                <a:schemeClr val="accent1">
                  <a:lumMod val="60000"/>
                  <a:lumOff val="40000"/>
                </a:schemeClr>
              </a:solidFill>
              <a:effectLst/>
            </c:spPr>
          </c:dPt>
          <c:dPt>
            <c:idx val="3"/>
            <c:bubble3D val="0"/>
            <c:explosion val="10"/>
            <c:spPr>
              <a:solidFill>
                <a:schemeClr val="bg1">
                  <a:lumMod val="75000"/>
                </a:schemeClr>
              </a:solidFill>
              <a:effectLst/>
            </c:spPr>
          </c:dPt>
          <c:dLbls>
            <c:dLbl>
              <c:idx val="0"/>
              <c:layout>
                <c:manualLayout>
                  <c:x val="-0.10243751742468866"/>
                  <c:y val="0.12406724828299431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 smtClean="0"/>
                      <a:t>14,0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0.17397071184962676"/>
                  <c:y val="-8.5234414361857358E-2"/>
                </c:manualLayout>
              </c:layout>
              <c:tx>
                <c:rich>
                  <a:bodyPr/>
                  <a:lstStyle/>
                  <a:p>
                    <a:r>
                      <a:rPr lang="ru-RU" sz="900" dirty="0" smtClean="0"/>
                      <a:t>44</a:t>
                    </a:r>
                    <a:r>
                      <a:rPr lang="en-US" sz="900" dirty="0" smtClean="0"/>
                      <a:t>,</a:t>
                    </a:r>
                    <a:r>
                      <a:rPr lang="ru-RU" sz="900" dirty="0" smtClean="0"/>
                      <a:t>6</a:t>
                    </a:r>
                    <a:r>
                      <a:rPr lang="en-US" sz="900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3988906892944808"/>
                  <c:y val="-9.2007968497255371E-2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 smtClean="0"/>
                      <a:t>29,5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1076782873181806"/>
                  <c:y val="0.1523451380233883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.0%" sourceLinked="0"/>
            <c:txPr>
              <a:bodyPr/>
              <a:lstStyle/>
              <a:p>
                <a:pPr>
                  <a:defRPr sz="9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Авиатопливо</c:v>
                </c:pt>
                <c:pt idx="1">
                  <c:v>Бензин</c:v>
                </c:pt>
                <c:pt idx="2">
                  <c:v>ДТ</c:v>
                </c:pt>
                <c:pt idx="3">
                  <c:v>Мазут топочный</c:v>
                </c:pt>
              </c:strCache>
            </c:strRef>
          </c:cat>
          <c:val>
            <c:numRef>
              <c:f>Лист1!$B$2:$B$5</c:f>
              <c:numCache>
                <c:formatCode>_-* #,##0_р_._-;\-* #,##0_р_._-;_-* "-"??_р_._-;_-@_-</c:formatCode>
                <c:ptCount val="4"/>
                <c:pt idx="0">
                  <c:v>312345</c:v>
                </c:pt>
                <c:pt idx="1">
                  <c:v>996640</c:v>
                </c:pt>
                <c:pt idx="2">
                  <c:v>657775</c:v>
                </c:pt>
                <c:pt idx="3">
                  <c:v>2665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>
        <c:manualLayout>
          <c:xMode val="edge"/>
          <c:yMode val="edge"/>
          <c:x val="0.61438954371946108"/>
          <c:y val="0.39915309856540532"/>
          <c:w val="0.3270551175655535"/>
          <c:h val="0.54917262471919492"/>
        </c:manualLayout>
      </c:layout>
      <c:overlay val="0"/>
      <c:txPr>
        <a:bodyPr/>
        <a:lstStyle/>
        <a:p>
          <a:pPr>
            <a:defRPr sz="900">
              <a:latin typeface="+mj-lt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34120435629697"/>
          <c:y val="2.5701892526592069E-2"/>
          <c:w val="0.78177870847651776"/>
          <c:h val="0.81772476253589577"/>
        </c:manualLayout>
      </c:layout>
      <c:lineChart>
        <c:grouping val="standard"/>
        <c:varyColors val="0"/>
        <c:ser>
          <c:idx val="2"/>
          <c:order val="1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 w="31750">
              <a:solidFill>
                <a:srgbClr val="002060"/>
              </a:solidFill>
            </a:ln>
          </c:spPr>
          <c:marker>
            <c:symbol val="none"/>
          </c:marker>
          <c:cat>
            <c:numRef>
              <c:f>Индексы_Мир_СПбМТСБ!$F$218:$F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J$218:$J$1462</c:f>
              <c:numCache>
                <c:formatCode>General</c:formatCode>
                <c:ptCount val="1245"/>
                <c:pt idx="0">
                  <c:v>19521</c:v>
                </c:pt>
                <c:pt idx="1">
                  <c:v>21074</c:v>
                </c:pt>
                <c:pt idx="2">
                  <c:v>20757</c:v>
                </c:pt>
                <c:pt idx="3">
                  <c:v>21517</c:v>
                </c:pt>
                <c:pt idx="4">
                  <c:v>21790</c:v>
                </c:pt>
                <c:pt idx="5">
                  <c:v>22061</c:v>
                </c:pt>
                <c:pt idx="6">
                  <c:v>22069</c:v>
                </c:pt>
                <c:pt idx="7">
                  <c:v>22211</c:v>
                </c:pt>
                <c:pt idx="8">
                  <c:v>22371</c:v>
                </c:pt>
                <c:pt idx="9">
                  <c:v>22279</c:v>
                </c:pt>
                <c:pt idx="10">
                  <c:v>22373</c:v>
                </c:pt>
                <c:pt idx="11">
                  <c:v>21931</c:v>
                </c:pt>
                <c:pt idx="12">
                  <c:v>22338</c:v>
                </c:pt>
                <c:pt idx="13">
                  <c:v>22441</c:v>
                </c:pt>
                <c:pt idx="14">
                  <c:v>22446</c:v>
                </c:pt>
                <c:pt idx="15">
                  <c:v>23061</c:v>
                </c:pt>
                <c:pt idx="16">
                  <c:v>22119</c:v>
                </c:pt>
                <c:pt idx="17">
                  <c:v>23161</c:v>
                </c:pt>
                <c:pt idx="18">
                  <c:v>22819</c:v>
                </c:pt>
                <c:pt idx="19">
                  <c:v>23130</c:v>
                </c:pt>
                <c:pt idx="20">
                  <c:v>23411</c:v>
                </c:pt>
                <c:pt idx="21">
                  <c:v>23571</c:v>
                </c:pt>
                <c:pt idx="22">
                  <c:v>23186</c:v>
                </c:pt>
                <c:pt idx="23">
                  <c:v>22819</c:v>
                </c:pt>
                <c:pt idx="24">
                  <c:v>23561</c:v>
                </c:pt>
                <c:pt idx="25">
                  <c:v>23721</c:v>
                </c:pt>
                <c:pt idx="26">
                  <c:v>23721</c:v>
                </c:pt>
                <c:pt idx="27">
                  <c:v>23411</c:v>
                </c:pt>
                <c:pt idx="28">
                  <c:v>23571</c:v>
                </c:pt>
                <c:pt idx="29">
                  <c:v>22769</c:v>
                </c:pt>
                <c:pt idx="30">
                  <c:v>23311</c:v>
                </c:pt>
                <c:pt idx="31">
                  <c:v>22385</c:v>
                </c:pt>
                <c:pt idx="32">
                  <c:v>22481</c:v>
                </c:pt>
                <c:pt idx="33">
                  <c:v>22558</c:v>
                </c:pt>
                <c:pt idx="34">
                  <c:v>23411</c:v>
                </c:pt>
                <c:pt idx="35">
                  <c:v>22469</c:v>
                </c:pt>
                <c:pt idx="36">
                  <c:v>22544</c:v>
                </c:pt>
                <c:pt idx="37">
                  <c:v>22544</c:v>
                </c:pt>
                <c:pt idx="38">
                  <c:v>22459</c:v>
                </c:pt>
                <c:pt idx="39">
                  <c:v>22769</c:v>
                </c:pt>
                <c:pt idx="40">
                  <c:v>23016</c:v>
                </c:pt>
                <c:pt idx="41">
                  <c:v>23120</c:v>
                </c:pt>
                <c:pt idx="42">
                  <c:v>22819</c:v>
                </c:pt>
                <c:pt idx="43">
                  <c:v>22860</c:v>
                </c:pt>
                <c:pt idx="44">
                  <c:v>22935</c:v>
                </c:pt>
                <c:pt idx="45">
                  <c:v>22935</c:v>
                </c:pt>
                <c:pt idx="46">
                  <c:v>22752</c:v>
                </c:pt>
                <c:pt idx="47">
                  <c:v>22619</c:v>
                </c:pt>
                <c:pt idx="48">
                  <c:v>22950</c:v>
                </c:pt>
                <c:pt idx="49">
                  <c:v>23053</c:v>
                </c:pt>
                <c:pt idx="50">
                  <c:v>23061</c:v>
                </c:pt>
                <c:pt idx="51">
                  <c:v>23179</c:v>
                </c:pt>
                <c:pt idx="52">
                  <c:v>23127</c:v>
                </c:pt>
                <c:pt idx="53">
                  <c:v>23311</c:v>
                </c:pt>
                <c:pt idx="54">
                  <c:v>22932</c:v>
                </c:pt>
                <c:pt idx="55">
                  <c:v>23561</c:v>
                </c:pt>
                <c:pt idx="56">
                  <c:v>23721</c:v>
                </c:pt>
                <c:pt idx="57">
                  <c:v>23561</c:v>
                </c:pt>
                <c:pt idx="58">
                  <c:v>23561</c:v>
                </c:pt>
                <c:pt idx="59">
                  <c:v>23721</c:v>
                </c:pt>
                <c:pt idx="60">
                  <c:v>23711</c:v>
                </c:pt>
                <c:pt idx="61">
                  <c:v>23871</c:v>
                </c:pt>
                <c:pt idx="62">
                  <c:v>24161</c:v>
                </c:pt>
                <c:pt idx="63">
                  <c:v>24261</c:v>
                </c:pt>
                <c:pt idx="64">
                  <c:v>24421</c:v>
                </c:pt>
                <c:pt idx="65">
                  <c:v>24395</c:v>
                </c:pt>
                <c:pt idx="66">
                  <c:v>24513</c:v>
                </c:pt>
                <c:pt idx="67">
                  <c:v>24513</c:v>
                </c:pt>
                <c:pt idx="68">
                  <c:v>24336</c:v>
                </c:pt>
                <c:pt idx="69">
                  <c:v>23981</c:v>
                </c:pt>
                <c:pt idx="70">
                  <c:v>24154</c:v>
                </c:pt>
                <c:pt idx="71">
                  <c:v>24280</c:v>
                </c:pt>
                <c:pt idx="72">
                  <c:v>24460</c:v>
                </c:pt>
                <c:pt idx="73">
                  <c:v>24542</c:v>
                </c:pt>
                <c:pt idx="74">
                  <c:v>24619</c:v>
                </c:pt>
                <c:pt idx="75">
                  <c:v>24461</c:v>
                </c:pt>
                <c:pt idx="76">
                  <c:v>24419</c:v>
                </c:pt>
                <c:pt idx="77">
                  <c:v>24658</c:v>
                </c:pt>
                <c:pt idx="78">
                  <c:v>24724</c:v>
                </c:pt>
                <c:pt idx="79">
                  <c:v>24813</c:v>
                </c:pt>
                <c:pt idx="80">
                  <c:v>25136</c:v>
                </c:pt>
                <c:pt idx="81">
                  <c:v>24791</c:v>
                </c:pt>
                <c:pt idx="82">
                  <c:v>24530</c:v>
                </c:pt>
                <c:pt idx="83">
                  <c:v>24677</c:v>
                </c:pt>
                <c:pt idx="84">
                  <c:v>24680</c:v>
                </c:pt>
                <c:pt idx="85">
                  <c:v>24461</c:v>
                </c:pt>
                <c:pt idx="86">
                  <c:v>24420</c:v>
                </c:pt>
                <c:pt idx="87">
                  <c:v>24319</c:v>
                </c:pt>
                <c:pt idx="88">
                  <c:v>24586</c:v>
                </c:pt>
                <c:pt idx="89">
                  <c:v>24369</c:v>
                </c:pt>
                <c:pt idx="90">
                  <c:v>24562</c:v>
                </c:pt>
                <c:pt idx="91">
                  <c:v>24296</c:v>
                </c:pt>
                <c:pt idx="92">
                  <c:v>24456</c:v>
                </c:pt>
                <c:pt idx="93">
                  <c:v>24211</c:v>
                </c:pt>
                <c:pt idx="94">
                  <c:v>24086</c:v>
                </c:pt>
                <c:pt idx="95">
                  <c:v>23861</c:v>
                </c:pt>
                <c:pt idx="96">
                  <c:v>23861</c:v>
                </c:pt>
                <c:pt idx="97">
                  <c:v>24004</c:v>
                </c:pt>
                <c:pt idx="98">
                  <c:v>24011</c:v>
                </c:pt>
                <c:pt idx="99">
                  <c:v>23820</c:v>
                </c:pt>
                <c:pt idx="100">
                  <c:v>24036</c:v>
                </c:pt>
                <c:pt idx="101">
                  <c:v>23963</c:v>
                </c:pt>
                <c:pt idx="102">
                  <c:v>23959</c:v>
                </c:pt>
                <c:pt idx="103">
                  <c:v>24166</c:v>
                </c:pt>
                <c:pt idx="104">
                  <c:v>24347</c:v>
                </c:pt>
                <c:pt idx="105">
                  <c:v>22982</c:v>
                </c:pt>
                <c:pt idx="106">
                  <c:v>24219</c:v>
                </c:pt>
                <c:pt idx="107">
                  <c:v>24108</c:v>
                </c:pt>
                <c:pt idx="108">
                  <c:v>23997</c:v>
                </c:pt>
                <c:pt idx="109">
                  <c:v>24176</c:v>
                </c:pt>
                <c:pt idx="110">
                  <c:v>24356</c:v>
                </c:pt>
                <c:pt idx="111">
                  <c:v>24648</c:v>
                </c:pt>
                <c:pt idx="112">
                  <c:v>24646</c:v>
                </c:pt>
                <c:pt idx="113">
                  <c:v>24969</c:v>
                </c:pt>
                <c:pt idx="114">
                  <c:v>24806</c:v>
                </c:pt>
                <c:pt idx="115">
                  <c:v>24975</c:v>
                </c:pt>
                <c:pt idx="116">
                  <c:v>24419</c:v>
                </c:pt>
                <c:pt idx="117">
                  <c:v>24838</c:v>
                </c:pt>
                <c:pt idx="118">
                  <c:v>25080</c:v>
                </c:pt>
                <c:pt idx="119">
                  <c:v>24971</c:v>
                </c:pt>
                <c:pt idx="120">
                  <c:v>24725</c:v>
                </c:pt>
                <c:pt idx="121">
                  <c:v>25119</c:v>
                </c:pt>
                <c:pt idx="122">
                  <c:v>24933</c:v>
                </c:pt>
                <c:pt idx="123">
                  <c:v>24989</c:v>
                </c:pt>
                <c:pt idx="124">
                  <c:v>24788</c:v>
                </c:pt>
                <c:pt idx="125">
                  <c:v>24811</c:v>
                </c:pt>
                <c:pt idx="126">
                  <c:v>24619</c:v>
                </c:pt>
                <c:pt idx="127">
                  <c:v>24811</c:v>
                </c:pt>
                <c:pt idx="128">
                  <c:v>24971</c:v>
                </c:pt>
                <c:pt idx="129">
                  <c:v>24744</c:v>
                </c:pt>
                <c:pt idx="130">
                  <c:v>24717</c:v>
                </c:pt>
                <c:pt idx="131">
                  <c:v>24625</c:v>
                </c:pt>
                <c:pt idx="132">
                  <c:v>24535</c:v>
                </c:pt>
                <c:pt idx="133">
                  <c:v>24119</c:v>
                </c:pt>
                <c:pt idx="134">
                  <c:v>24347</c:v>
                </c:pt>
                <c:pt idx="135">
                  <c:v>24472</c:v>
                </c:pt>
                <c:pt idx="136">
                  <c:v>24294</c:v>
                </c:pt>
                <c:pt idx="137">
                  <c:v>24345</c:v>
                </c:pt>
                <c:pt idx="138">
                  <c:v>24029</c:v>
                </c:pt>
                <c:pt idx="139">
                  <c:v>24119</c:v>
                </c:pt>
                <c:pt idx="140">
                  <c:v>24287</c:v>
                </c:pt>
                <c:pt idx="141">
                  <c:v>24119</c:v>
                </c:pt>
                <c:pt idx="142">
                  <c:v>24435</c:v>
                </c:pt>
                <c:pt idx="143">
                  <c:v>24078</c:v>
                </c:pt>
                <c:pt idx="144">
                  <c:v>24193</c:v>
                </c:pt>
                <c:pt idx="145">
                  <c:v>24510</c:v>
                </c:pt>
                <c:pt idx="146">
                  <c:v>24135</c:v>
                </c:pt>
                <c:pt idx="147">
                  <c:v>23999</c:v>
                </c:pt>
                <c:pt idx="148">
                  <c:v>24244</c:v>
                </c:pt>
                <c:pt idx="149">
                  <c:v>24537</c:v>
                </c:pt>
                <c:pt idx="150">
                  <c:v>24249</c:v>
                </c:pt>
                <c:pt idx="151">
                  <c:v>24124</c:v>
                </c:pt>
                <c:pt idx="152">
                  <c:v>24416</c:v>
                </c:pt>
                <c:pt idx="153">
                  <c:v>24394</c:v>
                </c:pt>
                <c:pt idx="154">
                  <c:v>24611</c:v>
                </c:pt>
                <c:pt idx="155">
                  <c:v>24294</c:v>
                </c:pt>
                <c:pt idx="156">
                  <c:v>24294</c:v>
                </c:pt>
                <c:pt idx="157">
                  <c:v>24469</c:v>
                </c:pt>
                <c:pt idx="158">
                  <c:v>24199</c:v>
                </c:pt>
                <c:pt idx="159">
                  <c:v>24411</c:v>
                </c:pt>
                <c:pt idx="160">
                  <c:v>24311</c:v>
                </c:pt>
                <c:pt idx="161">
                  <c:v>23890</c:v>
                </c:pt>
                <c:pt idx="162">
                  <c:v>23994</c:v>
                </c:pt>
                <c:pt idx="163">
                  <c:v>23705</c:v>
                </c:pt>
                <c:pt idx="164">
                  <c:v>23828</c:v>
                </c:pt>
                <c:pt idx="165">
                  <c:v>24261</c:v>
                </c:pt>
                <c:pt idx="166">
                  <c:v>23619</c:v>
                </c:pt>
                <c:pt idx="167">
                  <c:v>23802</c:v>
                </c:pt>
                <c:pt idx="168">
                  <c:v>24019</c:v>
                </c:pt>
                <c:pt idx="169">
                  <c:v>23964</c:v>
                </c:pt>
                <c:pt idx="170">
                  <c:v>24280</c:v>
                </c:pt>
                <c:pt idx="171">
                  <c:v>23847</c:v>
                </c:pt>
                <c:pt idx="172">
                  <c:v>24519</c:v>
                </c:pt>
                <c:pt idx="173">
                  <c:v>24019</c:v>
                </c:pt>
                <c:pt idx="174">
                  <c:v>24387</c:v>
                </c:pt>
                <c:pt idx="175">
                  <c:v>24319</c:v>
                </c:pt>
                <c:pt idx="176">
                  <c:v>23723</c:v>
                </c:pt>
                <c:pt idx="177">
                  <c:v>24511</c:v>
                </c:pt>
                <c:pt idx="178">
                  <c:v>24070</c:v>
                </c:pt>
                <c:pt idx="179">
                  <c:v>24146</c:v>
                </c:pt>
                <c:pt idx="180">
                  <c:v>24298</c:v>
                </c:pt>
                <c:pt idx="181">
                  <c:v>24182</c:v>
                </c:pt>
                <c:pt idx="182">
                  <c:v>23952</c:v>
                </c:pt>
                <c:pt idx="183">
                  <c:v>24419</c:v>
                </c:pt>
                <c:pt idx="184">
                  <c:v>24716</c:v>
                </c:pt>
                <c:pt idx="185">
                  <c:v>24676</c:v>
                </c:pt>
                <c:pt idx="186">
                  <c:v>24224</c:v>
                </c:pt>
                <c:pt idx="187">
                  <c:v>24563</c:v>
                </c:pt>
                <c:pt idx="188">
                  <c:v>24492</c:v>
                </c:pt>
                <c:pt idx="189">
                  <c:v>24275</c:v>
                </c:pt>
                <c:pt idx="190">
                  <c:v>24500</c:v>
                </c:pt>
                <c:pt idx="191">
                  <c:v>24538</c:v>
                </c:pt>
                <c:pt idx="192">
                  <c:v>24854</c:v>
                </c:pt>
                <c:pt idx="193">
                  <c:v>24819</c:v>
                </c:pt>
                <c:pt idx="194">
                  <c:v>24490</c:v>
                </c:pt>
                <c:pt idx="195">
                  <c:v>25041</c:v>
                </c:pt>
                <c:pt idx="196">
                  <c:v>24919</c:v>
                </c:pt>
                <c:pt idx="197">
                  <c:v>24687</c:v>
                </c:pt>
                <c:pt idx="198">
                  <c:v>24919</c:v>
                </c:pt>
                <c:pt idx="199">
                  <c:v>24919</c:v>
                </c:pt>
                <c:pt idx="200">
                  <c:v>24956</c:v>
                </c:pt>
                <c:pt idx="201">
                  <c:v>24995</c:v>
                </c:pt>
                <c:pt idx="202">
                  <c:v>25321</c:v>
                </c:pt>
                <c:pt idx="203">
                  <c:v>25019</c:v>
                </c:pt>
                <c:pt idx="204">
                  <c:v>25173</c:v>
                </c:pt>
                <c:pt idx="205">
                  <c:v>24922</c:v>
                </c:pt>
                <c:pt idx="206">
                  <c:v>24619</c:v>
                </c:pt>
                <c:pt idx="207">
                  <c:v>25428</c:v>
                </c:pt>
                <c:pt idx="208">
                  <c:v>24894</c:v>
                </c:pt>
                <c:pt idx="209">
                  <c:v>25219</c:v>
                </c:pt>
                <c:pt idx="210">
                  <c:v>25496</c:v>
                </c:pt>
                <c:pt idx="211">
                  <c:v>24934</c:v>
                </c:pt>
                <c:pt idx="212">
                  <c:v>25245</c:v>
                </c:pt>
                <c:pt idx="213">
                  <c:v>25119</c:v>
                </c:pt>
                <c:pt idx="214">
                  <c:v>25142</c:v>
                </c:pt>
                <c:pt idx="215">
                  <c:v>25119</c:v>
                </c:pt>
                <c:pt idx="216">
                  <c:v>25242</c:v>
                </c:pt>
                <c:pt idx="217">
                  <c:v>24956</c:v>
                </c:pt>
                <c:pt idx="218">
                  <c:v>25217</c:v>
                </c:pt>
                <c:pt idx="219">
                  <c:v>25056</c:v>
                </c:pt>
                <c:pt idx="220">
                  <c:v>24676</c:v>
                </c:pt>
                <c:pt idx="221">
                  <c:v>24997</c:v>
                </c:pt>
                <c:pt idx="222">
                  <c:v>25141</c:v>
                </c:pt>
                <c:pt idx="223">
                  <c:v>25011</c:v>
                </c:pt>
                <c:pt idx="224">
                  <c:v>24403</c:v>
                </c:pt>
                <c:pt idx="225">
                  <c:v>24219</c:v>
                </c:pt>
                <c:pt idx="226">
                  <c:v>24383</c:v>
                </c:pt>
                <c:pt idx="227">
                  <c:v>24536</c:v>
                </c:pt>
                <c:pt idx="228">
                  <c:v>24472</c:v>
                </c:pt>
                <c:pt idx="229">
                  <c:v>25318</c:v>
                </c:pt>
                <c:pt idx="230">
                  <c:v>24719</c:v>
                </c:pt>
                <c:pt idx="231">
                  <c:v>24400</c:v>
                </c:pt>
                <c:pt idx="232">
                  <c:v>24397</c:v>
                </c:pt>
                <c:pt idx="233">
                  <c:v>24955</c:v>
                </c:pt>
                <c:pt idx="234">
                  <c:v>24370</c:v>
                </c:pt>
                <c:pt idx="235">
                  <c:v>25044</c:v>
                </c:pt>
                <c:pt idx="236">
                  <c:v>25284</c:v>
                </c:pt>
                <c:pt idx="237">
                  <c:v>25473</c:v>
                </c:pt>
                <c:pt idx="238">
                  <c:v>25161</c:v>
                </c:pt>
                <c:pt idx="239">
                  <c:v>25019</c:v>
                </c:pt>
                <c:pt idx="240">
                  <c:v>25014</c:v>
                </c:pt>
                <c:pt idx="241">
                  <c:v>24857</c:v>
                </c:pt>
                <c:pt idx="242">
                  <c:v>24939</c:v>
                </c:pt>
                <c:pt idx="243">
                  <c:v>24939</c:v>
                </c:pt>
                <c:pt idx="244">
                  <c:v>24939</c:v>
                </c:pt>
                <c:pt idx="245">
                  <c:v>24939</c:v>
                </c:pt>
                <c:pt idx="246">
                  <c:v>24939</c:v>
                </c:pt>
                <c:pt idx="247">
                  <c:v>24939</c:v>
                </c:pt>
                <c:pt idx="248">
                  <c:v>24939</c:v>
                </c:pt>
                <c:pt idx="249">
                  <c:v>24939</c:v>
                </c:pt>
                <c:pt idx="250">
                  <c:v>25912</c:v>
                </c:pt>
                <c:pt idx="251">
                  <c:v>25428</c:v>
                </c:pt>
                <c:pt idx="252">
                  <c:v>26699</c:v>
                </c:pt>
                <c:pt idx="253">
                  <c:v>26774</c:v>
                </c:pt>
                <c:pt idx="254">
                  <c:v>26945</c:v>
                </c:pt>
                <c:pt idx="255">
                  <c:v>25922</c:v>
                </c:pt>
                <c:pt idx="256">
                  <c:v>27183</c:v>
                </c:pt>
                <c:pt idx="257">
                  <c:v>27352</c:v>
                </c:pt>
                <c:pt idx="258">
                  <c:v>28024</c:v>
                </c:pt>
                <c:pt idx="259">
                  <c:v>27274</c:v>
                </c:pt>
                <c:pt idx="260">
                  <c:v>26974</c:v>
                </c:pt>
                <c:pt idx="261">
                  <c:v>26920</c:v>
                </c:pt>
                <c:pt idx="262">
                  <c:v>27924</c:v>
                </c:pt>
                <c:pt idx="263">
                  <c:v>27944</c:v>
                </c:pt>
                <c:pt idx="264">
                  <c:v>27374</c:v>
                </c:pt>
                <c:pt idx="265">
                  <c:v>26924</c:v>
                </c:pt>
                <c:pt idx="266">
                  <c:v>26944</c:v>
                </c:pt>
                <c:pt idx="267">
                  <c:v>26944</c:v>
                </c:pt>
                <c:pt idx="268">
                  <c:v>27218</c:v>
                </c:pt>
                <c:pt idx="269">
                  <c:v>27271</c:v>
                </c:pt>
                <c:pt idx="270">
                  <c:v>27574</c:v>
                </c:pt>
                <c:pt idx="271">
                  <c:v>27594</c:v>
                </c:pt>
                <c:pt idx="272">
                  <c:v>26181</c:v>
                </c:pt>
                <c:pt idx="273">
                  <c:v>26230</c:v>
                </c:pt>
                <c:pt idx="274">
                  <c:v>26018</c:v>
                </c:pt>
                <c:pt idx="275">
                  <c:v>25918</c:v>
                </c:pt>
                <c:pt idx="276">
                  <c:v>25634</c:v>
                </c:pt>
                <c:pt idx="277">
                  <c:v>25782</c:v>
                </c:pt>
                <c:pt idx="278">
                  <c:v>25719</c:v>
                </c:pt>
                <c:pt idx="279">
                  <c:v>25624</c:v>
                </c:pt>
                <c:pt idx="280">
                  <c:v>25555</c:v>
                </c:pt>
                <c:pt idx="281">
                  <c:v>25721</c:v>
                </c:pt>
                <c:pt idx="282">
                  <c:v>25741</c:v>
                </c:pt>
                <c:pt idx="283">
                  <c:v>25732</c:v>
                </c:pt>
                <c:pt idx="284">
                  <c:v>26492</c:v>
                </c:pt>
                <c:pt idx="285">
                  <c:v>25755</c:v>
                </c:pt>
                <c:pt idx="286">
                  <c:v>25535</c:v>
                </c:pt>
                <c:pt idx="287">
                  <c:v>25571</c:v>
                </c:pt>
                <c:pt idx="288">
                  <c:v>25985</c:v>
                </c:pt>
                <c:pt idx="289">
                  <c:v>25925</c:v>
                </c:pt>
                <c:pt idx="290">
                  <c:v>25927</c:v>
                </c:pt>
                <c:pt idx="291">
                  <c:v>25927</c:v>
                </c:pt>
                <c:pt idx="292">
                  <c:v>25927</c:v>
                </c:pt>
                <c:pt idx="293">
                  <c:v>25802</c:v>
                </c:pt>
                <c:pt idx="294">
                  <c:v>25816</c:v>
                </c:pt>
                <c:pt idx="295">
                  <c:v>25816</c:v>
                </c:pt>
                <c:pt idx="296">
                  <c:v>25816</c:v>
                </c:pt>
                <c:pt idx="297">
                  <c:v>27092</c:v>
                </c:pt>
                <c:pt idx="298">
                  <c:v>26360</c:v>
                </c:pt>
                <c:pt idx="299">
                  <c:v>27092</c:v>
                </c:pt>
                <c:pt idx="300">
                  <c:v>27774</c:v>
                </c:pt>
                <c:pt idx="301">
                  <c:v>27794</c:v>
                </c:pt>
                <c:pt idx="302">
                  <c:v>26613</c:v>
                </c:pt>
                <c:pt idx="303">
                  <c:v>27092</c:v>
                </c:pt>
                <c:pt idx="304">
                  <c:v>27102</c:v>
                </c:pt>
                <c:pt idx="305">
                  <c:v>28094</c:v>
                </c:pt>
                <c:pt idx="306">
                  <c:v>28044</c:v>
                </c:pt>
                <c:pt idx="307">
                  <c:v>27502</c:v>
                </c:pt>
                <c:pt idx="308">
                  <c:v>27606</c:v>
                </c:pt>
                <c:pt idx="309">
                  <c:v>27532</c:v>
                </c:pt>
                <c:pt idx="310">
                  <c:v>28192</c:v>
                </c:pt>
                <c:pt idx="311">
                  <c:v>28412</c:v>
                </c:pt>
                <c:pt idx="312">
                  <c:v>28412</c:v>
                </c:pt>
                <c:pt idx="313">
                  <c:v>28412</c:v>
                </c:pt>
                <c:pt idx="314">
                  <c:v>28412</c:v>
                </c:pt>
                <c:pt idx="315">
                  <c:v>28412</c:v>
                </c:pt>
                <c:pt idx="316">
                  <c:v>28412</c:v>
                </c:pt>
                <c:pt idx="317">
                  <c:v>28412</c:v>
                </c:pt>
                <c:pt idx="318">
                  <c:v>28300</c:v>
                </c:pt>
                <c:pt idx="319">
                  <c:v>29655</c:v>
                </c:pt>
                <c:pt idx="320">
                  <c:v>30857</c:v>
                </c:pt>
                <c:pt idx="321">
                  <c:v>33307</c:v>
                </c:pt>
                <c:pt idx="322">
                  <c:v>30297</c:v>
                </c:pt>
                <c:pt idx="323">
                  <c:v>34200</c:v>
                </c:pt>
                <c:pt idx="324">
                  <c:v>34272</c:v>
                </c:pt>
                <c:pt idx="325">
                  <c:v>34331</c:v>
                </c:pt>
                <c:pt idx="326">
                  <c:v>33383</c:v>
                </c:pt>
                <c:pt idx="327">
                  <c:v>33605</c:v>
                </c:pt>
                <c:pt idx="328">
                  <c:v>33935</c:v>
                </c:pt>
                <c:pt idx="329">
                  <c:v>33972</c:v>
                </c:pt>
                <c:pt idx="330">
                  <c:v>34072</c:v>
                </c:pt>
                <c:pt idx="331">
                  <c:v>34032</c:v>
                </c:pt>
                <c:pt idx="332">
                  <c:v>34117</c:v>
                </c:pt>
                <c:pt idx="333">
                  <c:v>34077</c:v>
                </c:pt>
                <c:pt idx="334">
                  <c:v>33699</c:v>
                </c:pt>
                <c:pt idx="335">
                  <c:v>34057</c:v>
                </c:pt>
                <c:pt idx="336">
                  <c:v>34092</c:v>
                </c:pt>
                <c:pt idx="337">
                  <c:v>33964</c:v>
                </c:pt>
                <c:pt idx="338">
                  <c:v>33992</c:v>
                </c:pt>
                <c:pt idx="339">
                  <c:v>33992</c:v>
                </c:pt>
                <c:pt idx="340">
                  <c:v>33892</c:v>
                </c:pt>
                <c:pt idx="341">
                  <c:v>33912</c:v>
                </c:pt>
                <c:pt idx="342">
                  <c:v>33912</c:v>
                </c:pt>
                <c:pt idx="343">
                  <c:v>33912</c:v>
                </c:pt>
                <c:pt idx="344">
                  <c:v>33912</c:v>
                </c:pt>
                <c:pt idx="345">
                  <c:v>31803</c:v>
                </c:pt>
                <c:pt idx="346">
                  <c:v>31624</c:v>
                </c:pt>
                <c:pt idx="347">
                  <c:v>31778</c:v>
                </c:pt>
                <c:pt idx="348">
                  <c:v>31798</c:v>
                </c:pt>
                <c:pt idx="349">
                  <c:v>31792</c:v>
                </c:pt>
                <c:pt idx="350">
                  <c:v>31799</c:v>
                </c:pt>
                <c:pt idx="351">
                  <c:v>31942</c:v>
                </c:pt>
                <c:pt idx="352">
                  <c:v>31948</c:v>
                </c:pt>
                <c:pt idx="353">
                  <c:v>31968</c:v>
                </c:pt>
                <c:pt idx="354">
                  <c:v>31968</c:v>
                </c:pt>
                <c:pt idx="355">
                  <c:v>31968</c:v>
                </c:pt>
                <c:pt idx="356">
                  <c:v>31968</c:v>
                </c:pt>
                <c:pt idx="357">
                  <c:v>32081</c:v>
                </c:pt>
                <c:pt idx="358">
                  <c:v>31984</c:v>
                </c:pt>
                <c:pt idx="359">
                  <c:v>31993</c:v>
                </c:pt>
                <c:pt idx="360">
                  <c:v>32142</c:v>
                </c:pt>
                <c:pt idx="361">
                  <c:v>32192</c:v>
                </c:pt>
                <c:pt idx="362">
                  <c:v>31995</c:v>
                </c:pt>
                <c:pt idx="363">
                  <c:v>31992</c:v>
                </c:pt>
                <c:pt idx="364">
                  <c:v>31883</c:v>
                </c:pt>
                <c:pt idx="365">
                  <c:v>32042</c:v>
                </c:pt>
                <c:pt idx="366">
                  <c:v>32025</c:v>
                </c:pt>
                <c:pt idx="367">
                  <c:v>32036</c:v>
                </c:pt>
                <c:pt idx="368">
                  <c:v>31714</c:v>
                </c:pt>
                <c:pt idx="369">
                  <c:v>31830</c:v>
                </c:pt>
                <c:pt idx="370">
                  <c:v>32271</c:v>
                </c:pt>
                <c:pt idx="371">
                  <c:v>32271</c:v>
                </c:pt>
                <c:pt idx="372">
                  <c:v>31993</c:v>
                </c:pt>
                <c:pt idx="373">
                  <c:v>32393</c:v>
                </c:pt>
                <c:pt idx="374">
                  <c:v>33285</c:v>
                </c:pt>
                <c:pt idx="375">
                  <c:v>33793</c:v>
                </c:pt>
                <c:pt idx="376">
                  <c:v>33893</c:v>
                </c:pt>
                <c:pt idx="377">
                  <c:v>33650</c:v>
                </c:pt>
                <c:pt idx="378">
                  <c:v>34198</c:v>
                </c:pt>
                <c:pt idx="379">
                  <c:v>34193</c:v>
                </c:pt>
                <c:pt idx="380">
                  <c:v>34513</c:v>
                </c:pt>
                <c:pt idx="381">
                  <c:v>35263</c:v>
                </c:pt>
                <c:pt idx="382">
                  <c:v>35103</c:v>
                </c:pt>
                <c:pt idx="383">
                  <c:v>35109</c:v>
                </c:pt>
                <c:pt idx="384">
                  <c:v>35504</c:v>
                </c:pt>
                <c:pt idx="385">
                  <c:v>35590</c:v>
                </c:pt>
                <c:pt idx="386">
                  <c:v>35421</c:v>
                </c:pt>
                <c:pt idx="387">
                  <c:v>35815</c:v>
                </c:pt>
                <c:pt idx="388">
                  <c:v>35815</c:v>
                </c:pt>
                <c:pt idx="389">
                  <c:v>35893</c:v>
                </c:pt>
                <c:pt idx="390">
                  <c:v>35893</c:v>
                </c:pt>
                <c:pt idx="391">
                  <c:v>35793</c:v>
                </c:pt>
                <c:pt idx="392">
                  <c:v>35793</c:v>
                </c:pt>
                <c:pt idx="393">
                  <c:v>35893</c:v>
                </c:pt>
                <c:pt idx="394">
                  <c:v>35454</c:v>
                </c:pt>
                <c:pt idx="395">
                  <c:v>35454</c:v>
                </c:pt>
                <c:pt idx="396">
                  <c:v>34683</c:v>
                </c:pt>
                <c:pt idx="397">
                  <c:v>34683</c:v>
                </c:pt>
                <c:pt idx="398">
                  <c:v>34683</c:v>
                </c:pt>
                <c:pt idx="399">
                  <c:v>34649</c:v>
                </c:pt>
                <c:pt idx="400">
                  <c:v>34649</c:v>
                </c:pt>
                <c:pt idx="401">
                  <c:v>34693</c:v>
                </c:pt>
                <c:pt idx="402">
                  <c:v>34693</c:v>
                </c:pt>
                <c:pt idx="403">
                  <c:v>34693</c:v>
                </c:pt>
                <c:pt idx="404">
                  <c:v>34830</c:v>
                </c:pt>
                <c:pt idx="405">
                  <c:v>35093</c:v>
                </c:pt>
                <c:pt idx="406">
                  <c:v>34936</c:v>
                </c:pt>
                <c:pt idx="407">
                  <c:v>35101</c:v>
                </c:pt>
                <c:pt idx="408">
                  <c:v>35101</c:v>
                </c:pt>
                <c:pt idx="409">
                  <c:v>35193</c:v>
                </c:pt>
                <c:pt idx="410">
                  <c:v>35183</c:v>
                </c:pt>
                <c:pt idx="411">
                  <c:v>35193</c:v>
                </c:pt>
                <c:pt idx="412">
                  <c:v>34800</c:v>
                </c:pt>
                <c:pt idx="413">
                  <c:v>34800</c:v>
                </c:pt>
                <c:pt idx="414">
                  <c:v>34793</c:v>
                </c:pt>
                <c:pt idx="415">
                  <c:v>34793</c:v>
                </c:pt>
                <c:pt idx="416">
                  <c:v>34295</c:v>
                </c:pt>
                <c:pt idx="417">
                  <c:v>34295</c:v>
                </c:pt>
                <c:pt idx="418">
                  <c:v>34283</c:v>
                </c:pt>
                <c:pt idx="419">
                  <c:v>34283</c:v>
                </c:pt>
                <c:pt idx="420">
                  <c:v>34293</c:v>
                </c:pt>
                <c:pt idx="421">
                  <c:v>34022</c:v>
                </c:pt>
                <c:pt idx="422">
                  <c:v>33993</c:v>
                </c:pt>
                <c:pt idx="423">
                  <c:v>33667</c:v>
                </c:pt>
                <c:pt idx="424">
                  <c:v>33593</c:v>
                </c:pt>
                <c:pt idx="425">
                  <c:v>33808</c:v>
                </c:pt>
                <c:pt idx="426">
                  <c:v>33793</c:v>
                </c:pt>
                <c:pt idx="427">
                  <c:v>33793</c:v>
                </c:pt>
                <c:pt idx="428">
                  <c:v>33480</c:v>
                </c:pt>
                <c:pt idx="429">
                  <c:v>33293</c:v>
                </c:pt>
                <c:pt idx="430">
                  <c:v>32861</c:v>
                </c:pt>
                <c:pt idx="431">
                  <c:v>33193</c:v>
                </c:pt>
                <c:pt idx="432">
                  <c:v>33243</c:v>
                </c:pt>
                <c:pt idx="433">
                  <c:v>33293</c:v>
                </c:pt>
                <c:pt idx="434">
                  <c:v>33026</c:v>
                </c:pt>
                <c:pt idx="435">
                  <c:v>32796</c:v>
                </c:pt>
                <c:pt idx="436">
                  <c:v>32853</c:v>
                </c:pt>
                <c:pt idx="437">
                  <c:v>32822</c:v>
                </c:pt>
                <c:pt idx="438">
                  <c:v>32826</c:v>
                </c:pt>
                <c:pt idx="439">
                  <c:v>32826</c:v>
                </c:pt>
                <c:pt idx="440">
                  <c:v>32893</c:v>
                </c:pt>
                <c:pt idx="441">
                  <c:v>32893</c:v>
                </c:pt>
                <c:pt idx="442">
                  <c:v>32893</c:v>
                </c:pt>
                <c:pt idx="443">
                  <c:v>32893</c:v>
                </c:pt>
                <c:pt idx="444">
                  <c:v>33093</c:v>
                </c:pt>
                <c:pt idx="445">
                  <c:v>33093</c:v>
                </c:pt>
                <c:pt idx="446">
                  <c:v>32893</c:v>
                </c:pt>
                <c:pt idx="447">
                  <c:v>32893</c:v>
                </c:pt>
                <c:pt idx="448">
                  <c:v>32893</c:v>
                </c:pt>
                <c:pt idx="449">
                  <c:v>32893</c:v>
                </c:pt>
                <c:pt idx="450">
                  <c:v>32863</c:v>
                </c:pt>
                <c:pt idx="451">
                  <c:v>32893</c:v>
                </c:pt>
                <c:pt idx="452">
                  <c:v>32793</c:v>
                </c:pt>
                <c:pt idx="453">
                  <c:v>32793</c:v>
                </c:pt>
                <c:pt idx="454">
                  <c:v>32552</c:v>
                </c:pt>
                <c:pt idx="455">
                  <c:v>32552</c:v>
                </c:pt>
                <c:pt idx="456">
                  <c:v>31993</c:v>
                </c:pt>
                <c:pt idx="457">
                  <c:v>32093</c:v>
                </c:pt>
                <c:pt idx="458">
                  <c:v>31593</c:v>
                </c:pt>
                <c:pt idx="459">
                  <c:v>31793</c:v>
                </c:pt>
                <c:pt idx="460">
                  <c:v>31593</c:v>
                </c:pt>
                <c:pt idx="461">
                  <c:v>31393</c:v>
                </c:pt>
                <c:pt idx="462">
                  <c:v>31193</c:v>
                </c:pt>
                <c:pt idx="463">
                  <c:v>30793</c:v>
                </c:pt>
                <c:pt idx="464">
                  <c:v>30718</c:v>
                </c:pt>
                <c:pt idx="465">
                  <c:v>30821</c:v>
                </c:pt>
                <c:pt idx="466">
                  <c:v>30186</c:v>
                </c:pt>
                <c:pt idx="467">
                  <c:v>30293</c:v>
                </c:pt>
                <c:pt idx="468">
                  <c:v>30293</c:v>
                </c:pt>
                <c:pt idx="469">
                  <c:v>29803</c:v>
                </c:pt>
                <c:pt idx="470">
                  <c:v>29609</c:v>
                </c:pt>
                <c:pt idx="471">
                  <c:v>29593</c:v>
                </c:pt>
                <c:pt idx="472">
                  <c:v>29393</c:v>
                </c:pt>
                <c:pt idx="473">
                  <c:v>29328</c:v>
                </c:pt>
                <c:pt idx="474">
                  <c:v>29328</c:v>
                </c:pt>
                <c:pt idx="475">
                  <c:v>28154</c:v>
                </c:pt>
                <c:pt idx="476">
                  <c:v>27954</c:v>
                </c:pt>
                <c:pt idx="477">
                  <c:v>27953</c:v>
                </c:pt>
                <c:pt idx="478">
                  <c:v>27960</c:v>
                </c:pt>
                <c:pt idx="479">
                  <c:v>28343</c:v>
                </c:pt>
                <c:pt idx="480">
                  <c:v>27921</c:v>
                </c:pt>
                <c:pt idx="481">
                  <c:v>28293</c:v>
                </c:pt>
                <c:pt idx="482">
                  <c:v>28393</c:v>
                </c:pt>
                <c:pt idx="483">
                  <c:v>28193</c:v>
                </c:pt>
                <c:pt idx="484">
                  <c:v>28193</c:v>
                </c:pt>
                <c:pt idx="485">
                  <c:v>28393</c:v>
                </c:pt>
                <c:pt idx="486">
                  <c:v>28093</c:v>
                </c:pt>
                <c:pt idx="487">
                  <c:v>28093</c:v>
                </c:pt>
                <c:pt idx="488">
                  <c:v>28093</c:v>
                </c:pt>
                <c:pt idx="489">
                  <c:v>27203</c:v>
                </c:pt>
                <c:pt idx="490">
                  <c:v>27128</c:v>
                </c:pt>
                <c:pt idx="491">
                  <c:v>26664</c:v>
                </c:pt>
                <c:pt idx="492">
                  <c:v>27393</c:v>
                </c:pt>
                <c:pt idx="493">
                  <c:v>27035</c:v>
                </c:pt>
                <c:pt idx="494">
                  <c:v>27003</c:v>
                </c:pt>
                <c:pt idx="495">
                  <c:v>26993</c:v>
                </c:pt>
                <c:pt idx="496">
                  <c:v>26446</c:v>
                </c:pt>
                <c:pt idx="497">
                  <c:v>27044</c:v>
                </c:pt>
                <c:pt idx="498">
                  <c:v>26816</c:v>
                </c:pt>
                <c:pt idx="499">
                  <c:v>27474</c:v>
                </c:pt>
                <c:pt idx="500">
                  <c:v>27458</c:v>
                </c:pt>
                <c:pt idx="501">
                  <c:v>27360</c:v>
                </c:pt>
                <c:pt idx="502">
                  <c:v>27157</c:v>
                </c:pt>
                <c:pt idx="503">
                  <c:v>27150</c:v>
                </c:pt>
                <c:pt idx="504">
                  <c:v>27212</c:v>
                </c:pt>
                <c:pt idx="505">
                  <c:v>27147</c:v>
                </c:pt>
                <c:pt idx="506">
                  <c:v>27147</c:v>
                </c:pt>
                <c:pt idx="507">
                  <c:v>27050</c:v>
                </c:pt>
                <c:pt idx="508">
                  <c:v>26877</c:v>
                </c:pt>
                <c:pt idx="509">
                  <c:v>26845</c:v>
                </c:pt>
                <c:pt idx="510">
                  <c:v>26672</c:v>
                </c:pt>
                <c:pt idx="511">
                  <c:v>26661</c:v>
                </c:pt>
                <c:pt idx="512">
                  <c:v>26339</c:v>
                </c:pt>
                <c:pt idx="513">
                  <c:v>26339</c:v>
                </c:pt>
                <c:pt idx="514">
                  <c:v>26173</c:v>
                </c:pt>
                <c:pt idx="515">
                  <c:v>25541</c:v>
                </c:pt>
                <c:pt idx="516">
                  <c:v>25539</c:v>
                </c:pt>
                <c:pt idx="517">
                  <c:v>25614</c:v>
                </c:pt>
                <c:pt idx="518">
                  <c:v>25689</c:v>
                </c:pt>
                <c:pt idx="519">
                  <c:v>25696</c:v>
                </c:pt>
                <c:pt idx="520">
                  <c:v>25895</c:v>
                </c:pt>
                <c:pt idx="521">
                  <c:v>25603</c:v>
                </c:pt>
                <c:pt idx="522">
                  <c:v>26459</c:v>
                </c:pt>
                <c:pt idx="523">
                  <c:v>26295</c:v>
                </c:pt>
                <c:pt idx="524">
                  <c:v>26361</c:v>
                </c:pt>
                <c:pt idx="525">
                  <c:v>26361</c:v>
                </c:pt>
                <c:pt idx="526">
                  <c:v>27434</c:v>
                </c:pt>
                <c:pt idx="527">
                  <c:v>27804</c:v>
                </c:pt>
                <c:pt idx="528">
                  <c:v>28115</c:v>
                </c:pt>
                <c:pt idx="529">
                  <c:v>28168</c:v>
                </c:pt>
                <c:pt idx="530">
                  <c:v>28590</c:v>
                </c:pt>
                <c:pt idx="531">
                  <c:v>29199</c:v>
                </c:pt>
                <c:pt idx="532">
                  <c:v>29330</c:v>
                </c:pt>
                <c:pt idx="533">
                  <c:v>29433</c:v>
                </c:pt>
                <c:pt idx="534">
                  <c:v>29458</c:v>
                </c:pt>
                <c:pt idx="535">
                  <c:v>29439</c:v>
                </c:pt>
                <c:pt idx="536">
                  <c:v>28839</c:v>
                </c:pt>
                <c:pt idx="537">
                  <c:v>28803</c:v>
                </c:pt>
                <c:pt idx="538">
                  <c:v>28823</c:v>
                </c:pt>
                <c:pt idx="539">
                  <c:v>28818</c:v>
                </c:pt>
                <c:pt idx="540">
                  <c:v>28417</c:v>
                </c:pt>
                <c:pt idx="541">
                  <c:v>28395</c:v>
                </c:pt>
                <c:pt idx="542">
                  <c:v>28799</c:v>
                </c:pt>
                <c:pt idx="543">
                  <c:v>28339</c:v>
                </c:pt>
                <c:pt idx="544">
                  <c:v>28449</c:v>
                </c:pt>
                <c:pt idx="545">
                  <c:v>28844</c:v>
                </c:pt>
                <c:pt idx="546">
                  <c:v>28844</c:v>
                </c:pt>
                <c:pt idx="547">
                  <c:v>28939</c:v>
                </c:pt>
                <c:pt idx="548">
                  <c:v>28959</c:v>
                </c:pt>
                <c:pt idx="549">
                  <c:v>29523</c:v>
                </c:pt>
                <c:pt idx="550">
                  <c:v>30233</c:v>
                </c:pt>
                <c:pt idx="551">
                  <c:v>30905</c:v>
                </c:pt>
                <c:pt idx="552">
                  <c:v>29630</c:v>
                </c:pt>
                <c:pt idx="553">
                  <c:v>30033</c:v>
                </c:pt>
                <c:pt idx="554">
                  <c:v>30901</c:v>
                </c:pt>
                <c:pt idx="555">
                  <c:v>31247</c:v>
                </c:pt>
                <c:pt idx="556">
                  <c:v>31416</c:v>
                </c:pt>
                <c:pt idx="557">
                  <c:v>30229</c:v>
                </c:pt>
                <c:pt idx="558">
                  <c:v>31577</c:v>
                </c:pt>
                <c:pt idx="559">
                  <c:v>31897</c:v>
                </c:pt>
                <c:pt idx="560">
                  <c:v>32261</c:v>
                </c:pt>
                <c:pt idx="561">
                  <c:v>32150</c:v>
                </c:pt>
                <c:pt idx="562">
                  <c:v>32283</c:v>
                </c:pt>
                <c:pt idx="563">
                  <c:v>31965</c:v>
                </c:pt>
                <c:pt idx="564">
                  <c:v>32109</c:v>
                </c:pt>
                <c:pt idx="565">
                  <c:v>32419</c:v>
                </c:pt>
                <c:pt idx="566">
                  <c:v>32658</c:v>
                </c:pt>
                <c:pt idx="567">
                  <c:v>32658</c:v>
                </c:pt>
                <c:pt idx="568">
                  <c:v>32658</c:v>
                </c:pt>
                <c:pt idx="569">
                  <c:v>32119</c:v>
                </c:pt>
                <c:pt idx="570">
                  <c:v>32029</c:v>
                </c:pt>
                <c:pt idx="571">
                  <c:v>30503</c:v>
                </c:pt>
                <c:pt idx="572">
                  <c:v>32882</c:v>
                </c:pt>
                <c:pt idx="573">
                  <c:v>32718</c:v>
                </c:pt>
                <c:pt idx="574">
                  <c:v>32696</c:v>
                </c:pt>
                <c:pt idx="575">
                  <c:v>32739</c:v>
                </c:pt>
                <c:pt idx="576">
                  <c:v>32666</c:v>
                </c:pt>
                <c:pt idx="577">
                  <c:v>32849</c:v>
                </c:pt>
                <c:pt idx="578">
                  <c:v>32832</c:v>
                </c:pt>
                <c:pt idx="579">
                  <c:v>32508</c:v>
                </c:pt>
                <c:pt idx="580">
                  <c:v>32696</c:v>
                </c:pt>
                <c:pt idx="581">
                  <c:v>32692</c:v>
                </c:pt>
                <c:pt idx="582">
                  <c:v>32768</c:v>
                </c:pt>
                <c:pt idx="583">
                  <c:v>32615</c:v>
                </c:pt>
                <c:pt idx="584">
                  <c:v>32534</c:v>
                </c:pt>
                <c:pt idx="585">
                  <c:v>33011</c:v>
                </c:pt>
                <c:pt idx="586">
                  <c:v>32876</c:v>
                </c:pt>
                <c:pt idx="587">
                  <c:v>32498</c:v>
                </c:pt>
                <c:pt idx="588">
                  <c:v>31976</c:v>
                </c:pt>
                <c:pt idx="589">
                  <c:v>32389</c:v>
                </c:pt>
                <c:pt idx="590">
                  <c:v>32388</c:v>
                </c:pt>
                <c:pt idx="591">
                  <c:v>32013</c:v>
                </c:pt>
                <c:pt idx="592">
                  <c:v>32155</c:v>
                </c:pt>
                <c:pt idx="593">
                  <c:v>32449</c:v>
                </c:pt>
                <c:pt idx="594">
                  <c:v>32187</c:v>
                </c:pt>
                <c:pt idx="595">
                  <c:v>32064</c:v>
                </c:pt>
                <c:pt idx="596">
                  <c:v>31773</c:v>
                </c:pt>
                <c:pt idx="597">
                  <c:v>31706</c:v>
                </c:pt>
                <c:pt idx="598">
                  <c:v>31568</c:v>
                </c:pt>
                <c:pt idx="599">
                  <c:v>31741</c:v>
                </c:pt>
                <c:pt idx="600">
                  <c:v>31829</c:v>
                </c:pt>
                <c:pt idx="601">
                  <c:v>31876</c:v>
                </c:pt>
                <c:pt idx="602">
                  <c:v>32026</c:v>
                </c:pt>
                <c:pt idx="603">
                  <c:v>31908</c:v>
                </c:pt>
                <c:pt idx="604">
                  <c:v>31748</c:v>
                </c:pt>
                <c:pt idx="605">
                  <c:v>31677</c:v>
                </c:pt>
                <c:pt idx="606">
                  <c:v>31470</c:v>
                </c:pt>
                <c:pt idx="607">
                  <c:v>31328</c:v>
                </c:pt>
                <c:pt idx="608">
                  <c:v>31489</c:v>
                </c:pt>
                <c:pt idx="609">
                  <c:v>31218</c:v>
                </c:pt>
                <c:pt idx="610">
                  <c:v>30938</c:v>
                </c:pt>
                <c:pt idx="611">
                  <c:v>30862</c:v>
                </c:pt>
                <c:pt idx="612">
                  <c:v>30541</c:v>
                </c:pt>
                <c:pt idx="613">
                  <c:v>30735</c:v>
                </c:pt>
                <c:pt idx="614">
                  <c:v>30624</c:v>
                </c:pt>
                <c:pt idx="615">
                  <c:v>31144</c:v>
                </c:pt>
                <c:pt idx="616">
                  <c:v>31239</c:v>
                </c:pt>
                <c:pt idx="617">
                  <c:v>31742</c:v>
                </c:pt>
                <c:pt idx="618">
                  <c:v>31866</c:v>
                </c:pt>
                <c:pt idx="619">
                  <c:v>31939</c:v>
                </c:pt>
                <c:pt idx="620">
                  <c:v>31919</c:v>
                </c:pt>
                <c:pt idx="621">
                  <c:v>31893</c:v>
                </c:pt>
                <c:pt idx="622">
                  <c:v>31635</c:v>
                </c:pt>
                <c:pt idx="623">
                  <c:v>31600</c:v>
                </c:pt>
                <c:pt idx="624">
                  <c:v>31356</c:v>
                </c:pt>
                <c:pt idx="625">
                  <c:v>31264</c:v>
                </c:pt>
                <c:pt idx="626">
                  <c:v>31209</c:v>
                </c:pt>
                <c:pt idx="627">
                  <c:v>30936</c:v>
                </c:pt>
                <c:pt idx="628">
                  <c:v>30870</c:v>
                </c:pt>
                <c:pt idx="629">
                  <c:v>31154</c:v>
                </c:pt>
                <c:pt idx="630">
                  <c:v>31264</c:v>
                </c:pt>
                <c:pt idx="631">
                  <c:v>31149</c:v>
                </c:pt>
                <c:pt idx="632">
                  <c:v>31221</c:v>
                </c:pt>
                <c:pt idx="633">
                  <c:v>31362</c:v>
                </c:pt>
                <c:pt idx="634">
                  <c:v>31477</c:v>
                </c:pt>
                <c:pt idx="635">
                  <c:v>31280</c:v>
                </c:pt>
                <c:pt idx="636">
                  <c:v>31439</c:v>
                </c:pt>
                <c:pt idx="637">
                  <c:v>31439</c:v>
                </c:pt>
                <c:pt idx="638">
                  <c:v>32086</c:v>
                </c:pt>
                <c:pt idx="639">
                  <c:v>31450</c:v>
                </c:pt>
                <c:pt idx="640">
                  <c:v>31452</c:v>
                </c:pt>
                <c:pt idx="641">
                  <c:v>31598</c:v>
                </c:pt>
                <c:pt idx="642">
                  <c:v>31651</c:v>
                </c:pt>
                <c:pt idx="643">
                  <c:v>31686</c:v>
                </c:pt>
                <c:pt idx="644">
                  <c:v>31357</c:v>
                </c:pt>
                <c:pt idx="645">
                  <c:v>31664</c:v>
                </c:pt>
                <c:pt idx="646">
                  <c:v>31681</c:v>
                </c:pt>
                <c:pt idx="647">
                  <c:v>31529</c:v>
                </c:pt>
                <c:pt idx="648">
                  <c:v>31964</c:v>
                </c:pt>
                <c:pt idx="649">
                  <c:v>31980</c:v>
                </c:pt>
                <c:pt idx="650">
                  <c:v>32013</c:v>
                </c:pt>
                <c:pt idx="651">
                  <c:v>32090</c:v>
                </c:pt>
                <c:pt idx="652">
                  <c:v>31927</c:v>
                </c:pt>
                <c:pt idx="653">
                  <c:v>31992</c:v>
                </c:pt>
                <c:pt idx="654">
                  <c:v>31919</c:v>
                </c:pt>
                <c:pt idx="655">
                  <c:v>32267</c:v>
                </c:pt>
                <c:pt idx="656">
                  <c:v>32247</c:v>
                </c:pt>
                <c:pt idx="657">
                  <c:v>32112</c:v>
                </c:pt>
                <c:pt idx="658">
                  <c:v>32532</c:v>
                </c:pt>
                <c:pt idx="659">
                  <c:v>32931</c:v>
                </c:pt>
                <c:pt idx="660">
                  <c:v>32941</c:v>
                </c:pt>
                <c:pt idx="661">
                  <c:v>33571</c:v>
                </c:pt>
                <c:pt idx="662">
                  <c:v>33895</c:v>
                </c:pt>
                <c:pt idx="663">
                  <c:v>34323</c:v>
                </c:pt>
                <c:pt idx="664">
                  <c:v>34312</c:v>
                </c:pt>
                <c:pt idx="665">
                  <c:v>34385</c:v>
                </c:pt>
                <c:pt idx="666">
                  <c:v>34144</c:v>
                </c:pt>
                <c:pt idx="667">
                  <c:v>33870</c:v>
                </c:pt>
                <c:pt idx="668">
                  <c:v>34460</c:v>
                </c:pt>
                <c:pt idx="669">
                  <c:v>34444</c:v>
                </c:pt>
                <c:pt idx="670">
                  <c:v>34348</c:v>
                </c:pt>
                <c:pt idx="671">
                  <c:v>35055</c:v>
                </c:pt>
                <c:pt idx="672">
                  <c:v>35880</c:v>
                </c:pt>
                <c:pt idx="673">
                  <c:v>35804</c:v>
                </c:pt>
                <c:pt idx="674">
                  <c:v>35607</c:v>
                </c:pt>
                <c:pt idx="675">
                  <c:v>35881</c:v>
                </c:pt>
                <c:pt idx="676">
                  <c:v>35561</c:v>
                </c:pt>
                <c:pt idx="677">
                  <c:v>33353</c:v>
                </c:pt>
                <c:pt idx="678">
                  <c:v>35824</c:v>
                </c:pt>
                <c:pt idx="679">
                  <c:v>36044</c:v>
                </c:pt>
                <c:pt idx="680">
                  <c:v>35814</c:v>
                </c:pt>
                <c:pt idx="681">
                  <c:v>36029</c:v>
                </c:pt>
                <c:pt idx="682">
                  <c:v>36024</c:v>
                </c:pt>
                <c:pt idx="683">
                  <c:v>35677</c:v>
                </c:pt>
                <c:pt idx="684">
                  <c:v>35449</c:v>
                </c:pt>
                <c:pt idx="685">
                  <c:v>35365</c:v>
                </c:pt>
                <c:pt idx="686">
                  <c:v>35015</c:v>
                </c:pt>
                <c:pt idx="687">
                  <c:v>35228</c:v>
                </c:pt>
                <c:pt idx="688">
                  <c:v>35067</c:v>
                </c:pt>
                <c:pt idx="689">
                  <c:v>34535</c:v>
                </c:pt>
                <c:pt idx="690">
                  <c:v>34364</c:v>
                </c:pt>
                <c:pt idx="691">
                  <c:v>34070</c:v>
                </c:pt>
                <c:pt idx="692">
                  <c:v>33906</c:v>
                </c:pt>
                <c:pt idx="693">
                  <c:v>33784</c:v>
                </c:pt>
                <c:pt idx="694">
                  <c:v>34374</c:v>
                </c:pt>
                <c:pt idx="695">
                  <c:v>33584</c:v>
                </c:pt>
                <c:pt idx="696">
                  <c:v>33518</c:v>
                </c:pt>
                <c:pt idx="697">
                  <c:v>32863</c:v>
                </c:pt>
                <c:pt idx="698">
                  <c:v>33674</c:v>
                </c:pt>
                <c:pt idx="699">
                  <c:v>33690</c:v>
                </c:pt>
                <c:pt idx="700">
                  <c:v>33547</c:v>
                </c:pt>
                <c:pt idx="701">
                  <c:v>33210</c:v>
                </c:pt>
                <c:pt idx="702">
                  <c:v>33112</c:v>
                </c:pt>
                <c:pt idx="703">
                  <c:v>33009</c:v>
                </c:pt>
                <c:pt idx="704">
                  <c:v>33148</c:v>
                </c:pt>
                <c:pt idx="705">
                  <c:v>33197</c:v>
                </c:pt>
                <c:pt idx="706">
                  <c:v>33008</c:v>
                </c:pt>
                <c:pt idx="707">
                  <c:v>33172</c:v>
                </c:pt>
                <c:pt idx="708">
                  <c:v>33231</c:v>
                </c:pt>
                <c:pt idx="709">
                  <c:v>33216</c:v>
                </c:pt>
                <c:pt idx="710">
                  <c:v>32746</c:v>
                </c:pt>
                <c:pt idx="711">
                  <c:v>33037</c:v>
                </c:pt>
                <c:pt idx="712">
                  <c:v>32149</c:v>
                </c:pt>
                <c:pt idx="713">
                  <c:v>31937</c:v>
                </c:pt>
                <c:pt idx="714">
                  <c:v>31944</c:v>
                </c:pt>
                <c:pt idx="715">
                  <c:v>32065</c:v>
                </c:pt>
                <c:pt idx="716">
                  <c:v>31732</c:v>
                </c:pt>
                <c:pt idx="717">
                  <c:v>31509</c:v>
                </c:pt>
                <c:pt idx="718">
                  <c:v>31522</c:v>
                </c:pt>
                <c:pt idx="719">
                  <c:v>31442</c:v>
                </c:pt>
                <c:pt idx="720">
                  <c:v>31498</c:v>
                </c:pt>
                <c:pt idx="721">
                  <c:v>31499</c:v>
                </c:pt>
                <c:pt idx="722">
                  <c:v>31347</c:v>
                </c:pt>
                <c:pt idx="723">
                  <c:v>30817</c:v>
                </c:pt>
                <c:pt idx="724">
                  <c:v>30563</c:v>
                </c:pt>
                <c:pt idx="725">
                  <c:v>30444</c:v>
                </c:pt>
                <c:pt idx="726">
                  <c:v>30773</c:v>
                </c:pt>
                <c:pt idx="727">
                  <c:v>31209</c:v>
                </c:pt>
                <c:pt idx="728">
                  <c:v>29634</c:v>
                </c:pt>
                <c:pt idx="729">
                  <c:v>28851</c:v>
                </c:pt>
                <c:pt idx="730">
                  <c:v>28253</c:v>
                </c:pt>
                <c:pt idx="731">
                  <c:v>27930</c:v>
                </c:pt>
                <c:pt idx="732">
                  <c:v>27946</c:v>
                </c:pt>
                <c:pt idx="733">
                  <c:v>27831</c:v>
                </c:pt>
                <c:pt idx="734">
                  <c:v>27958</c:v>
                </c:pt>
                <c:pt idx="735">
                  <c:v>27631</c:v>
                </c:pt>
                <c:pt idx="736">
                  <c:v>27458</c:v>
                </c:pt>
                <c:pt idx="737">
                  <c:v>27605</c:v>
                </c:pt>
                <c:pt idx="738">
                  <c:v>27591</c:v>
                </c:pt>
                <c:pt idx="739">
                  <c:v>27628</c:v>
                </c:pt>
                <c:pt idx="740">
                  <c:v>27832</c:v>
                </c:pt>
                <c:pt idx="741">
                  <c:v>27992</c:v>
                </c:pt>
                <c:pt idx="742">
                  <c:v>28604</c:v>
                </c:pt>
                <c:pt idx="743">
                  <c:v>28904</c:v>
                </c:pt>
                <c:pt idx="744">
                  <c:v>28311</c:v>
                </c:pt>
                <c:pt idx="745">
                  <c:v>28599</c:v>
                </c:pt>
                <c:pt idx="746">
                  <c:v>29730</c:v>
                </c:pt>
                <c:pt idx="747">
                  <c:v>30637</c:v>
                </c:pt>
                <c:pt idx="748">
                  <c:v>30731</c:v>
                </c:pt>
                <c:pt idx="749">
                  <c:v>30494</c:v>
                </c:pt>
                <c:pt idx="750">
                  <c:v>30418</c:v>
                </c:pt>
                <c:pt idx="751">
                  <c:v>30500</c:v>
                </c:pt>
                <c:pt idx="752">
                  <c:v>30532</c:v>
                </c:pt>
                <c:pt idx="753">
                  <c:v>30389</c:v>
                </c:pt>
                <c:pt idx="754">
                  <c:v>30317</c:v>
                </c:pt>
                <c:pt idx="755">
                  <c:v>30344</c:v>
                </c:pt>
                <c:pt idx="756">
                  <c:v>30393</c:v>
                </c:pt>
                <c:pt idx="757">
                  <c:v>30270</c:v>
                </c:pt>
                <c:pt idx="758">
                  <c:v>30318</c:v>
                </c:pt>
                <c:pt idx="759">
                  <c:v>30593</c:v>
                </c:pt>
                <c:pt idx="760">
                  <c:v>30570</c:v>
                </c:pt>
                <c:pt idx="761">
                  <c:v>30956</c:v>
                </c:pt>
                <c:pt idx="762">
                  <c:v>31185</c:v>
                </c:pt>
                <c:pt idx="763">
                  <c:v>31455</c:v>
                </c:pt>
                <c:pt idx="764">
                  <c:v>31682</c:v>
                </c:pt>
                <c:pt idx="765">
                  <c:v>31681</c:v>
                </c:pt>
                <c:pt idx="766">
                  <c:v>31983</c:v>
                </c:pt>
                <c:pt idx="767">
                  <c:v>31970</c:v>
                </c:pt>
                <c:pt idx="768">
                  <c:v>31388</c:v>
                </c:pt>
                <c:pt idx="769">
                  <c:v>31613</c:v>
                </c:pt>
                <c:pt idx="770">
                  <c:v>31577</c:v>
                </c:pt>
                <c:pt idx="771">
                  <c:v>31349</c:v>
                </c:pt>
                <c:pt idx="772">
                  <c:v>31353</c:v>
                </c:pt>
                <c:pt idx="773">
                  <c:v>31473</c:v>
                </c:pt>
                <c:pt idx="774">
                  <c:v>31703</c:v>
                </c:pt>
                <c:pt idx="775">
                  <c:v>31460</c:v>
                </c:pt>
                <c:pt idx="776">
                  <c:v>31083</c:v>
                </c:pt>
                <c:pt idx="777">
                  <c:v>31085</c:v>
                </c:pt>
                <c:pt idx="778">
                  <c:v>31076</c:v>
                </c:pt>
                <c:pt idx="779">
                  <c:v>30854</c:v>
                </c:pt>
                <c:pt idx="780">
                  <c:v>30995</c:v>
                </c:pt>
                <c:pt idx="781">
                  <c:v>30793</c:v>
                </c:pt>
                <c:pt idx="782">
                  <c:v>30763</c:v>
                </c:pt>
                <c:pt idx="783">
                  <c:v>30926</c:v>
                </c:pt>
                <c:pt idx="784">
                  <c:v>30733</c:v>
                </c:pt>
                <c:pt idx="785">
                  <c:v>30548</c:v>
                </c:pt>
                <c:pt idx="786">
                  <c:v>30131</c:v>
                </c:pt>
                <c:pt idx="787">
                  <c:v>29930</c:v>
                </c:pt>
                <c:pt idx="788">
                  <c:v>30484</c:v>
                </c:pt>
                <c:pt idx="789">
                  <c:v>30209</c:v>
                </c:pt>
                <c:pt idx="790">
                  <c:v>30086</c:v>
                </c:pt>
                <c:pt idx="791">
                  <c:v>29233</c:v>
                </c:pt>
                <c:pt idx="792">
                  <c:v>30367</c:v>
                </c:pt>
                <c:pt idx="793">
                  <c:v>29637</c:v>
                </c:pt>
                <c:pt idx="794">
                  <c:v>29910</c:v>
                </c:pt>
                <c:pt idx="795">
                  <c:v>29778</c:v>
                </c:pt>
                <c:pt idx="796">
                  <c:v>29695</c:v>
                </c:pt>
                <c:pt idx="797">
                  <c:v>29574</c:v>
                </c:pt>
                <c:pt idx="798">
                  <c:v>29421</c:v>
                </c:pt>
                <c:pt idx="799">
                  <c:v>29505</c:v>
                </c:pt>
                <c:pt idx="800">
                  <c:v>29336</c:v>
                </c:pt>
                <c:pt idx="801">
                  <c:v>29609</c:v>
                </c:pt>
                <c:pt idx="802">
                  <c:v>29825</c:v>
                </c:pt>
                <c:pt idx="803">
                  <c:v>29942</c:v>
                </c:pt>
                <c:pt idx="804">
                  <c:v>29492</c:v>
                </c:pt>
                <c:pt idx="805">
                  <c:v>30099</c:v>
                </c:pt>
                <c:pt idx="806">
                  <c:v>29678</c:v>
                </c:pt>
                <c:pt idx="807">
                  <c:v>30173</c:v>
                </c:pt>
                <c:pt idx="808">
                  <c:v>30193</c:v>
                </c:pt>
                <c:pt idx="809">
                  <c:v>30227</c:v>
                </c:pt>
                <c:pt idx="810">
                  <c:v>30155</c:v>
                </c:pt>
                <c:pt idx="811">
                  <c:v>29168</c:v>
                </c:pt>
                <c:pt idx="812">
                  <c:v>29527</c:v>
                </c:pt>
                <c:pt idx="813">
                  <c:v>28739</c:v>
                </c:pt>
                <c:pt idx="814">
                  <c:v>29543</c:v>
                </c:pt>
                <c:pt idx="815">
                  <c:v>28942</c:v>
                </c:pt>
                <c:pt idx="816">
                  <c:v>29141</c:v>
                </c:pt>
                <c:pt idx="817">
                  <c:v>28593</c:v>
                </c:pt>
                <c:pt idx="818">
                  <c:v>28769</c:v>
                </c:pt>
                <c:pt idx="819">
                  <c:v>28147</c:v>
                </c:pt>
                <c:pt idx="820">
                  <c:v>28718</c:v>
                </c:pt>
                <c:pt idx="821">
                  <c:v>28602</c:v>
                </c:pt>
                <c:pt idx="822">
                  <c:v>28422</c:v>
                </c:pt>
                <c:pt idx="823">
                  <c:v>28471</c:v>
                </c:pt>
                <c:pt idx="824">
                  <c:v>28995</c:v>
                </c:pt>
                <c:pt idx="825">
                  <c:v>29021</c:v>
                </c:pt>
                <c:pt idx="826">
                  <c:v>28877</c:v>
                </c:pt>
                <c:pt idx="827">
                  <c:v>29105</c:v>
                </c:pt>
                <c:pt idx="828">
                  <c:v>29166</c:v>
                </c:pt>
                <c:pt idx="829">
                  <c:v>28711</c:v>
                </c:pt>
                <c:pt idx="830">
                  <c:v>28407</c:v>
                </c:pt>
                <c:pt idx="831">
                  <c:v>28709</c:v>
                </c:pt>
                <c:pt idx="832">
                  <c:v>28724</c:v>
                </c:pt>
                <c:pt idx="833">
                  <c:v>28638</c:v>
                </c:pt>
                <c:pt idx="834">
                  <c:v>29154</c:v>
                </c:pt>
                <c:pt idx="835">
                  <c:v>28806</c:v>
                </c:pt>
                <c:pt idx="836">
                  <c:v>28907</c:v>
                </c:pt>
                <c:pt idx="837">
                  <c:v>28429</c:v>
                </c:pt>
                <c:pt idx="838">
                  <c:v>28733</c:v>
                </c:pt>
                <c:pt idx="839">
                  <c:v>28454</c:v>
                </c:pt>
                <c:pt idx="840">
                  <c:v>28800</c:v>
                </c:pt>
                <c:pt idx="841">
                  <c:v>28997</c:v>
                </c:pt>
                <c:pt idx="842">
                  <c:v>28597</c:v>
                </c:pt>
                <c:pt idx="843">
                  <c:v>28715</c:v>
                </c:pt>
                <c:pt idx="844">
                  <c:v>28768</c:v>
                </c:pt>
                <c:pt idx="845">
                  <c:v>28832</c:v>
                </c:pt>
                <c:pt idx="846">
                  <c:v>28313</c:v>
                </c:pt>
                <c:pt idx="847">
                  <c:v>28465</c:v>
                </c:pt>
                <c:pt idx="848">
                  <c:v>28604</c:v>
                </c:pt>
                <c:pt idx="849">
                  <c:v>28436</c:v>
                </c:pt>
                <c:pt idx="850">
                  <c:v>28875</c:v>
                </c:pt>
                <c:pt idx="851">
                  <c:v>28980</c:v>
                </c:pt>
                <c:pt idx="852">
                  <c:v>28870</c:v>
                </c:pt>
                <c:pt idx="853">
                  <c:v>28870</c:v>
                </c:pt>
                <c:pt idx="854">
                  <c:v>28816</c:v>
                </c:pt>
                <c:pt idx="855">
                  <c:v>28863</c:v>
                </c:pt>
                <c:pt idx="856">
                  <c:v>28846</c:v>
                </c:pt>
                <c:pt idx="857">
                  <c:v>28876</c:v>
                </c:pt>
                <c:pt idx="858">
                  <c:v>28947</c:v>
                </c:pt>
                <c:pt idx="859">
                  <c:v>29052</c:v>
                </c:pt>
                <c:pt idx="860">
                  <c:v>29582</c:v>
                </c:pt>
                <c:pt idx="861">
                  <c:v>29114</c:v>
                </c:pt>
                <c:pt idx="862">
                  <c:v>29525</c:v>
                </c:pt>
                <c:pt idx="863">
                  <c:v>30070</c:v>
                </c:pt>
                <c:pt idx="864">
                  <c:v>30272</c:v>
                </c:pt>
                <c:pt idx="865">
                  <c:v>30496</c:v>
                </c:pt>
                <c:pt idx="866">
                  <c:v>30550</c:v>
                </c:pt>
                <c:pt idx="867">
                  <c:v>31225</c:v>
                </c:pt>
                <c:pt idx="868">
                  <c:v>31305</c:v>
                </c:pt>
                <c:pt idx="869">
                  <c:v>31431</c:v>
                </c:pt>
                <c:pt idx="870">
                  <c:v>31571</c:v>
                </c:pt>
                <c:pt idx="871">
                  <c:v>31954</c:v>
                </c:pt>
                <c:pt idx="872">
                  <c:v>32852</c:v>
                </c:pt>
                <c:pt idx="873">
                  <c:v>33309</c:v>
                </c:pt>
                <c:pt idx="874">
                  <c:v>33510</c:v>
                </c:pt>
                <c:pt idx="875">
                  <c:v>34340</c:v>
                </c:pt>
                <c:pt idx="876">
                  <c:v>34050</c:v>
                </c:pt>
                <c:pt idx="877">
                  <c:v>35320</c:v>
                </c:pt>
                <c:pt idx="878">
                  <c:v>35566</c:v>
                </c:pt>
                <c:pt idx="879">
                  <c:v>35894</c:v>
                </c:pt>
                <c:pt idx="880">
                  <c:v>35916</c:v>
                </c:pt>
                <c:pt idx="881">
                  <c:v>35454</c:v>
                </c:pt>
                <c:pt idx="882">
                  <c:v>36630</c:v>
                </c:pt>
                <c:pt idx="883">
                  <c:v>37891</c:v>
                </c:pt>
                <c:pt idx="884">
                  <c:v>37743</c:v>
                </c:pt>
                <c:pt idx="885">
                  <c:v>34947</c:v>
                </c:pt>
                <c:pt idx="886">
                  <c:v>37381</c:v>
                </c:pt>
                <c:pt idx="887">
                  <c:v>37427</c:v>
                </c:pt>
                <c:pt idx="888">
                  <c:v>36029</c:v>
                </c:pt>
                <c:pt idx="889">
                  <c:v>36810</c:v>
                </c:pt>
                <c:pt idx="890">
                  <c:v>36295</c:v>
                </c:pt>
                <c:pt idx="891">
                  <c:v>36423</c:v>
                </c:pt>
                <c:pt idx="892">
                  <c:v>36084</c:v>
                </c:pt>
                <c:pt idx="893">
                  <c:v>36147</c:v>
                </c:pt>
                <c:pt idx="894">
                  <c:v>35823</c:v>
                </c:pt>
                <c:pt idx="895">
                  <c:v>36095</c:v>
                </c:pt>
                <c:pt idx="896">
                  <c:v>36146</c:v>
                </c:pt>
                <c:pt idx="897">
                  <c:v>36388</c:v>
                </c:pt>
                <c:pt idx="898">
                  <c:v>36622</c:v>
                </c:pt>
                <c:pt idx="899">
                  <c:v>36974</c:v>
                </c:pt>
                <c:pt idx="900">
                  <c:v>37083</c:v>
                </c:pt>
                <c:pt idx="901">
                  <c:v>37009</c:v>
                </c:pt>
                <c:pt idx="902">
                  <c:v>36492</c:v>
                </c:pt>
                <c:pt idx="903">
                  <c:v>36664</c:v>
                </c:pt>
                <c:pt idx="904">
                  <c:v>36725</c:v>
                </c:pt>
                <c:pt idx="905">
                  <c:v>36802</c:v>
                </c:pt>
                <c:pt idx="906">
                  <c:v>36947</c:v>
                </c:pt>
                <c:pt idx="907">
                  <c:v>36836</c:v>
                </c:pt>
                <c:pt idx="908">
                  <c:v>37176</c:v>
                </c:pt>
                <c:pt idx="909">
                  <c:v>37155</c:v>
                </c:pt>
                <c:pt idx="910">
                  <c:v>37043</c:v>
                </c:pt>
                <c:pt idx="911">
                  <c:v>36874</c:v>
                </c:pt>
                <c:pt idx="912">
                  <c:v>36650</c:v>
                </c:pt>
                <c:pt idx="913">
                  <c:v>36717</c:v>
                </c:pt>
                <c:pt idx="914">
                  <c:v>36645</c:v>
                </c:pt>
                <c:pt idx="915">
                  <c:v>35989</c:v>
                </c:pt>
                <c:pt idx="916">
                  <c:v>36141</c:v>
                </c:pt>
                <c:pt idx="917">
                  <c:v>35952</c:v>
                </c:pt>
                <c:pt idx="918">
                  <c:v>35973</c:v>
                </c:pt>
                <c:pt idx="919">
                  <c:v>35432</c:v>
                </c:pt>
                <c:pt idx="920">
                  <c:v>35369</c:v>
                </c:pt>
                <c:pt idx="921">
                  <c:v>35089</c:v>
                </c:pt>
                <c:pt idx="922">
                  <c:v>34996</c:v>
                </c:pt>
                <c:pt idx="923">
                  <c:v>34917</c:v>
                </c:pt>
                <c:pt idx="924">
                  <c:v>34845</c:v>
                </c:pt>
                <c:pt idx="925">
                  <c:v>34741</c:v>
                </c:pt>
                <c:pt idx="926">
                  <c:v>35018</c:v>
                </c:pt>
                <c:pt idx="927">
                  <c:v>34651</c:v>
                </c:pt>
                <c:pt idx="928">
                  <c:v>34589</c:v>
                </c:pt>
                <c:pt idx="929">
                  <c:v>34790</c:v>
                </c:pt>
                <c:pt idx="930">
                  <c:v>34739</c:v>
                </c:pt>
                <c:pt idx="931">
                  <c:v>34550</c:v>
                </c:pt>
                <c:pt idx="932">
                  <c:v>34706</c:v>
                </c:pt>
                <c:pt idx="933">
                  <c:v>34720</c:v>
                </c:pt>
                <c:pt idx="934">
                  <c:v>34540</c:v>
                </c:pt>
                <c:pt idx="935">
                  <c:v>34425</c:v>
                </c:pt>
                <c:pt idx="936">
                  <c:v>34445</c:v>
                </c:pt>
                <c:pt idx="937">
                  <c:v>34490</c:v>
                </c:pt>
                <c:pt idx="938">
                  <c:v>34356</c:v>
                </c:pt>
                <c:pt idx="939">
                  <c:v>34556</c:v>
                </c:pt>
                <c:pt idx="940">
                  <c:v>34391</c:v>
                </c:pt>
                <c:pt idx="941">
                  <c:v>34268</c:v>
                </c:pt>
                <c:pt idx="942">
                  <c:v>34330</c:v>
                </c:pt>
                <c:pt idx="943">
                  <c:v>34142</c:v>
                </c:pt>
                <c:pt idx="944">
                  <c:v>33917</c:v>
                </c:pt>
                <c:pt idx="945">
                  <c:v>33620</c:v>
                </c:pt>
                <c:pt idx="946">
                  <c:v>33480</c:v>
                </c:pt>
                <c:pt idx="947">
                  <c:v>33449</c:v>
                </c:pt>
                <c:pt idx="948">
                  <c:v>33525</c:v>
                </c:pt>
                <c:pt idx="949">
                  <c:v>33540</c:v>
                </c:pt>
                <c:pt idx="950">
                  <c:v>33522</c:v>
                </c:pt>
                <c:pt idx="951">
                  <c:v>33450</c:v>
                </c:pt>
                <c:pt idx="952">
                  <c:v>33290</c:v>
                </c:pt>
                <c:pt idx="953">
                  <c:v>33237</c:v>
                </c:pt>
                <c:pt idx="954">
                  <c:v>33241</c:v>
                </c:pt>
                <c:pt idx="955">
                  <c:v>32883</c:v>
                </c:pt>
                <c:pt idx="956">
                  <c:v>32645</c:v>
                </c:pt>
                <c:pt idx="957">
                  <c:v>32717</c:v>
                </c:pt>
                <c:pt idx="958">
                  <c:v>32440</c:v>
                </c:pt>
                <c:pt idx="959">
                  <c:v>32240</c:v>
                </c:pt>
                <c:pt idx="960">
                  <c:v>31916</c:v>
                </c:pt>
                <c:pt idx="961">
                  <c:v>31692</c:v>
                </c:pt>
                <c:pt idx="962">
                  <c:v>31786</c:v>
                </c:pt>
                <c:pt idx="963">
                  <c:v>31704</c:v>
                </c:pt>
                <c:pt idx="964">
                  <c:v>31520</c:v>
                </c:pt>
                <c:pt idx="965">
                  <c:v>31493</c:v>
                </c:pt>
                <c:pt idx="966">
                  <c:v>31110</c:v>
                </c:pt>
                <c:pt idx="967">
                  <c:v>31113</c:v>
                </c:pt>
                <c:pt idx="968">
                  <c:v>31226</c:v>
                </c:pt>
                <c:pt idx="969">
                  <c:v>31526</c:v>
                </c:pt>
                <c:pt idx="970">
                  <c:v>31218</c:v>
                </c:pt>
                <c:pt idx="971">
                  <c:v>31224</c:v>
                </c:pt>
                <c:pt idx="972">
                  <c:v>31383</c:v>
                </c:pt>
                <c:pt idx="973">
                  <c:v>31464</c:v>
                </c:pt>
                <c:pt idx="974">
                  <c:v>31584</c:v>
                </c:pt>
                <c:pt idx="975">
                  <c:v>31248</c:v>
                </c:pt>
                <c:pt idx="976">
                  <c:v>31245</c:v>
                </c:pt>
                <c:pt idx="977">
                  <c:v>31296</c:v>
                </c:pt>
                <c:pt idx="978">
                  <c:v>31353</c:v>
                </c:pt>
                <c:pt idx="979">
                  <c:v>31228</c:v>
                </c:pt>
                <c:pt idx="980">
                  <c:v>31141</c:v>
                </c:pt>
                <c:pt idx="981">
                  <c:v>31005</c:v>
                </c:pt>
                <c:pt idx="982">
                  <c:v>31122</c:v>
                </c:pt>
                <c:pt idx="983">
                  <c:v>31272</c:v>
                </c:pt>
                <c:pt idx="984">
                  <c:v>31163</c:v>
                </c:pt>
                <c:pt idx="985">
                  <c:v>31374</c:v>
                </c:pt>
                <c:pt idx="986">
                  <c:v>31331</c:v>
                </c:pt>
                <c:pt idx="987">
                  <c:v>31491</c:v>
                </c:pt>
                <c:pt idx="988">
                  <c:v>31112</c:v>
                </c:pt>
                <c:pt idx="989">
                  <c:v>30864</c:v>
                </c:pt>
                <c:pt idx="990">
                  <c:v>30991</c:v>
                </c:pt>
                <c:pt idx="991">
                  <c:v>31071</c:v>
                </c:pt>
                <c:pt idx="992">
                  <c:v>31261</c:v>
                </c:pt>
                <c:pt idx="993">
                  <c:v>31280</c:v>
                </c:pt>
                <c:pt idx="994">
                  <c:v>31435</c:v>
                </c:pt>
                <c:pt idx="995">
                  <c:v>31469</c:v>
                </c:pt>
                <c:pt idx="996">
                  <c:v>31529</c:v>
                </c:pt>
                <c:pt idx="997">
                  <c:v>32071</c:v>
                </c:pt>
                <c:pt idx="998">
                  <c:v>32628</c:v>
                </c:pt>
                <c:pt idx="999">
                  <c:v>32964</c:v>
                </c:pt>
                <c:pt idx="1000">
                  <c:v>32539</c:v>
                </c:pt>
                <c:pt idx="1001">
                  <c:v>32482</c:v>
                </c:pt>
                <c:pt idx="1002">
                  <c:v>32710</c:v>
                </c:pt>
                <c:pt idx="1003">
                  <c:v>32911</c:v>
                </c:pt>
                <c:pt idx="1004">
                  <c:v>33207</c:v>
                </c:pt>
                <c:pt idx="1005">
                  <c:v>33247</c:v>
                </c:pt>
                <c:pt idx="1006">
                  <c:v>33128</c:v>
                </c:pt>
                <c:pt idx="1007">
                  <c:v>32967</c:v>
                </c:pt>
                <c:pt idx="1008">
                  <c:v>33024</c:v>
                </c:pt>
                <c:pt idx="1009">
                  <c:v>32957</c:v>
                </c:pt>
                <c:pt idx="1010">
                  <c:v>32878</c:v>
                </c:pt>
                <c:pt idx="1011">
                  <c:v>32788</c:v>
                </c:pt>
                <c:pt idx="1012">
                  <c:v>32752</c:v>
                </c:pt>
                <c:pt idx="1013">
                  <c:v>32727</c:v>
                </c:pt>
                <c:pt idx="1014">
                  <c:v>32859</c:v>
                </c:pt>
                <c:pt idx="1015">
                  <c:v>33150</c:v>
                </c:pt>
                <c:pt idx="1016">
                  <c:v>33369</c:v>
                </c:pt>
                <c:pt idx="1017">
                  <c:v>33448</c:v>
                </c:pt>
                <c:pt idx="1018">
                  <c:v>33857</c:v>
                </c:pt>
                <c:pt idx="1019">
                  <c:v>34151</c:v>
                </c:pt>
                <c:pt idx="1020">
                  <c:v>34188</c:v>
                </c:pt>
                <c:pt idx="1021">
                  <c:v>34219</c:v>
                </c:pt>
                <c:pt idx="1022">
                  <c:v>34035</c:v>
                </c:pt>
                <c:pt idx="1023">
                  <c:v>33634</c:v>
                </c:pt>
                <c:pt idx="1024">
                  <c:v>33955</c:v>
                </c:pt>
                <c:pt idx="1025">
                  <c:v>34206</c:v>
                </c:pt>
                <c:pt idx="1026">
                  <c:v>34587</c:v>
                </c:pt>
                <c:pt idx="1027">
                  <c:v>35311</c:v>
                </c:pt>
                <c:pt idx="1028">
                  <c:v>35868</c:v>
                </c:pt>
                <c:pt idx="1029">
                  <c:v>35467</c:v>
                </c:pt>
                <c:pt idx="1030">
                  <c:v>35479</c:v>
                </c:pt>
                <c:pt idx="1031">
                  <c:v>35583</c:v>
                </c:pt>
                <c:pt idx="1032">
                  <c:v>35534</c:v>
                </c:pt>
                <c:pt idx="1033">
                  <c:v>35446</c:v>
                </c:pt>
                <c:pt idx="1034">
                  <c:v>35476</c:v>
                </c:pt>
                <c:pt idx="1035">
                  <c:v>35365</c:v>
                </c:pt>
                <c:pt idx="1036">
                  <c:v>34818</c:v>
                </c:pt>
                <c:pt idx="1037">
                  <c:v>34668</c:v>
                </c:pt>
                <c:pt idx="1038">
                  <c:v>34689</c:v>
                </c:pt>
                <c:pt idx="1039">
                  <c:v>34702</c:v>
                </c:pt>
                <c:pt idx="1040">
                  <c:v>34667</c:v>
                </c:pt>
                <c:pt idx="1041">
                  <c:v>34706</c:v>
                </c:pt>
                <c:pt idx="1042">
                  <c:v>34833</c:v>
                </c:pt>
                <c:pt idx="1043">
                  <c:v>34935</c:v>
                </c:pt>
                <c:pt idx="1044">
                  <c:v>34921</c:v>
                </c:pt>
                <c:pt idx="1045">
                  <c:v>35000</c:v>
                </c:pt>
                <c:pt idx="1046">
                  <c:v>35270</c:v>
                </c:pt>
                <c:pt idx="1047">
                  <c:v>35352</c:v>
                </c:pt>
                <c:pt idx="1048">
                  <c:v>35338</c:v>
                </c:pt>
                <c:pt idx="1049">
                  <c:v>35457</c:v>
                </c:pt>
                <c:pt idx="1050">
                  <c:v>35229</c:v>
                </c:pt>
                <c:pt idx="1051">
                  <c:v>35158</c:v>
                </c:pt>
                <c:pt idx="1052">
                  <c:v>35269</c:v>
                </c:pt>
                <c:pt idx="1053">
                  <c:v>35241</c:v>
                </c:pt>
                <c:pt idx="1054">
                  <c:v>35200</c:v>
                </c:pt>
                <c:pt idx="1055">
                  <c:v>35145</c:v>
                </c:pt>
                <c:pt idx="1056">
                  <c:v>35010</c:v>
                </c:pt>
                <c:pt idx="1057">
                  <c:v>34811</c:v>
                </c:pt>
                <c:pt idx="1058">
                  <c:v>34686</c:v>
                </c:pt>
                <c:pt idx="1059">
                  <c:v>34824</c:v>
                </c:pt>
                <c:pt idx="1060">
                  <c:v>34750</c:v>
                </c:pt>
                <c:pt idx="1061">
                  <c:v>34534</c:v>
                </c:pt>
                <c:pt idx="1062">
                  <c:v>34553</c:v>
                </c:pt>
                <c:pt idx="1063">
                  <c:v>34534</c:v>
                </c:pt>
                <c:pt idx="1064">
                  <c:v>34570</c:v>
                </c:pt>
                <c:pt idx="1065">
                  <c:v>34550</c:v>
                </c:pt>
                <c:pt idx="1066">
                  <c:v>34600</c:v>
                </c:pt>
                <c:pt idx="1067">
                  <c:v>34554</c:v>
                </c:pt>
                <c:pt idx="1068">
                  <c:v>34259</c:v>
                </c:pt>
                <c:pt idx="1069">
                  <c:v>34601</c:v>
                </c:pt>
                <c:pt idx="1070">
                  <c:v>34424</c:v>
                </c:pt>
                <c:pt idx="1071">
                  <c:v>34427</c:v>
                </c:pt>
                <c:pt idx="1072">
                  <c:v>34841</c:v>
                </c:pt>
                <c:pt idx="1073">
                  <c:v>35048</c:v>
                </c:pt>
                <c:pt idx="1074">
                  <c:v>35165</c:v>
                </c:pt>
                <c:pt idx="1075">
                  <c:v>35406</c:v>
                </c:pt>
                <c:pt idx="1076">
                  <c:v>35446</c:v>
                </c:pt>
                <c:pt idx="1077">
                  <c:v>35567</c:v>
                </c:pt>
                <c:pt idx="1078">
                  <c:v>35393</c:v>
                </c:pt>
                <c:pt idx="1079">
                  <c:v>35425</c:v>
                </c:pt>
                <c:pt idx="1080">
                  <c:v>35674</c:v>
                </c:pt>
                <c:pt idx="1081">
                  <c:v>35736</c:v>
                </c:pt>
                <c:pt idx="1082">
                  <c:v>35678</c:v>
                </c:pt>
                <c:pt idx="1083">
                  <c:v>35652</c:v>
                </c:pt>
                <c:pt idx="1084">
                  <c:v>35672</c:v>
                </c:pt>
                <c:pt idx="1085">
                  <c:v>35775</c:v>
                </c:pt>
                <c:pt idx="1086">
                  <c:v>35915</c:v>
                </c:pt>
                <c:pt idx="1087">
                  <c:v>36059</c:v>
                </c:pt>
                <c:pt idx="1088">
                  <c:v>36105</c:v>
                </c:pt>
                <c:pt idx="1089">
                  <c:v>36133</c:v>
                </c:pt>
                <c:pt idx="1090">
                  <c:v>36219</c:v>
                </c:pt>
                <c:pt idx="1091">
                  <c:v>36262</c:v>
                </c:pt>
                <c:pt idx="1092">
                  <c:v>36069</c:v>
                </c:pt>
                <c:pt idx="1093">
                  <c:v>36308</c:v>
                </c:pt>
                <c:pt idx="1094">
                  <c:v>36326</c:v>
                </c:pt>
                <c:pt idx="1095">
                  <c:v>36461</c:v>
                </c:pt>
                <c:pt idx="1096">
                  <c:v>36952</c:v>
                </c:pt>
                <c:pt idx="1097">
                  <c:v>37461</c:v>
                </c:pt>
                <c:pt idx="1098">
                  <c:v>37846</c:v>
                </c:pt>
                <c:pt idx="1099">
                  <c:v>38259</c:v>
                </c:pt>
                <c:pt idx="1100">
                  <c:v>37914</c:v>
                </c:pt>
                <c:pt idx="1101">
                  <c:v>37861</c:v>
                </c:pt>
                <c:pt idx="1102">
                  <c:v>38002</c:v>
                </c:pt>
                <c:pt idx="1103">
                  <c:v>38190</c:v>
                </c:pt>
                <c:pt idx="1104">
                  <c:v>38315</c:v>
                </c:pt>
                <c:pt idx="1105">
                  <c:v>38454</c:v>
                </c:pt>
                <c:pt idx="1106">
                  <c:v>38314</c:v>
                </c:pt>
                <c:pt idx="1107">
                  <c:v>38426</c:v>
                </c:pt>
                <c:pt idx="1108">
                  <c:v>38651</c:v>
                </c:pt>
                <c:pt idx="1109">
                  <c:v>38760</c:v>
                </c:pt>
                <c:pt idx="1110">
                  <c:v>39003</c:v>
                </c:pt>
                <c:pt idx="1111">
                  <c:v>39256</c:v>
                </c:pt>
                <c:pt idx="1112">
                  <c:v>39500</c:v>
                </c:pt>
                <c:pt idx="1113">
                  <c:v>39759</c:v>
                </c:pt>
                <c:pt idx="1114">
                  <c:v>39371</c:v>
                </c:pt>
                <c:pt idx="1115">
                  <c:v>39016</c:v>
                </c:pt>
                <c:pt idx="1116">
                  <c:v>38912</c:v>
                </c:pt>
                <c:pt idx="1117">
                  <c:v>38729</c:v>
                </c:pt>
                <c:pt idx="1118">
                  <c:v>38650</c:v>
                </c:pt>
                <c:pt idx="1119">
                  <c:v>38735</c:v>
                </c:pt>
                <c:pt idx="1120">
                  <c:v>38705</c:v>
                </c:pt>
                <c:pt idx="1121">
                  <c:v>38787</c:v>
                </c:pt>
                <c:pt idx="1122">
                  <c:v>39071</c:v>
                </c:pt>
                <c:pt idx="1123">
                  <c:v>39157</c:v>
                </c:pt>
                <c:pt idx="1124">
                  <c:v>39344</c:v>
                </c:pt>
                <c:pt idx="1125">
                  <c:v>39400</c:v>
                </c:pt>
                <c:pt idx="1126">
                  <c:v>39686</c:v>
                </c:pt>
                <c:pt idx="1127">
                  <c:v>39834</c:v>
                </c:pt>
                <c:pt idx="1128">
                  <c:v>40114</c:v>
                </c:pt>
                <c:pt idx="1129">
                  <c:v>40011</c:v>
                </c:pt>
                <c:pt idx="1130">
                  <c:v>39864</c:v>
                </c:pt>
                <c:pt idx="1131">
                  <c:v>39732</c:v>
                </c:pt>
                <c:pt idx="1132">
                  <c:v>39888</c:v>
                </c:pt>
                <c:pt idx="1133">
                  <c:v>39837</c:v>
                </c:pt>
                <c:pt idx="1134">
                  <c:v>39862</c:v>
                </c:pt>
                <c:pt idx="1135">
                  <c:v>39970</c:v>
                </c:pt>
                <c:pt idx="1136">
                  <c:v>39977</c:v>
                </c:pt>
                <c:pt idx="1137">
                  <c:v>39917</c:v>
                </c:pt>
                <c:pt idx="1138">
                  <c:v>39926</c:v>
                </c:pt>
                <c:pt idx="1139">
                  <c:v>40027</c:v>
                </c:pt>
                <c:pt idx="1140">
                  <c:v>40158</c:v>
                </c:pt>
                <c:pt idx="1141">
                  <c:v>40325</c:v>
                </c:pt>
                <c:pt idx="1142">
                  <c:v>40568</c:v>
                </c:pt>
                <c:pt idx="1143">
                  <c:v>40675</c:v>
                </c:pt>
                <c:pt idx="1144">
                  <c:v>40828</c:v>
                </c:pt>
                <c:pt idx="1145">
                  <c:v>40815</c:v>
                </c:pt>
                <c:pt idx="1146">
                  <c:v>40975</c:v>
                </c:pt>
                <c:pt idx="1147">
                  <c:v>41088</c:v>
                </c:pt>
                <c:pt idx="1148">
                  <c:v>40990</c:v>
                </c:pt>
                <c:pt idx="1149">
                  <c:v>41005</c:v>
                </c:pt>
                <c:pt idx="1150">
                  <c:v>41177</c:v>
                </c:pt>
                <c:pt idx="1151">
                  <c:v>41382</c:v>
                </c:pt>
                <c:pt idx="1152">
                  <c:v>41804</c:v>
                </c:pt>
                <c:pt idx="1153">
                  <c:v>41846</c:v>
                </c:pt>
                <c:pt idx="1154">
                  <c:v>41870</c:v>
                </c:pt>
                <c:pt idx="1155">
                  <c:v>41815</c:v>
                </c:pt>
                <c:pt idx="1156">
                  <c:v>41771</c:v>
                </c:pt>
                <c:pt idx="1157">
                  <c:v>41545</c:v>
                </c:pt>
                <c:pt idx="1158">
                  <c:v>41224</c:v>
                </c:pt>
                <c:pt idx="1159">
                  <c:v>41001</c:v>
                </c:pt>
                <c:pt idx="1160">
                  <c:v>41147</c:v>
                </c:pt>
                <c:pt idx="1161">
                  <c:v>41407</c:v>
                </c:pt>
                <c:pt idx="1162">
                  <c:v>41579</c:v>
                </c:pt>
                <c:pt idx="1163">
                  <c:v>41293</c:v>
                </c:pt>
                <c:pt idx="1164">
                  <c:v>41332</c:v>
                </c:pt>
                <c:pt idx="1165">
                  <c:v>41291</c:v>
                </c:pt>
                <c:pt idx="1166">
                  <c:v>41366</c:v>
                </c:pt>
                <c:pt idx="1167">
                  <c:v>41278</c:v>
                </c:pt>
                <c:pt idx="1168">
                  <c:v>41369</c:v>
                </c:pt>
                <c:pt idx="1169">
                  <c:v>41499</c:v>
                </c:pt>
                <c:pt idx="1170">
                  <c:v>41589</c:v>
                </c:pt>
                <c:pt idx="1171">
                  <c:v>41695</c:v>
                </c:pt>
                <c:pt idx="1172">
                  <c:v>41630</c:v>
                </c:pt>
                <c:pt idx="1173">
                  <c:v>41644</c:v>
                </c:pt>
                <c:pt idx="1174">
                  <c:v>41652</c:v>
                </c:pt>
                <c:pt idx="1175">
                  <c:v>41646</c:v>
                </c:pt>
                <c:pt idx="1176">
                  <c:v>41534</c:v>
                </c:pt>
                <c:pt idx="1177">
                  <c:v>41313</c:v>
                </c:pt>
                <c:pt idx="1178">
                  <c:v>41639</c:v>
                </c:pt>
                <c:pt idx="1179">
                  <c:v>41573</c:v>
                </c:pt>
                <c:pt idx="1180">
                  <c:v>41600</c:v>
                </c:pt>
                <c:pt idx="1181">
                  <c:v>41672</c:v>
                </c:pt>
                <c:pt idx="1182">
                  <c:v>41608</c:v>
                </c:pt>
                <c:pt idx="1183">
                  <c:v>41694</c:v>
                </c:pt>
                <c:pt idx="1184">
                  <c:v>41792</c:v>
                </c:pt>
                <c:pt idx="1185">
                  <c:v>41690</c:v>
                </c:pt>
                <c:pt idx="1186">
                  <c:v>41491</c:v>
                </c:pt>
                <c:pt idx="1187">
                  <c:v>41153</c:v>
                </c:pt>
                <c:pt idx="1188">
                  <c:v>40722</c:v>
                </c:pt>
                <c:pt idx="1189">
                  <c:v>40569</c:v>
                </c:pt>
                <c:pt idx="1190">
                  <c:v>40484</c:v>
                </c:pt>
                <c:pt idx="1191">
                  <c:v>40449</c:v>
                </c:pt>
                <c:pt idx="1192">
                  <c:v>40283</c:v>
                </c:pt>
                <c:pt idx="1193">
                  <c:v>40066</c:v>
                </c:pt>
                <c:pt idx="1194">
                  <c:v>39953</c:v>
                </c:pt>
                <c:pt idx="1195">
                  <c:v>40015</c:v>
                </c:pt>
                <c:pt idx="1196">
                  <c:v>40048</c:v>
                </c:pt>
                <c:pt idx="1197">
                  <c:v>39840</c:v>
                </c:pt>
                <c:pt idx="1198">
                  <c:v>39680</c:v>
                </c:pt>
                <c:pt idx="1199">
                  <c:v>39564</c:v>
                </c:pt>
                <c:pt idx="1200">
                  <c:v>39842</c:v>
                </c:pt>
                <c:pt idx="1201">
                  <c:v>39571</c:v>
                </c:pt>
                <c:pt idx="1202">
                  <c:v>38991</c:v>
                </c:pt>
                <c:pt idx="1203">
                  <c:v>38764</c:v>
                </c:pt>
                <c:pt idx="1204">
                  <c:v>38504</c:v>
                </c:pt>
                <c:pt idx="1205">
                  <c:v>38196</c:v>
                </c:pt>
                <c:pt idx="1206">
                  <c:v>37862</c:v>
                </c:pt>
                <c:pt idx="1207">
                  <c:v>37698</c:v>
                </c:pt>
                <c:pt idx="1208">
                  <c:v>37447</c:v>
                </c:pt>
                <c:pt idx="1209">
                  <c:v>36704</c:v>
                </c:pt>
                <c:pt idx="1210">
                  <c:v>35700</c:v>
                </c:pt>
                <c:pt idx="1211">
                  <c:v>35091</c:v>
                </c:pt>
                <c:pt idx="1212">
                  <c:v>34611</c:v>
                </c:pt>
                <c:pt idx="1213">
                  <c:v>34563</c:v>
                </c:pt>
                <c:pt idx="1214">
                  <c:v>34240</c:v>
                </c:pt>
                <c:pt idx="1215">
                  <c:v>34565</c:v>
                </c:pt>
                <c:pt idx="1216">
                  <c:v>34508</c:v>
                </c:pt>
                <c:pt idx="1217">
                  <c:v>33685</c:v>
                </c:pt>
                <c:pt idx="1218">
                  <c:v>33237</c:v>
                </c:pt>
                <c:pt idx="1219">
                  <c:v>32966</c:v>
                </c:pt>
                <c:pt idx="1220">
                  <c:v>32914</c:v>
                </c:pt>
                <c:pt idx="1221">
                  <c:v>32530</c:v>
                </c:pt>
                <c:pt idx="1222">
                  <c:v>32874</c:v>
                </c:pt>
                <c:pt idx="1223">
                  <c:v>32638</c:v>
                </c:pt>
                <c:pt idx="1224">
                  <c:v>32001</c:v>
                </c:pt>
                <c:pt idx="1225">
                  <c:v>31542</c:v>
                </c:pt>
                <c:pt idx="1226">
                  <c:v>31458</c:v>
                </c:pt>
                <c:pt idx="1227">
                  <c:v>31795</c:v>
                </c:pt>
                <c:pt idx="1228">
                  <c:v>32332</c:v>
                </c:pt>
                <c:pt idx="1229">
                  <c:v>32627</c:v>
                </c:pt>
                <c:pt idx="1230">
                  <c:v>32810</c:v>
                </c:pt>
                <c:pt idx="1231">
                  <c:v>32734</c:v>
                </c:pt>
                <c:pt idx="1232">
                  <c:v>32515</c:v>
                </c:pt>
                <c:pt idx="1233">
                  <c:v>33126</c:v>
                </c:pt>
                <c:pt idx="1234">
                  <c:v>32950</c:v>
                </c:pt>
                <c:pt idx="1235">
                  <c:v>32428</c:v>
                </c:pt>
                <c:pt idx="1236">
                  <c:v>31963</c:v>
                </c:pt>
                <c:pt idx="1237">
                  <c:v>31556</c:v>
                </c:pt>
                <c:pt idx="1238">
                  <c:v>31363</c:v>
                </c:pt>
                <c:pt idx="1239">
                  <c:v>31117</c:v>
                </c:pt>
                <c:pt idx="1240">
                  <c:v>30209</c:v>
                </c:pt>
                <c:pt idx="1241">
                  <c:v>29261</c:v>
                </c:pt>
                <c:pt idx="1242">
                  <c:v>29379</c:v>
                </c:pt>
                <c:pt idx="1243">
                  <c:v>30063</c:v>
                </c:pt>
                <c:pt idx="1244">
                  <c:v>30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205312"/>
        <c:axId val="640328256"/>
      </c:lineChart>
      <c:lineChart>
        <c:grouping val="standard"/>
        <c:varyColors val="0"/>
        <c:ser>
          <c:idx val="1"/>
          <c:order val="0"/>
          <c:tx>
            <c:strRef>
              <c:f>Индексы_Мир_СПбМТСБ!$B$2</c:f>
              <c:strCache>
                <c:ptCount val="1"/>
                <c:pt idx="0">
                  <c:v>BRENT</c:v>
                </c:pt>
              </c:strCache>
            </c:strRef>
          </c:tx>
          <c:spPr>
            <a:ln w="19050">
              <a:solidFill>
                <a:schemeClr val="tx1"/>
              </a:solidFill>
            </a:ln>
          </c:spPr>
          <c:marker>
            <c:symbol val="none"/>
          </c:marker>
          <c:cat>
            <c:numRef>
              <c:f>Индексы_Мир_СПбМТСБ!$A$218:$A$1462</c:f>
              <c:numCache>
                <c:formatCode>m/d/yyyy</c:formatCode>
                <c:ptCount val="1245"/>
                <c:pt idx="0">
                  <c:v>40189</c:v>
                </c:pt>
                <c:pt idx="1">
                  <c:v>40190</c:v>
                </c:pt>
                <c:pt idx="2">
                  <c:v>40191</c:v>
                </c:pt>
                <c:pt idx="3">
                  <c:v>40192</c:v>
                </c:pt>
                <c:pt idx="4">
                  <c:v>40193</c:v>
                </c:pt>
                <c:pt idx="5">
                  <c:v>40196</c:v>
                </c:pt>
                <c:pt idx="6">
                  <c:v>40197</c:v>
                </c:pt>
                <c:pt idx="7">
                  <c:v>40198</c:v>
                </c:pt>
                <c:pt idx="8">
                  <c:v>40199</c:v>
                </c:pt>
                <c:pt idx="9">
                  <c:v>40200</c:v>
                </c:pt>
                <c:pt idx="10">
                  <c:v>40203</c:v>
                </c:pt>
                <c:pt idx="11">
                  <c:v>40204</c:v>
                </c:pt>
                <c:pt idx="12">
                  <c:v>40205</c:v>
                </c:pt>
                <c:pt idx="13">
                  <c:v>40206</c:v>
                </c:pt>
                <c:pt idx="14">
                  <c:v>40207</c:v>
                </c:pt>
                <c:pt idx="15">
                  <c:v>40210</c:v>
                </c:pt>
                <c:pt idx="16">
                  <c:v>40211</c:v>
                </c:pt>
                <c:pt idx="17">
                  <c:v>40212</c:v>
                </c:pt>
                <c:pt idx="18">
                  <c:v>40213</c:v>
                </c:pt>
                <c:pt idx="19">
                  <c:v>40214</c:v>
                </c:pt>
                <c:pt idx="20">
                  <c:v>40217</c:v>
                </c:pt>
                <c:pt idx="21">
                  <c:v>40218</c:v>
                </c:pt>
                <c:pt idx="22">
                  <c:v>40219</c:v>
                </c:pt>
                <c:pt idx="23">
                  <c:v>40220</c:v>
                </c:pt>
                <c:pt idx="24">
                  <c:v>40221</c:v>
                </c:pt>
                <c:pt idx="25">
                  <c:v>40224</c:v>
                </c:pt>
                <c:pt idx="26">
                  <c:v>40225</c:v>
                </c:pt>
                <c:pt idx="27">
                  <c:v>40226</c:v>
                </c:pt>
                <c:pt idx="28">
                  <c:v>40227</c:v>
                </c:pt>
                <c:pt idx="29">
                  <c:v>40234</c:v>
                </c:pt>
                <c:pt idx="30">
                  <c:v>40235</c:v>
                </c:pt>
                <c:pt idx="31">
                  <c:v>40236</c:v>
                </c:pt>
                <c:pt idx="32">
                  <c:v>40238</c:v>
                </c:pt>
                <c:pt idx="33">
                  <c:v>40239</c:v>
                </c:pt>
                <c:pt idx="34">
                  <c:v>40240</c:v>
                </c:pt>
                <c:pt idx="35">
                  <c:v>40241</c:v>
                </c:pt>
                <c:pt idx="36">
                  <c:v>40242</c:v>
                </c:pt>
                <c:pt idx="37">
                  <c:v>40246</c:v>
                </c:pt>
                <c:pt idx="38">
                  <c:v>40247</c:v>
                </c:pt>
                <c:pt idx="39">
                  <c:v>40248</c:v>
                </c:pt>
                <c:pt idx="40">
                  <c:v>40249</c:v>
                </c:pt>
                <c:pt idx="41">
                  <c:v>40252</c:v>
                </c:pt>
                <c:pt idx="42">
                  <c:v>40253</c:v>
                </c:pt>
                <c:pt idx="43">
                  <c:v>40254</c:v>
                </c:pt>
                <c:pt idx="44">
                  <c:v>40255</c:v>
                </c:pt>
                <c:pt idx="45">
                  <c:v>40256</c:v>
                </c:pt>
                <c:pt idx="46">
                  <c:v>40259</c:v>
                </c:pt>
                <c:pt idx="47">
                  <c:v>40260</c:v>
                </c:pt>
                <c:pt idx="48">
                  <c:v>40261</c:v>
                </c:pt>
                <c:pt idx="49">
                  <c:v>40262</c:v>
                </c:pt>
                <c:pt idx="50">
                  <c:v>40263</c:v>
                </c:pt>
                <c:pt idx="51">
                  <c:v>40266</c:v>
                </c:pt>
                <c:pt idx="52">
                  <c:v>40267</c:v>
                </c:pt>
                <c:pt idx="53">
                  <c:v>40268</c:v>
                </c:pt>
                <c:pt idx="54">
                  <c:v>40269</c:v>
                </c:pt>
                <c:pt idx="55">
                  <c:v>40270</c:v>
                </c:pt>
                <c:pt idx="56">
                  <c:v>40273</c:v>
                </c:pt>
                <c:pt idx="57">
                  <c:v>40274</c:v>
                </c:pt>
                <c:pt idx="58">
                  <c:v>40275</c:v>
                </c:pt>
                <c:pt idx="59">
                  <c:v>40276</c:v>
                </c:pt>
                <c:pt idx="60">
                  <c:v>40277</c:v>
                </c:pt>
                <c:pt idx="61">
                  <c:v>40280</c:v>
                </c:pt>
                <c:pt idx="62">
                  <c:v>40281</c:v>
                </c:pt>
                <c:pt idx="63">
                  <c:v>40282</c:v>
                </c:pt>
                <c:pt idx="64">
                  <c:v>40283</c:v>
                </c:pt>
                <c:pt idx="65">
                  <c:v>40284</c:v>
                </c:pt>
                <c:pt idx="66">
                  <c:v>40287</c:v>
                </c:pt>
                <c:pt idx="67">
                  <c:v>40288</c:v>
                </c:pt>
                <c:pt idx="68">
                  <c:v>40289</c:v>
                </c:pt>
                <c:pt idx="69">
                  <c:v>40290</c:v>
                </c:pt>
                <c:pt idx="70">
                  <c:v>40291</c:v>
                </c:pt>
                <c:pt idx="71">
                  <c:v>40294</c:v>
                </c:pt>
                <c:pt idx="72">
                  <c:v>40295</c:v>
                </c:pt>
                <c:pt idx="73">
                  <c:v>40296</c:v>
                </c:pt>
                <c:pt idx="74">
                  <c:v>40297</c:v>
                </c:pt>
                <c:pt idx="75">
                  <c:v>40298</c:v>
                </c:pt>
                <c:pt idx="76">
                  <c:v>40302</c:v>
                </c:pt>
                <c:pt idx="77">
                  <c:v>40303</c:v>
                </c:pt>
                <c:pt idx="78">
                  <c:v>40304</c:v>
                </c:pt>
                <c:pt idx="79">
                  <c:v>40305</c:v>
                </c:pt>
                <c:pt idx="80">
                  <c:v>40309</c:v>
                </c:pt>
                <c:pt idx="81">
                  <c:v>40310</c:v>
                </c:pt>
                <c:pt idx="82">
                  <c:v>40311</c:v>
                </c:pt>
                <c:pt idx="83">
                  <c:v>40312</c:v>
                </c:pt>
                <c:pt idx="84">
                  <c:v>40315</c:v>
                </c:pt>
                <c:pt idx="85">
                  <c:v>40316</c:v>
                </c:pt>
                <c:pt idx="86">
                  <c:v>40317</c:v>
                </c:pt>
                <c:pt idx="87">
                  <c:v>40318</c:v>
                </c:pt>
                <c:pt idx="88">
                  <c:v>40319</c:v>
                </c:pt>
                <c:pt idx="89">
                  <c:v>40322</c:v>
                </c:pt>
                <c:pt idx="90">
                  <c:v>40323</c:v>
                </c:pt>
                <c:pt idx="91">
                  <c:v>40324</c:v>
                </c:pt>
                <c:pt idx="92">
                  <c:v>40325</c:v>
                </c:pt>
                <c:pt idx="93">
                  <c:v>40326</c:v>
                </c:pt>
                <c:pt idx="94">
                  <c:v>40329</c:v>
                </c:pt>
                <c:pt idx="95">
                  <c:v>40330</c:v>
                </c:pt>
                <c:pt idx="96">
                  <c:v>40331</c:v>
                </c:pt>
                <c:pt idx="97">
                  <c:v>40332</c:v>
                </c:pt>
                <c:pt idx="98">
                  <c:v>40333</c:v>
                </c:pt>
                <c:pt idx="99">
                  <c:v>40336</c:v>
                </c:pt>
                <c:pt idx="100">
                  <c:v>40337</c:v>
                </c:pt>
                <c:pt idx="101">
                  <c:v>40338</c:v>
                </c:pt>
                <c:pt idx="102">
                  <c:v>40339</c:v>
                </c:pt>
                <c:pt idx="103">
                  <c:v>40340</c:v>
                </c:pt>
                <c:pt idx="104">
                  <c:v>40344</c:v>
                </c:pt>
                <c:pt idx="105">
                  <c:v>40345</c:v>
                </c:pt>
                <c:pt idx="106">
                  <c:v>40346</c:v>
                </c:pt>
                <c:pt idx="107">
                  <c:v>40347</c:v>
                </c:pt>
                <c:pt idx="108">
                  <c:v>40350</c:v>
                </c:pt>
                <c:pt idx="109">
                  <c:v>40351</c:v>
                </c:pt>
                <c:pt idx="110">
                  <c:v>40352</c:v>
                </c:pt>
                <c:pt idx="111">
                  <c:v>40353</c:v>
                </c:pt>
                <c:pt idx="112">
                  <c:v>40354</c:v>
                </c:pt>
                <c:pt idx="113">
                  <c:v>40357</c:v>
                </c:pt>
                <c:pt idx="114">
                  <c:v>40358</c:v>
                </c:pt>
                <c:pt idx="115">
                  <c:v>40359</c:v>
                </c:pt>
                <c:pt idx="116">
                  <c:v>40360</c:v>
                </c:pt>
                <c:pt idx="117">
                  <c:v>40361</c:v>
                </c:pt>
                <c:pt idx="118">
                  <c:v>40364</c:v>
                </c:pt>
                <c:pt idx="119">
                  <c:v>40365</c:v>
                </c:pt>
                <c:pt idx="120">
                  <c:v>40366</c:v>
                </c:pt>
                <c:pt idx="121">
                  <c:v>40367</c:v>
                </c:pt>
                <c:pt idx="122">
                  <c:v>40368</c:v>
                </c:pt>
                <c:pt idx="123">
                  <c:v>40371</c:v>
                </c:pt>
                <c:pt idx="124">
                  <c:v>40372</c:v>
                </c:pt>
                <c:pt idx="125">
                  <c:v>40373</c:v>
                </c:pt>
                <c:pt idx="126">
                  <c:v>40374</c:v>
                </c:pt>
                <c:pt idx="127">
                  <c:v>40375</c:v>
                </c:pt>
                <c:pt idx="128">
                  <c:v>40378</c:v>
                </c:pt>
                <c:pt idx="129">
                  <c:v>40379</c:v>
                </c:pt>
                <c:pt idx="130">
                  <c:v>40380</c:v>
                </c:pt>
                <c:pt idx="131">
                  <c:v>40381</c:v>
                </c:pt>
                <c:pt idx="132">
                  <c:v>40382</c:v>
                </c:pt>
                <c:pt idx="133">
                  <c:v>40385</c:v>
                </c:pt>
                <c:pt idx="134">
                  <c:v>40386</c:v>
                </c:pt>
                <c:pt idx="135">
                  <c:v>40387</c:v>
                </c:pt>
                <c:pt idx="136">
                  <c:v>40388</c:v>
                </c:pt>
                <c:pt idx="137">
                  <c:v>40389</c:v>
                </c:pt>
                <c:pt idx="138">
                  <c:v>40392</c:v>
                </c:pt>
                <c:pt idx="139">
                  <c:v>40393</c:v>
                </c:pt>
                <c:pt idx="140">
                  <c:v>40394</c:v>
                </c:pt>
                <c:pt idx="141">
                  <c:v>40395</c:v>
                </c:pt>
                <c:pt idx="142">
                  <c:v>40396</c:v>
                </c:pt>
                <c:pt idx="143">
                  <c:v>40399</c:v>
                </c:pt>
                <c:pt idx="144">
                  <c:v>40400</c:v>
                </c:pt>
                <c:pt idx="145">
                  <c:v>40401</c:v>
                </c:pt>
                <c:pt idx="146">
                  <c:v>40402</c:v>
                </c:pt>
                <c:pt idx="147">
                  <c:v>40403</c:v>
                </c:pt>
                <c:pt idx="148">
                  <c:v>40406</c:v>
                </c:pt>
                <c:pt idx="149">
                  <c:v>40407</c:v>
                </c:pt>
                <c:pt idx="150">
                  <c:v>40408</c:v>
                </c:pt>
                <c:pt idx="151">
                  <c:v>40409</c:v>
                </c:pt>
                <c:pt idx="152">
                  <c:v>40410</c:v>
                </c:pt>
                <c:pt idx="153">
                  <c:v>40413</c:v>
                </c:pt>
                <c:pt idx="154">
                  <c:v>40414</c:v>
                </c:pt>
                <c:pt idx="155">
                  <c:v>40415</c:v>
                </c:pt>
                <c:pt idx="156">
                  <c:v>40416</c:v>
                </c:pt>
                <c:pt idx="157">
                  <c:v>40417</c:v>
                </c:pt>
                <c:pt idx="158">
                  <c:v>40420</c:v>
                </c:pt>
                <c:pt idx="159">
                  <c:v>40421</c:v>
                </c:pt>
                <c:pt idx="160">
                  <c:v>40422</c:v>
                </c:pt>
                <c:pt idx="161">
                  <c:v>40423</c:v>
                </c:pt>
                <c:pt idx="162">
                  <c:v>40424</c:v>
                </c:pt>
                <c:pt idx="163">
                  <c:v>40427</c:v>
                </c:pt>
                <c:pt idx="164">
                  <c:v>40428</c:v>
                </c:pt>
                <c:pt idx="165">
                  <c:v>40429</c:v>
                </c:pt>
                <c:pt idx="166">
                  <c:v>40430</c:v>
                </c:pt>
                <c:pt idx="167">
                  <c:v>40431</c:v>
                </c:pt>
                <c:pt idx="168">
                  <c:v>40434</c:v>
                </c:pt>
                <c:pt idx="169">
                  <c:v>40435</c:v>
                </c:pt>
                <c:pt idx="170">
                  <c:v>40436</c:v>
                </c:pt>
                <c:pt idx="171">
                  <c:v>40437</c:v>
                </c:pt>
                <c:pt idx="172">
                  <c:v>40438</c:v>
                </c:pt>
                <c:pt idx="173">
                  <c:v>40441</c:v>
                </c:pt>
                <c:pt idx="174">
                  <c:v>40442</c:v>
                </c:pt>
                <c:pt idx="175">
                  <c:v>40443</c:v>
                </c:pt>
                <c:pt idx="176">
                  <c:v>40444</c:v>
                </c:pt>
                <c:pt idx="177">
                  <c:v>40445</c:v>
                </c:pt>
                <c:pt idx="178">
                  <c:v>40448</c:v>
                </c:pt>
                <c:pt idx="179">
                  <c:v>40449</c:v>
                </c:pt>
                <c:pt idx="180">
                  <c:v>40450</c:v>
                </c:pt>
                <c:pt idx="181">
                  <c:v>40451</c:v>
                </c:pt>
                <c:pt idx="182">
                  <c:v>40452</c:v>
                </c:pt>
                <c:pt idx="183">
                  <c:v>40455</c:v>
                </c:pt>
                <c:pt idx="184">
                  <c:v>40456</c:v>
                </c:pt>
                <c:pt idx="185">
                  <c:v>40457</c:v>
                </c:pt>
                <c:pt idx="186">
                  <c:v>40458</c:v>
                </c:pt>
                <c:pt idx="187">
                  <c:v>40459</c:v>
                </c:pt>
                <c:pt idx="188">
                  <c:v>40462</c:v>
                </c:pt>
                <c:pt idx="189">
                  <c:v>40463</c:v>
                </c:pt>
                <c:pt idx="190">
                  <c:v>40464</c:v>
                </c:pt>
                <c:pt idx="191">
                  <c:v>40465</c:v>
                </c:pt>
                <c:pt idx="192">
                  <c:v>40466</c:v>
                </c:pt>
                <c:pt idx="193">
                  <c:v>40469</c:v>
                </c:pt>
                <c:pt idx="194">
                  <c:v>40470</c:v>
                </c:pt>
                <c:pt idx="195">
                  <c:v>40471</c:v>
                </c:pt>
                <c:pt idx="196">
                  <c:v>40472</c:v>
                </c:pt>
                <c:pt idx="197">
                  <c:v>40473</c:v>
                </c:pt>
                <c:pt idx="198">
                  <c:v>40476</c:v>
                </c:pt>
                <c:pt idx="199">
                  <c:v>40477</c:v>
                </c:pt>
                <c:pt idx="200">
                  <c:v>40478</c:v>
                </c:pt>
                <c:pt idx="201">
                  <c:v>40479</c:v>
                </c:pt>
                <c:pt idx="202">
                  <c:v>40480</c:v>
                </c:pt>
                <c:pt idx="203">
                  <c:v>40483</c:v>
                </c:pt>
                <c:pt idx="204">
                  <c:v>40484</c:v>
                </c:pt>
                <c:pt idx="205">
                  <c:v>40485</c:v>
                </c:pt>
                <c:pt idx="206">
                  <c:v>40490</c:v>
                </c:pt>
                <c:pt idx="207">
                  <c:v>40491</c:v>
                </c:pt>
                <c:pt idx="208">
                  <c:v>40492</c:v>
                </c:pt>
                <c:pt idx="209">
                  <c:v>40493</c:v>
                </c:pt>
                <c:pt idx="210">
                  <c:v>40494</c:v>
                </c:pt>
                <c:pt idx="211">
                  <c:v>40495</c:v>
                </c:pt>
                <c:pt idx="212">
                  <c:v>40497</c:v>
                </c:pt>
                <c:pt idx="213">
                  <c:v>40498</c:v>
                </c:pt>
                <c:pt idx="214">
                  <c:v>40499</c:v>
                </c:pt>
                <c:pt idx="215">
                  <c:v>40500</c:v>
                </c:pt>
                <c:pt idx="216">
                  <c:v>40501</c:v>
                </c:pt>
                <c:pt idx="217">
                  <c:v>40504</c:v>
                </c:pt>
                <c:pt idx="218">
                  <c:v>40505</c:v>
                </c:pt>
                <c:pt idx="219">
                  <c:v>40506</c:v>
                </c:pt>
                <c:pt idx="220">
                  <c:v>40507</c:v>
                </c:pt>
                <c:pt idx="221">
                  <c:v>40508</c:v>
                </c:pt>
                <c:pt idx="222">
                  <c:v>40511</c:v>
                </c:pt>
                <c:pt idx="223">
                  <c:v>40512</c:v>
                </c:pt>
                <c:pt idx="224">
                  <c:v>40513</c:v>
                </c:pt>
                <c:pt idx="225">
                  <c:v>40514</c:v>
                </c:pt>
                <c:pt idx="226">
                  <c:v>40515</c:v>
                </c:pt>
                <c:pt idx="227">
                  <c:v>40518</c:v>
                </c:pt>
                <c:pt idx="228">
                  <c:v>40519</c:v>
                </c:pt>
                <c:pt idx="229">
                  <c:v>40520</c:v>
                </c:pt>
                <c:pt idx="230">
                  <c:v>40521</c:v>
                </c:pt>
                <c:pt idx="231">
                  <c:v>40522</c:v>
                </c:pt>
                <c:pt idx="232">
                  <c:v>40525</c:v>
                </c:pt>
                <c:pt idx="233">
                  <c:v>40526</c:v>
                </c:pt>
                <c:pt idx="234">
                  <c:v>40527</c:v>
                </c:pt>
                <c:pt idx="235">
                  <c:v>40528</c:v>
                </c:pt>
                <c:pt idx="236">
                  <c:v>40529</c:v>
                </c:pt>
                <c:pt idx="237">
                  <c:v>40532</c:v>
                </c:pt>
                <c:pt idx="238">
                  <c:v>40533</c:v>
                </c:pt>
                <c:pt idx="239">
                  <c:v>40534</c:v>
                </c:pt>
                <c:pt idx="240">
                  <c:v>40535</c:v>
                </c:pt>
                <c:pt idx="241">
                  <c:v>40536</c:v>
                </c:pt>
                <c:pt idx="242">
                  <c:v>40539</c:v>
                </c:pt>
                <c:pt idx="243">
                  <c:v>40540</c:v>
                </c:pt>
                <c:pt idx="244">
                  <c:v>40541</c:v>
                </c:pt>
                <c:pt idx="245">
                  <c:v>40542</c:v>
                </c:pt>
                <c:pt idx="246">
                  <c:v>40554</c:v>
                </c:pt>
                <c:pt idx="247">
                  <c:v>40555</c:v>
                </c:pt>
                <c:pt idx="248">
                  <c:v>40556</c:v>
                </c:pt>
                <c:pt idx="249">
                  <c:v>40557</c:v>
                </c:pt>
                <c:pt idx="250">
                  <c:v>40560</c:v>
                </c:pt>
                <c:pt idx="251">
                  <c:v>40561</c:v>
                </c:pt>
                <c:pt idx="252">
                  <c:v>40562</c:v>
                </c:pt>
                <c:pt idx="253">
                  <c:v>40563</c:v>
                </c:pt>
                <c:pt idx="254">
                  <c:v>40564</c:v>
                </c:pt>
                <c:pt idx="255">
                  <c:v>40567</c:v>
                </c:pt>
                <c:pt idx="256">
                  <c:v>40568</c:v>
                </c:pt>
                <c:pt idx="257">
                  <c:v>40569</c:v>
                </c:pt>
                <c:pt idx="258">
                  <c:v>40570</c:v>
                </c:pt>
                <c:pt idx="259">
                  <c:v>40571</c:v>
                </c:pt>
                <c:pt idx="260">
                  <c:v>40574</c:v>
                </c:pt>
                <c:pt idx="261">
                  <c:v>40575</c:v>
                </c:pt>
                <c:pt idx="262">
                  <c:v>40576</c:v>
                </c:pt>
                <c:pt idx="263">
                  <c:v>40577</c:v>
                </c:pt>
                <c:pt idx="264">
                  <c:v>40578</c:v>
                </c:pt>
                <c:pt idx="265">
                  <c:v>40581</c:v>
                </c:pt>
                <c:pt idx="266">
                  <c:v>40582</c:v>
                </c:pt>
                <c:pt idx="267">
                  <c:v>40583</c:v>
                </c:pt>
                <c:pt idx="268">
                  <c:v>40584</c:v>
                </c:pt>
                <c:pt idx="269">
                  <c:v>40585</c:v>
                </c:pt>
                <c:pt idx="270">
                  <c:v>40588</c:v>
                </c:pt>
                <c:pt idx="271">
                  <c:v>40589</c:v>
                </c:pt>
                <c:pt idx="272">
                  <c:v>40590</c:v>
                </c:pt>
                <c:pt idx="273">
                  <c:v>40591</c:v>
                </c:pt>
                <c:pt idx="274">
                  <c:v>40592</c:v>
                </c:pt>
                <c:pt idx="275">
                  <c:v>40595</c:v>
                </c:pt>
                <c:pt idx="276">
                  <c:v>40596</c:v>
                </c:pt>
                <c:pt idx="277">
                  <c:v>40598</c:v>
                </c:pt>
                <c:pt idx="278">
                  <c:v>40599</c:v>
                </c:pt>
                <c:pt idx="279">
                  <c:v>40602</c:v>
                </c:pt>
                <c:pt idx="280">
                  <c:v>40603</c:v>
                </c:pt>
                <c:pt idx="281">
                  <c:v>40604</c:v>
                </c:pt>
                <c:pt idx="282">
                  <c:v>40605</c:v>
                </c:pt>
                <c:pt idx="283">
                  <c:v>40606</c:v>
                </c:pt>
                <c:pt idx="284">
                  <c:v>40607</c:v>
                </c:pt>
                <c:pt idx="285">
                  <c:v>40611</c:v>
                </c:pt>
                <c:pt idx="286">
                  <c:v>40612</c:v>
                </c:pt>
                <c:pt idx="287">
                  <c:v>40613</c:v>
                </c:pt>
                <c:pt idx="288">
                  <c:v>40616</c:v>
                </c:pt>
                <c:pt idx="289">
                  <c:v>40617</c:v>
                </c:pt>
                <c:pt idx="290">
                  <c:v>40618</c:v>
                </c:pt>
                <c:pt idx="291">
                  <c:v>40619</c:v>
                </c:pt>
                <c:pt idx="292">
                  <c:v>40620</c:v>
                </c:pt>
                <c:pt idx="293">
                  <c:v>40623</c:v>
                </c:pt>
                <c:pt idx="294">
                  <c:v>40624</c:v>
                </c:pt>
                <c:pt idx="295">
                  <c:v>40625</c:v>
                </c:pt>
                <c:pt idx="296">
                  <c:v>40626</c:v>
                </c:pt>
                <c:pt idx="297">
                  <c:v>40627</c:v>
                </c:pt>
                <c:pt idx="298">
                  <c:v>40630</c:v>
                </c:pt>
                <c:pt idx="299">
                  <c:v>40631</c:v>
                </c:pt>
                <c:pt idx="300">
                  <c:v>40632</c:v>
                </c:pt>
                <c:pt idx="301">
                  <c:v>40633</c:v>
                </c:pt>
                <c:pt idx="302">
                  <c:v>40634</c:v>
                </c:pt>
                <c:pt idx="303">
                  <c:v>40637</c:v>
                </c:pt>
                <c:pt idx="304">
                  <c:v>40638</c:v>
                </c:pt>
                <c:pt idx="305">
                  <c:v>40639</c:v>
                </c:pt>
                <c:pt idx="306">
                  <c:v>40640</c:v>
                </c:pt>
                <c:pt idx="307">
                  <c:v>40641</c:v>
                </c:pt>
                <c:pt idx="308">
                  <c:v>40644</c:v>
                </c:pt>
                <c:pt idx="309">
                  <c:v>40645</c:v>
                </c:pt>
                <c:pt idx="310">
                  <c:v>40646</c:v>
                </c:pt>
                <c:pt idx="311">
                  <c:v>40647</c:v>
                </c:pt>
                <c:pt idx="312">
                  <c:v>40648</c:v>
                </c:pt>
                <c:pt idx="313">
                  <c:v>40651</c:v>
                </c:pt>
                <c:pt idx="314">
                  <c:v>40652</c:v>
                </c:pt>
                <c:pt idx="315">
                  <c:v>40653</c:v>
                </c:pt>
                <c:pt idx="316">
                  <c:v>40654</c:v>
                </c:pt>
                <c:pt idx="317">
                  <c:v>40655</c:v>
                </c:pt>
                <c:pt idx="318">
                  <c:v>40658</c:v>
                </c:pt>
                <c:pt idx="319">
                  <c:v>40659</c:v>
                </c:pt>
                <c:pt idx="320">
                  <c:v>40660</c:v>
                </c:pt>
                <c:pt idx="321">
                  <c:v>40661</c:v>
                </c:pt>
                <c:pt idx="322">
                  <c:v>40662</c:v>
                </c:pt>
                <c:pt idx="323">
                  <c:v>40666</c:v>
                </c:pt>
                <c:pt idx="324">
                  <c:v>40667</c:v>
                </c:pt>
                <c:pt idx="325">
                  <c:v>40668</c:v>
                </c:pt>
                <c:pt idx="326">
                  <c:v>40669</c:v>
                </c:pt>
                <c:pt idx="327">
                  <c:v>40673</c:v>
                </c:pt>
                <c:pt idx="328">
                  <c:v>40674</c:v>
                </c:pt>
                <c:pt idx="329">
                  <c:v>40675</c:v>
                </c:pt>
                <c:pt idx="330">
                  <c:v>40676</c:v>
                </c:pt>
                <c:pt idx="331">
                  <c:v>40679</c:v>
                </c:pt>
                <c:pt idx="332">
                  <c:v>40680</c:v>
                </c:pt>
                <c:pt idx="333">
                  <c:v>40681</c:v>
                </c:pt>
                <c:pt idx="334">
                  <c:v>40682</c:v>
                </c:pt>
                <c:pt idx="335">
                  <c:v>40683</c:v>
                </c:pt>
                <c:pt idx="336">
                  <c:v>40686</c:v>
                </c:pt>
                <c:pt idx="337">
                  <c:v>40687</c:v>
                </c:pt>
                <c:pt idx="338">
                  <c:v>40688</c:v>
                </c:pt>
                <c:pt idx="339">
                  <c:v>40689</c:v>
                </c:pt>
                <c:pt idx="340">
                  <c:v>40690</c:v>
                </c:pt>
                <c:pt idx="341">
                  <c:v>40693</c:v>
                </c:pt>
                <c:pt idx="342">
                  <c:v>40694</c:v>
                </c:pt>
                <c:pt idx="343">
                  <c:v>40695</c:v>
                </c:pt>
                <c:pt idx="344">
                  <c:v>40696</c:v>
                </c:pt>
                <c:pt idx="345">
                  <c:v>40697</c:v>
                </c:pt>
                <c:pt idx="346">
                  <c:v>40700</c:v>
                </c:pt>
                <c:pt idx="347">
                  <c:v>40703</c:v>
                </c:pt>
                <c:pt idx="348">
                  <c:v>40704</c:v>
                </c:pt>
                <c:pt idx="349">
                  <c:v>40708</c:v>
                </c:pt>
                <c:pt idx="350">
                  <c:v>40709</c:v>
                </c:pt>
                <c:pt idx="351">
                  <c:v>40710</c:v>
                </c:pt>
                <c:pt idx="352">
                  <c:v>40711</c:v>
                </c:pt>
                <c:pt idx="353">
                  <c:v>40714</c:v>
                </c:pt>
                <c:pt idx="354">
                  <c:v>40715</c:v>
                </c:pt>
                <c:pt idx="355">
                  <c:v>40716</c:v>
                </c:pt>
                <c:pt idx="356">
                  <c:v>40717</c:v>
                </c:pt>
                <c:pt idx="357">
                  <c:v>40718</c:v>
                </c:pt>
                <c:pt idx="358">
                  <c:v>40721</c:v>
                </c:pt>
                <c:pt idx="359">
                  <c:v>40722</c:v>
                </c:pt>
                <c:pt idx="360">
                  <c:v>40723</c:v>
                </c:pt>
                <c:pt idx="361">
                  <c:v>40724</c:v>
                </c:pt>
                <c:pt idx="362">
                  <c:v>40725</c:v>
                </c:pt>
                <c:pt idx="363">
                  <c:v>40728</c:v>
                </c:pt>
                <c:pt idx="364">
                  <c:v>40729</c:v>
                </c:pt>
                <c:pt idx="365">
                  <c:v>40730</c:v>
                </c:pt>
                <c:pt idx="366">
                  <c:v>40731</c:v>
                </c:pt>
                <c:pt idx="367">
                  <c:v>40732</c:v>
                </c:pt>
                <c:pt idx="368">
                  <c:v>40735</c:v>
                </c:pt>
                <c:pt idx="369">
                  <c:v>40736</c:v>
                </c:pt>
                <c:pt idx="370">
                  <c:v>40737</c:v>
                </c:pt>
                <c:pt idx="371">
                  <c:v>40738</c:v>
                </c:pt>
                <c:pt idx="372">
                  <c:v>40739</c:v>
                </c:pt>
                <c:pt idx="373">
                  <c:v>40742</c:v>
                </c:pt>
                <c:pt idx="374">
                  <c:v>40743</c:v>
                </c:pt>
                <c:pt idx="375">
                  <c:v>40744</c:v>
                </c:pt>
                <c:pt idx="376">
                  <c:v>40745</c:v>
                </c:pt>
                <c:pt idx="377">
                  <c:v>40746</c:v>
                </c:pt>
                <c:pt idx="378">
                  <c:v>40749</c:v>
                </c:pt>
                <c:pt idx="379">
                  <c:v>40750</c:v>
                </c:pt>
                <c:pt idx="380">
                  <c:v>40751</c:v>
                </c:pt>
                <c:pt idx="381">
                  <c:v>40752</c:v>
                </c:pt>
                <c:pt idx="382">
                  <c:v>40753</c:v>
                </c:pt>
                <c:pt idx="383">
                  <c:v>40756</c:v>
                </c:pt>
                <c:pt idx="384">
                  <c:v>40757</c:v>
                </c:pt>
                <c:pt idx="385">
                  <c:v>40758</c:v>
                </c:pt>
                <c:pt idx="386">
                  <c:v>40759</c:v>
                </c:pt>
                <c:pt idx="387">
                  <c:v>40760</c:v>
                </c:pt>
                <c:pt idx="388">
                  <c:v>40763</c:v>
                </c:pt>
                <c:pt idx="389">
                  <c:v>40764</c:v>
                </c:pt>
                <c:pt idx="390">
                  <c:v>40765</c:v>
                </c:pt>
                <c:pt idx="391">
                  <c:v>40766</c:v>
                </c:pt>
                <c:pt idx="392">
                  <c:v>40767</c:v>
                </c:pt>
                <c:pt idx="393">
                  <c:v>40770</c:v>
                </c:pt>
                <c:pt idx="394">
                  <c:v>40771</c:v>
                </c:pt>
                <c:pt idx="395">
                  <c:v>40774</c:v>
                </c:pt>
                <c:pt idx="396">
                  <c:v>40777</c:v>
                </c:pt>
                <c:pt idx="397">
                  <c:v>40778</c:v>
                </c:pt>
                <c:pt idx="398">
                  <c:v>40779</c:v>
                </c:pt>
                <c:pt idx="399">
                  <c:v>40780</c:v>
                </c:pt>
                <c:pt idx="400">
                  <c:v>40781</c:v>
                </c:pt>
                <c:pt idx="401">
                  <c:v>40784</c:v>
                </c:pt>
                <c:pt idx="402">
                  <c:v>40785</c:v>
                </c:pt>
                <c:pt idx="403">
                  <c:v>40786</c:v>
                </c:pt>
                <c:pt idx="404">
                  <c:v>40787</c:v>
                </c:pt>
                <c:pt idx="405">
                  <c:v>40788</c:v>
                </c:pt>
                <c:pt idx="406">
                  <c:v>40791</c:v>
                </c:pt>
                <c:pt idx="407">
                  <c:v>40792</c:v>
                </c:pt>
                <c:pt idx="408">
                  <c:v>40793</c:v>
                </c:pt>
                <c:pt idx="409">
                  <c:v>40794</c:v>
                </c:pt>
                <c:pt idx="410">
                  <c:v>40795</c:v>
                </c:pt>
                <c:pt idx="411">
                  <c:v>40798</c:v>
                </c:pt>
                <c:pt idx="412">
                  <c:v>40799</c:v>
                </c:pt>
                <c:pt idx="413">
                  <c:v>40800</c:v>
                </c:pt>
                <c:pt idx="414">
                  <c:v>40801</c:v>
                </c:pt>
                <c:pt idx="415">
                  <c:v>40802</c:v>
                </c:pt>
                <c:pt idx="416">
                  <c:v>40805</c:v>
                </c:pt>
                <c:pt idx="417">
                  <c:v>40806</c:v>
                </c:pt>
                <c:pt idx="418">
                  <c:v>40807</c:v>
                </c:pt>
                <c:pt idx="419">
                  <c:v>40808</c:v>
                </c:pt>
                <c:pt idx="420">
                  <c:v>40809</c:v>
                </c:pt>
                <c:pt idx="421">
                  <c:v>40812</c:v>
                </c:pt>
                <c:pt idx="422">
                  <c:v>40813</c:v>
                </c:pt>
                <c:pt idx="423">
                  <c:v>40814</c:v>
                </c:pt>
                <c:pt idx="424">
                  <c:v>40815</c:v>
                </c:pt>
                <c:pt idx="425">
                  <c:v>40816</c:v>
                </c:pt>
                <c:pt idx="426">
                  <c:v>40819</c:v>
                </c:pt>
                <c:pt idx="427">
                  <c:v>40820</c:v>
                </c:pt>
                <c:pt idx="428">
                  <c:v>40821</c:v>
                </c:pt>
                <c:pt idx="429">
                  <c:v>40822</c:v>
                </c:pt>
                <c:pt idx="430">
                  <c:v>40823</c:v>
                </c:pt>
                <c:pt idx="431">
                  <c:v>40826</c:v>
                </c:pt>
                <c:pt idx="432">
                  <c:v>40827</c:v>
                </c:pt>
                <c:pt idx="433">
                  <c:v>40828</c:v>
                </c:pt>
                <c:pt idx="434">
                  <c:v>40829</c:v>
                </c:pt>
                <c:pt idx="435">
                  <c:v>40830</c:v>
                </c:pt>
                <c:pt idx="436">
                  <c:v>40833</c:v>
                </c:pt>
                <c:pt idx="437">
                  <c:v>40834</c:v>
                </c:pt>
                <c:pt idx="438">
                  <c:v>40835</c:v>
                </c:pt>
                <c:pt idx="439">
                  <c:v>40836</c:v>
                </c:pt>
                <c:pt idx="440">
                  <c:v>40837</c:v>
                </c:pt>
                <c:pt idx="441">
                  <c:v>40840</c:v>
                </c:pt>
                <c:pt idx="442">
                  <c:v>40841</c:v>
                </c:pt>
                <c:pt idx="443">
                  <c:v>40842</c:v>
                </c:pt>
                <c:pt idx="444">
                  <c:v>40843</c:v>
                </c:pt>
                <c:pt idx="445">
                  <c:v>40844</c:v>
                </c:pt>
                <c:pt idx="446">
                  <c:v>40848</c:v>
                </c:pt>
                <c:pt idx="447">
                  <c:v>40849</c:v>
                </c:pt>
                <c:pt idx="448">
                  <c:v>40850</c:v>
                </c:pt>
                <c:pt idx="449">
                  <c:v>40854</c:v>
                </c:pt>
                <c:pt idx="450">
                  <c:v>40855</c:v>
                </c:pt>
                <c:pt idx="451">
                  <c:v>40856</c:v>
                </c:pt>
                <c:pt idx="452">
                  <c:v>40857</c:v>
                </c:pt>
                <c:pt idx="453">
                  <c:v>40858</c:v>
                </c:pt>
                <c:pt idx="454">
                  <c:v>40861</c:v>
                </c:pt>
                <c:pt idx="455">
                  <c:v>40862</c:v>
                </c:pt>
                <c:pt idx="456">
                  <c:v>40863</c:v>
                </c:pt>
                <c:pt idx="457">
                  <c:v>40864</c:v>
                </c:pt>
                <c:pt idx="458">
                  <c:v>40865</c:v>
                </c:pt>
                <c:pt idx="459">
                  <c:v>40868</c:v>
                </c:pt>
                <c:pt idx="460">
                  <c:v>40869</c:v>
                </c:pt>
                <c:pt idx="461">
                  <c:v>40870</c:v>
                </c:pt>
                <c:pt idx="462">
                  <c:v>40871</c:v>
                </c:pt>
                <c:pt idx="463">
                  <c:v>40872</c:v>
                </c:pt>
                <c:pt idx="464">
                  <c:v>40875</c:v>
                </c:pt>
                <c:pt idx="465">
                  <c:v>40876</c:v>
                </c:pt>
                <c:pt idx="466">
                  <c:v>40877</c:v>
                </c:pt>
                <c:pt idx="467">
                  <c:v>40878</c:v>
                </c:pt>
                <c:pt idx="468">
                  <c:v>40879</c:v>
                </c:pt>
                <c:pt idx="469">
                  <c:v>40882</c:v>
                </c:pt>
                <c:pt idx="470">
                  <c:v>40883</c:v>
                </c:pt>
                <c:pt idx="471">
                  <c:v>40884</c:v>
                </c:pt>
                <c:pt idx="472">
                  <c:v>40885</c:v>
                </c:pt>
                <c:pt idx="473">
                  <c:v>40886</c:v>
                </c:pt>
                <c:pt idx="474">
                  <c:v>40889</c:v>
                </c:pt>
                <c:pt idx="475">
                  <c:v>40890</c:v>
                </c:pt>
                <c:pt idx="476">
                  <c:v>40891</c:v>
                </c:pt>
                <c:pt idx="477">
                  <c:v>40892</c:v>
                </c:pt>
                <c:pt idx="478">
                  <c:v>40893</c:v>
                </c:pt>
                <c:pt idx="479">
                  <c:v>40896</c:v>
                </c:pt>
                <c:pt idx="480">
                  <c:v>40897</c:v>
                </c:pt>
                <c:pt idx="481">
                  <c:v>40898</c:v>
                </c:pt>
                <c:pt idx="482">
                  <c:v>40899</c:v>
                </c:pt>
                <c:pt idx="483">
                  <c:v>40900</c:v>
                </c:pt>
                <c:pt idx="484">
                  <c:v>40903</c:v>
                </c:pt>
                <c:pt idx="485">
                  <c:v>40904</c:v>
                </c:pt>
                <c:pt idx="486">
                  <c:v>40905</c:v>
                </c:pt>
                <c:pt idx="487">
                  <c:v>40906</c:v>
                </c:pt>
                <c:pt idx="488">
                  <c:v>40907</c:v>
                </c:pt>
                <c:pt idx="489">
                  <c:v>40911</c:v>
                </c:pt>
                <c:pt idx="490">
                  <c:v>40912</c:v>
                </c:pt>
                <c:pt idx="491">
                  <c:v>40913</c:v>
                </c:pt>
                <c:pt idx="492">
                  <c:v>40914</c:v>
                </c:pt>
                <c:pt idx="493">
                  <c:v>40917</c:v>
                </c:pt>
                <c:pt idx="494">
                  <c:v>40918</c:v>
                </c:pt>
                <c:pt idx="495">
                  <c:v>40919</c:v>
                </c:pt>
                <c:pt idx="496">
                  <c:v>40920</c:v>
                </c:pt>
                <c:pt idx="497">
                  <c:v>40921</c:v>
                </c:pt>
                <c:pt idx="498">
                  <c:v>40924</c:v>
                </c:pt>
                <c:pt idx="499">
                  <c:v>40925</c:v>
                </c:pt>
                <c:pt idx="500">
                  <c:v>40926</c:v>
                </c:pt>
                <c:pt idx="501">
                  <c:v>40927</c:v>
                </c:pt>
                <c:pt idx="502">
                  <c:v>40928</c:v>
                </c:pt>
                <c:pt idx="503">
                  <c:v>40931</c:v>
                </c:pt>
                <c:pt idx="504">
                  <c:v>40932</c:v>
                </c:pt>
                <c:pt idx="505">
                  <c:v>40933</c:v>
                </c:pt>
                <c:pt idx="506">
                  <c:v>40934</c:v>
                </c:pt>
                <c:pt idx="507">
                  <c:v>40935</c:v>
                </c:pt>
                <c:pt idx="508">
                  <c:v>40938</c:v>
                </c:pt>
                <c:pt idx="509">
                  <c:v>40939</c:v>
                </c:pt>
                <c:pt idx="510">
                  <c:v>40940</c:v>
                </c:pt>
                <c:pt idx="511">
                  <c:v>40941</c:v>
                </c:pt>
                <c:pt idx="512">
                  <c:v>40942</c:v>
                </c:pt>
                <c:pt idx="513">
                  <c:v>40945</c:v>
                </c:pt>
                <c:pt idx="514">
                  <c:v>40946</c:v>
                </c:pt>
                <c:pt idx="515">
                  <c:v>40947</c:v>
                </c:pt>
                <c:pt idx="516">
                  <c:v>40948</c:v>
                </c:pt>
                <c:pt idx="517">
                  <c:v>40949</c:v>
                </c:pt>
                <c:pt idx="518">
                  <c:v>40952</c:v>
                </c:pt>
                <c:pt idx="519">
                  <c:v>40953</c:v>
                </c:pt>
                <c:pt idx="520">
                  <c:v>40954</c:v>
                </c:pt>
                <c:pt idx="521">
                  <c:v>40955</c:v>
                </c:pt>
                <c:pt idx="522">
                  <c:v>40956</c:v>
                </c:pt>
                <c:pt idx="523">
                  <c:v>40959</c:v>
                </c:pt>
                <c:pt idx="524">
                  <c:v>40960</c:v>
                </c:pt>
                <c:pt idx="525">
                  <c:v>40961</c:v>
                </c:pt>
                <c:pt idx="526">
                  <c:v>40963</c:v>
                </c:pt>
                <c:pt idx="527">
                  <c:v>40966</c:v>
                </c:pt>
                <c:pt idx="528">
                  <c:v>40967</c:v>
                </c:pt>
                <c:pt idx="529">
                  <c:v>40968</c:v>
                </c:pt>
                <c:pt idx="530">
                  <c:v>40969</c:v>
                </c:pt>
                <c:pt idx="531">
                  <c:v>40970</c:v>
                </c:pt>
                <c:pt idx="532">
                  <c:v>40973</c:v>
                </c:pt>
                <c:pt idx="533">
                  <c:v>40974</c:v>
                </c:pt>
                <c:pt idx="534">
                  <c:v>40975</c:v>
                </c:pt>
                <c:pt idx="535">
                  <c:v>40979</c:v>
                </c:pt>
                <c:pt idx="536">
                  <c:v>40980</c:v>
                </c:pt>
                <c:pt idx="537">
                  <c:v>40981</c:v>
                </c:pt>
                <c:pt idx="538">
                  <c:v>40982</c:v>
                </c:pt>
                <c:pt idx="539">
                  <c:v>40983</c:v>
                </c:pt>
                <c:pt idx="540">
                  <c:v>40984</c:v>
                </c:pt>
                <c:pt idx="541">
                  <c:v>40987</c:v>
                </c:pt>
                <c:pt idx="542">
                  <c:v>40988</c:v>
                </c:pt>
                <c:pt idx="543">
                  <c:v>40989</c:v>
                </c:pt>
                <c:pt idx="544">
                  <c:v>40990</c:v>
                </c:pt>
                <c:pt idx="545">
                  <c:v>40991</c:v>
                </c:pt>
                <c:pt idx="546">
                  <c:v>40994</c:v>
                </c:pt>
                <c:pt idx="547">
                  <c:v>40995</c:v>
                </c:pt>
                <c:pt idx="548">
                  <c:v>40996</c:v>
                </c:pt>
                <c:pt idx="549">
                  <c:v>40997</c:v>
                </c:pt>
                <c:pt idx="550">
                  <c:v>40998</c:v>
                </c:pt>
                <c:pt idx="551">
                  <c:v>41001</c:v>
                </c:pt>
                <c:pt idx="552">
                  <c:v>41002</c:v>
                </c:pt>
                <c:pt idx="553">
                  <c:v>41003</c:v>
                </c:pt>
                <c:pt idx="554">
                  <c:v>41004</c:v>
                </c:pt>
                <c:pt idx="555">
                  <c:v>41005</c:v>
                </c:pt>
                <c:pt idx="556">
                  <c:v>41008</c:v>
                </c:pt>
                <c:pt idx="557">
                  <c:v>41009</c:v>
                </c:pt>
                <c:pt idx="558">
                  <c:v>41010</c:v>
                </c:pt>
                <c:pt idx="559">
                  <c:v>41011</c:v>
                </c:pt>
                <c:pt idx="560">
                  <c:v>41012</c:v>
                </c:pt>
                <c:pt idx="561">
                  <c:v>41015</c:v>
                </c:pt>
                <c:pt idx="562">
                  <c:v>41016</c:v>
                </c:pt>
                <c:pt idx="563">
                  <c:v>41017</c:v>
                </c:pt>
                <c:pt idx="564">
                  <c:v>41018</c:v>
                </c:pt>
                <c:pt idx="565">
                  <c:v>41019</c:v>
                </c:pt>
                <c:pt idx="566">
                  <c:v>41022</c:v>
                </c:pt>
                <c:pt idx="567">
                  <c:v>41023</c:v>
                </c:pt>
                <c:pt idx="568">
                  <c:v>41024</c:v>
                </c:pt>
                <c:pt idx="569">
                  <c:v>41025</c:v>
                </c:pt>
                <c:pt idx="570">
                  <c:v>41026</c:v>
                </c:pt>
                <c:pt idx="571">
                  <c:v>41027</c:v>
                </c:pt>
                <c:pt idx="572">
                  <c:v>41031</c:v>
                </c:pt>
                <c:pt idx="573">
                  <c:v>41032</c:v>
                </c:pt>
                <c:pt idx="574">
                  <c:v>41033</c:v>
                </c:pt>
                <c:pt idx="575">
                  <c:v>41034</c:v>
                </c:pt>
                <c:pt idx="576">
                  <c:v>41036</c:v>
                </c:pt>
                <c:pt idx="577">
                  <c:v>41037</c:v>
                </c:pt>
                <c:pt idx="578">
                  <c:v>41039</c:v>
                </c:pt>
                <c:pt idx="579">
                  <c:v>41040</c:v>
                </c:pt>
                <c:pt idx="580">
                  <c:v>41041</c:v>
                </c:pt>
                <c:pt idx="581">
                  <c:v>41043</c:v>
                </c:pt>
                <c:pt idx="582">
                  <c:v>41044</c:v>
                </c:pt>
                <c:pt idx="583">
                  <c:v>41045</c:v>
                </c:pt>
                <c:pt idx="584">
                  <c:v>41046</c:v>
                </c:pt>
                <c:pt idx="585">
                  <c:v>41047</c:v>
                </c:pt>
                <c:pt idx="586">
                  <c:v>41050</c:v>
                </c:pt>
                <c:pt idx="587">
                  <c:v>41051</c:v>
                </c:pt>
                <c:pt idx="588">
                  <c:v>41052</c:v>
                </c:pt>
                <c:pt idx="589">
                  <c:v>41053</c:v>
                </c:pt>
                <c:pt idx="590">
                  <c:v>41054</c:v>
                </c:pt>
                <c:pt idx="591">
                  <c:v>41057</c:v>
                </c:pt>
                <c:pt idx="592">
                  <c:v>41058</c:v>
                </c:pt>
                <c:pt idx="593">
                  <c:v>41059</c:v>
                </c:pt>
                <c:pt idx="594">
                  <c:v>41060</c:v>
                </c:pt>
                <c:pt idx="595">
                  <c:v>41061</c:v>
                </c:pt>
                <c:pt idx="596">
                  <c:v>41064</c:v>
                </c:pt>
                <c:pt idx="597">
                  <c:v>41065</c:v>
                </c:pt>
                <c:pt idx="598">
                  <c:v>41066</c:v>
                </c:pt>
                <c:pt idx="599">
                  <c:v>41067</c:v>
                </c:pt>
                <c:pt idx="600">
                  <c:v>41068</c:v>
                </c:pt>
                <c:pt idx="601">
                  <c:v>41069</c:v>
                </c:pt>
                <c:pt idx="602">
                  <c:v>41073</c:v>
                </c:pt>
                <c:pt idx="603">
                  <c:v>41074</c:v>
                </c:pt>
                <c:pt idx="604">
                  <c:v>41075</c:v>
                </c:pt>
                <c:pt idx="605">
                  <c:v>41078</c:v>
                </c:pt>
                <c:pt idx="606">
                  <c:v>41079</c:v>
                </c:pt>
                <c:pt idx="607">
                  <c:v>41080</c:v>
                </c:pt>
                <c:pt idx="608">
                  <c:v>41081</c:v>
                </c:pt>
                <c:pt idx="609">
                  <c:v>41082</c:v>
                </c:pt>
                <c:pt idx="610">
                  <c:v>41085</c:v>
                </c:pt>
                <c:pt idx="611">
                  <c:v>41086</c:v>
                </c:pt>
                <c:pt idx="612">
                  <c:v>41087</c:v>
                </c:pt>
                <c:pt idx="613">
                  <c:v>41088</c:v>
                </c:pt>
                <c:pt idx="614">
                  <c:v>41089</c:v>
                </c:pt>
                <c:pt idx="615">
                  <c:v>41092</c:v>
                </c:pt>
                <c:pt idx="616">
                  <c:v>41093</c:v>
                </c:pt>
                <c:pt idx="617">
                  <c:v>41094</c:v>
                </c:pt>
                <c:pt idx="618">
                  <c:v>41095</c:v>
                </c:pt>
                <c:pt idx="619">
                  <c:v>41096</c:v>
                </c:pt>
                <c:pt idx="620">
                  <c:v>41099</c:v>
                </c:pt>
                <c:pt idx="621">
                  <c:v>41100</c:v>
                </c:pt>
                <c:pt idx="622">
                  <c:v>41101</c:v>
                </c:pt>
                <c:pt idx="623">
                  <c:v>41102</c:v>
                </c:pt>
                <c:pt idx="624">
                  <c:v>41103</c:v>
                </c:pt>
                <c:pt idx="625">
                  <c:v>41106</c:v>
                </c:pt>
                <c:pt idx="626">
                  <c:v>41107</c:v>
                </c:pt>
                <c:pt idx="627">
                  <c:v>41108</c:v>
                </c:pt>
                <c:pt idx="628">
                  <c:v>41109</c:v>
                </c:pt>
                <c:pt idx="629">
                  <c:v>41110</c:v>
                </c:pt>
                <c:pt idx="630">
                  <c:v>41113</c:v>
                </c:pt>
                <c:pt idx="631">
                  <c:v>41114</c:v>
                </c:pt>
                <c:pt idx="632">
                  <c:v>41115</c:v>
                </c:pt>
                <c:pt idx="633">
                  <c:v>41116</c:v>
                </c:pt>
                <c:pt idx="634">
                  <c:v>41117</c:v>
                </c:pt>
                <c:pt idx="635">
                  <c:v>41120</c:v>
                </c:pt>
                <c:pt idx="636">
                  <c:v>41121</c:v>
                </c:pt>
                <c:pt idx="637">
                  <c:v>41122</c:v>
                </c:pt>
                <c:pt idx="638">
                  <c:v>41123</c:v>
                </c:pt>
                <c:pt idx="639">
                  <c:v>41124</c:v>
                </c:pt>
                <c:pt idx="640">
                  <c:v>41127</c:v>
                </c:pt>
                <c:pt idx="641">
                  <c:v>41128</c:v>
                </c:pt>
                <c:pt idx="642">
                  <c:v>41129</c:v>
                </c:pt>
                <c:pt idx="643">
                  <c:v>41130</c:v>
                </c:pt>
                <c:pt idx="644">
                  <c:v>41131</c:v>
                </c:pt>
                <c:pt idx="645">
                  <c:v>41134</c:v>
                </c:pt>
                <c:pt idx="646">
                  <c:v>41135</c:v>
                </c:pt>
                <c:pt idx="647">
                  <c:v>41136</c:v>
                </c:pt>
                <c:pt idx="648">
                  <c:v>41137</c:v>
                </c:pt>
                <c:pt idx="649">
                  <c:v>41138</c:v>
                </c:pt>
                <c:pt idx="650">
                  <c:v>41141</c:v>
                </c:pt>
                <c:pt idx="651">
                  <c:v>41142</c:v>
                </c:pt>
                <c:pt idx="652">
                  <c:v>41143</c:v>
                </c:pt>
                <c:pt idx="653">
                  <c:v>41144</c:v>
                </c:pt>
                <c:pt idx="654">
                  <c:v>41145</c:v>
                </c:pt>
                <c:pt idx="655">
                  <c:v>41148</c:v>
                </c:pt>
                <c:pt idx="656">
                  <c:v>41149</c:v>
                </c:pt>
                <c:pt idx="657">
                  <c:v>41150</c:v>
                </c:pt>
                <c:pt idx="658">
                  <c:v>41151</c:v>
                </c:pt>
                <c:pt idx="659">
                  <c:v>41152</c:v>
                </c:pt>
                <c:pt idx="660">
                  <c:v>41155</c:v>
                </c:pt>
                <c:pt idx="661">
                  <c:v>41156</c:v>
                </c:pt>
                <c:pt idx="662">
                  <c:v>41157</c:v>
                </c:pt>
                <c:pt idx="663">
                  <c:v>41158</c:v>
                </c:pt>
                <c:pt idx="664">
                  <c:v>41159</c:v>
                </c:pt>
                <c:pt idx="665">
                  <c:v>41162</c:v>
                </c:pt>
                <c:pt idx="666">
                  <c:v>41163</c:v>
                </c:pt>
                <c:pt idx="667">
                  <c:v>41164</c:v>
                </c:pt>
                <c:pt idx="668">
                  <c:v>41165</c:v>
                </c:pt>
                <c:pt idx="669">
                  <c:v>41166</c:v>
                </c:pt>
                <c:pt idx="670">
                  <c:v>41169</c:v>
                </c:pt>
                <c:pt idx="671">
                  <c:v>41170</c:v>
                </c:pt>
                <c:pt idx="672">
                  <c:v>41171</c:v>
                </c:pt>
                <c:pt idx="673">
                  <c:v>41172</c:v>
                </c:pt>
                <c:pt idx="674">
                  <c:v>41173</c:v>
                </c:pt>
                <c:pt idx="675">
                  <c:v>41176</c:v>
                </c:pt>
                <c:pt idx="676">
                  <c:v>41177</c:v>
                </c:pt>
                <c:pt idx="677">
                  <c:v>41178</c:v>
                </c:pt>
                <c:pt idx="678">
                  <c:v>41179</c:v>
                </c:pt>
                <c:pt idx="679">
                  <c:v>41180</c:v>
                </c:pt>
                <c:pt idx="680">
                  <c:v>41183</c:v>
                </c:pt>
                <c:pt idx="681">
                  <c:v>41184</c:v>
                </c:pt>
                <c:pt idx="682">
                  <c:v>41185</c:v>
                </c:pt>
                <c:pt idx="683">
                  <c:v>41186</c:v>
                </c:pt>
                <c:pt idx="684">
                  <c:v>41187</c:v>
                </c:pt>
                <c:pt idx="685">
                  <c:v>41190</c:v>
                </c:pt>
                <c:pt idx="686">
                  <c:v>41191</c:v>
                </c:pt>
                <c:pt idx="687">
                  <c:v>41192</c:v>
                </c:pt>
                <c:pt idx="688">
                  <c:v>41193</c:v>
                </c:pt>
                <c:pt idx="689">
                  <c:v>41194</c:v>
                </c:pt>
                <c:pt idx="690">
                  <c:v>41197</c:v>
                </c:pt>
                <c:pt idx="691">
                  <c:v>41198</c:v>
                </c:pt>
                <c:pt idx="692">
                  <c:v>41199</c:v>
                </c:pt>
                <c:pt idx="693">
                  <c:v>41200</c:v>
                </c:pt>
                <c:pt idx="694">
                  <c:v>41201</c:v>
                </c:pt>
                <c:pt idx="695">
                  <c:v>41204</c:v>
                </c:pt>
                <c:pt idx="696">
                  <c:v>41205</c:v>
                </c:pt>
                <c:pt idx="697">
                  <c:v>41206</c:v>
                </c:pt>
                <c:pt idx="698">
                  <c:v>41207</c:v>
                </c:pt>
                <c:pt idx="699">
                  <c:v>41208</c:v>
                </c:pt>
                <c:pt idx="700">
                  <c:v>41211</c:v>
                </c:pt>
                <c:pt idx="701">
                  <c:v>41212</c:v>
                </c:pt>
                <c:pt idx="702">
                  <c:v>41213</c:v>
                </c:pt>
                <c:pt idx="703">
                  <c:v>41214</c:v>
                </c:pt>
                <c:pt idx="704">
                  <c:v>41215</c:v>
                </c:pt>
                <c:pt idx="705">
                  <c:v>41219</c:v>
                </c:pt>
                <c:pt idx="706">
                  <c:v>41220</c:v>
                </c:pt>
                <c:pt idx="707">
                  <c:v>41221</c:v>
                </c:pt>
                <c:pt idx="708">
                  <c:v>41222</c:v>
                </c:pt>
                <c:pt idx="709">
                  <c:v>41225</c:v>
                </c:pt>
                <c:pt idx="710">
                  <c:v>41226</c:v>
                </c:pt>
                <c:pt idx="711">
                  <c:v>41227</c:v>
                </c:pt>
                <c:pt idx="712">
                  <c:v>41228</c:v>
                </c:pt>
                <c:pt idx="713">
                  <c:v>41229</c:v>
                </c:pt>
                <c:pt idx="714">
                  <c:v>41232</c:v>
                </c:pt>
                <c:pt idx="715">
                  <c:v>41233</c:v>
                </c:pt>
                <c:pt idx="716">
                  <c:v>41234</c:v>
                </c:pt>
                <c:pt idx="717">
                  <c:v>41235</c:v>
                </c:pt>
                <c:pt idx="718">
                  <c:v>41236</c:v>
                </c:pt>
                <c:pt idx="719">
                  <c:v>41239</c:v>
                </c:pt>
                <c:pt idx="720">
                  <c:v>41240</c:v>
                </c:pt>
                <c:pt idx="721">
                  <c:v>41241</c:v>
                </c:pt>
                <c:pt idx="722">
                  <c:v>41242</c:v>
                </c:pt>
                <c:pt idx="723">
                  <c:v>41243</c:v>
                </c:pt>
                <c:pt idx="724">
                  <c:v>41246</c:v>
                </c:pt>
                <c:pt idx="725">
                  <c:v>41247</c:v>
                </c:pt>
                <c:pt idx="726">
                  <c:v>41248</c:v>
                </c:pt>
                <c:pt idx="727">
                  <c:v>41249</c:v>
                </c:pt>
                <c:pt idx="728">
                  <c:v>41250</c:v>
                </c:pt>
                <c:pt idx="729">
                  <c:v>41253</c:v>
                </c:pt>
                <c:pt idx="730">
                  <c:v>41254</c:v>
                </c:pt>
                <c:pt idx="731">
                  <c:v>41255</c:v>
                </c:pt>
                <c:pt idx="732">
                  <c:v>41256</c:v>
                </c:pt>
                <c:pt idx="733">
                  <c:v>41257</c:v>
                </c:pt>
                <c:pt idx="734">
                  <c:v>41260</c:v>
                </c:pt>
                <c:pt idx="735">
                  <c:v>41261</c:v>
                </c:pt>
                <c:pt idx="736">
                  <c:v>41262</c:v>
                </c:pt>
                <c:pt idx="737">
                  <c:v>41263</c:v>
                </c:pt>
                <c:pt idx="738">
                  <c:v>41264</c:v>
                </c:pt>
                <c:pt idx="739">
                  <c:v>41267</c:v>
                </c:pt>
                <c:pt idx="740">
                  <c:v>41268</c:v>
                </c:pt>
                <c:pt idx="741">
                  <c:v>41269</c:v>
                </c:pt>
                <c:pt idx="742">
                  <c:v>41270</c:v>
                </c:pt>
                <c:pt idx="743">
                  <c:v>41271</c:v>
                </c:pt>
                <c:pt idx="744">
                  <c:v>41283</c:v>
                </c:pt>
                <c:pt idx="745">
                  <c:v>41284</c:v>
                </c:pt>
                <c:pt idx="746">
                  <c:v>41285</c:v>
                </c:pt>
                <c:pt idx="747">
                  <c:v>41288</c:v>
                </c:pt>
                <c:pt idx="748">
                  <c:v>41289</c:v>
                </c:pt>
                <c:pt idx="749">
                  <c:v>41290</c:v>
                </c:pt>
                <c:pt idx="750">
                  <c:v>41291</c:v>
                </c:pt>
                <c:pt idx="751">
                  <c:v>41292</c:v>
                </c:pt>
                <c:pt idx="752">
                  <c:v>41295</c:v>
                </c:pt>
                <c:pt idx="753">
                  <c:v>41296</c:v>
                </c:pt>
                <c:pt idx="754">
                  <c:v>41297</c:v>
                </c:pt>
                <c:pt idx="755">
                  <c:v>41298</c:v>
                </c:pt>
                <c:pt idx="756">
                  <c:v>41299</c:v>
                </c:pt>
                <c:pt idx="757">
                  <c:v>41302</c:v>
                </c:pt>
                <c:pt idx="758">
                  <c:v>41303</c:v>
                </c:pt>
                <c:pt idx="759">
                  <c:v>41304</c:v>
                </c:pt>
                <c:pt idx="760">
                  <c:v>41305</c:v>
                </c:pt>
                <c:pt idx="761">
                  <c:v>41306</c:v>
                </c:pt>
                <c:pt idx="762">
                  <c:v>41309</c:v>
                </c:pt>
                <c:pt idx="763">
                  <c:v>41310</c:v>
                </c:pt>
                <c:pt idx="764">
                  <c:v>41311</c:v>
                </c:pt>
                <c:pt idx="765">
                  <c:v>41312</c:v>
                </c:pt>
                <c:pt idx="766">
                  <c:v>41313</c:v>
                </c:pt>
                <c:pt idx="767">
                  <c:v>41316</c:v>
                </c:pt>
                <c:pt idx="768">
                  <c:v>41317</c:v>
                </c:pt>
                <c:pt idx="769">
                  <c:v>41318</c:v>
                </c:pt>
                <c:pt idx="770">
                  <c:v>41319</c:v>
                </c:pt>
                <c:pt idx="771">
                  <c:v>41320</c:v>
                </c:pt>
                <c:pt idx="772">
                  <c:v>41323</c:v>
                </c:pt>
                <c:pt idx="773">
                  <c:v>41324</c:v>
                </c:pt>
                <c:pt idx="774">
                  <c:v>41325</c:v>
                </c:pt>
                <c:pt idx="775">
                  <c:v>41326</c:v>
                </c:pt>
                <c:pt idx="776">
                  <c:v>41327</c:v>
                </c:pt>
                <c:pt idx="777">
                  <c:v>41330</c:v>
                </c:pt>
                <c:pt idx="778">
                  <c:v>41331</c:v>
                </c:pt>
                <c:pt idx="779">
                  <c:v>41332</c:v>
                </c:pt>
                <c:pt idx="780">
                  <c:v>41333</c:v>
                </c:pt>
                <c:pt idx="781">
                  <c:v>41334</c:v>
                </c:pt>
                <c:pt idx="782">
                  <c:v>41337</c:v>
                </c:pt>
                <c:pt idx="783">
                  <c:v>41338</c:v>
                </c:pt>
                <c:pt idx="784">
                  <c:v>41339</c:v>
                </c:pt>
                <c:pt idx="785">
                  <c:v>41340</c:v>
                </c:pt>
                <c:pt idx="786">
                  <c:v>41344</c:v>
                </c:pt>
                <c:pt idx="787">
                  <c:v>41345</c:v>
                </c:pt>
                <c:pt idx="788">
                  <c:v>41346</c:v>
                </c:pt>
                <c:pt idx="789">
                  <c:v>41347</c:v>
                </c:pt>
                <c:pt idx="790">
                  <c:v>41348</c:v>
                </c:pt>
                <c:pt idx="791">
                  <c:v>41351</c:v>
                </c:pt>
                <c:pt idx="792">
                  <c:v>41352</c:v>
                </c:pt>
                <c:pt idx="793">
                  <c:v>41353</c:v>
                </c:pt>
                <c:pt idx="794">
                  <c:v>41354</c:v>
                </c:pt>
                <c:pt idx="795">
                  <c:v>41355</c:v>
                </c:pt>
                <c:pt idx="796">
                  <c:v>41358</c:v>
                </c:pt>
                <c:pt idx="797">
                  <c:v>41359</c:v>
                </c:pt>
                <c:pt idx="798">
                  <c:v>41360</c:v>
                </c:pt>
                <c:pt idx="799">
                  <c:v>41361</c:v>
                </c:pt>
                <c:pt idx="800">
                  <c:v>41362</c:v>
                </c:pt>
                <c:pt idx="801">
                  <c:v>41365</c:v>
                </c:pt>
                <c:pt idx="802">
                  <c:v>41366</c:v>
                </c:pt>
                <c:pt idx="803">
                  <c:v>41367</c:v>
                </c:pt>
                <c:pt idx="804">
                  <c:v>41368</c:v>
                </c:pt>
                <c:pt idx="805">
                  <c:v>41369</c:v>
                </c:pt>
                <c:pt idx="806">
                  <c:v>41372</c:v>
                </c:pt>
                <c:pt idx="807">
                  <c:v>41373</c:v>
                </c:pt>
                <c:pt idx="808">
                  <c:v>41374</c:v>
                </c:pt>
                <c:pt idx="809">
                  <c:v>41375</c:v>
                </c:pt>
                <c:pt idx="810">
                  <c:v>41376</c:v>
                </c:pt>
                <c:pt idx="811">
                  <c:v>41379</c:v>
                </c:pt>
                <c:pt idx="812">
                  <c:v>41380</c:v>
                </c:pt>
                <c:pt idx="813">
                  <c:v>41381</c:v>
                </c:pt>
                <c:pt idx="814">
                  <c:v>41382</c:v>
                </c:pt>
                <c:pt idx="815">
                  <c:v>41383</c:v>
                </c:pt>
                <c:pt idx="816">
                  <c:v>41386</c:v>
                </c:pt>
                <c:pt idx="817">
                  <c:v>41387</c:v>
                </c:pt>
                <c:pt idx="818">
                  <c:v>41388</c:v>
                </c:pt>
                <c:pt idx="819">
                  <c:v>41389</c:v>
                </c:pt>
                <c:pt idx="820">
                  <c:v>41390</c:v>
                </c:pt>
                <c:pt idx="821">
                  <c:v>41393</c:v>
                </c:pt>
                <c:pt idx="822">
                  <c:v>41394</c:v>
                </c:pt>
                <c:pt idx="823">
                  <c:v>41400</c:v>
                </c:pt>
                <c:pt idx="824">
                  <c:v>41401</c:v>
                </c:pt>
                <c:pt idx="825">
                  <c:v>41402</c:v>
                </c:pt>
                <c:pt idx="826">
                  <c:v>41407</c:v>
                </c:pt>
                <c:pt idx="827">
                  <c:v>41408</c:v>
                </c:pt>
                <c:pt idx="828">
                  <c:v>41409</c:v>
                </c:pt>
                <c:pt idx="829">
                  <c:v>41410</c:v>
                </c:pt>
                <c:pt idx="830">
                  <c:v>41411</c:v>
                </c:pt>
                <c:pt idx="831">
                  <c:v>41414</c:v>
                </c:pt>
                <c:pt idx="832">
                  <c:v>41415</c:v>
                </c:pt>
                <c:pt idx="833">
                  <c:v>41416</c:v>
                </c:pt>
                <c:pt idx="834">
                  <c:v>41417</c:v>
                </c:pt>
                <c:pt idx="835">
                  <c:v>41418</c:v>
                </c:pt>
                <c:pt idx="836">
                  <c:v>41421</c:v>
                </c:pt>
                <c:pt idx="837">
                  <c:v>41422</c:v>
                </c:pt>
                <c:pt idx="838">
                  <c:v>41423</c:v>
                </c:pt>
                <c:pt idx="839">
                  <c:v>41424</c:v>
                </c:pt>
                <c:pt idx="840">
                  <c:v>41425</c:v>
                </c:pt>
                <c:pt idx="841">
                  <c:v>41428</c:v>
                </c:pt>
                <c:pt idx="842">
                  <c:v>41429</c:v>
                </c:pt>
                <c:pt idx="843">
                  <c:v>41430</c:v>
                </c:pt>
                <c:pt idx="844">
                  <c:v>41431</c:v>
                </c:pt>
                <c:pt idx="845">
                  <c:v>41432</c:v>
                </c:pt>
                <c:pt idx="846">
                  <c:v>41435</c:v>
                </c:pt>
                <c:pt idx="847">
                  <c:v>41436</c:v>
                </c:pt>
                <c:pt idx="848">
                  <c:v>41438</c:v>
                </c:pt>
                <c:pt idx="849">
                  <c:v>41439</c:v>
                </c:pt>
                <c:pt idx="850">
                  <c:v>41442</c:v>
                </c:pt>
                <c:pt idx="851">
                  <c:v>41443</c:v>
                </c:pt>
                <c:pt idx="852">
                  <c:v>41444</c:v>
                </c:pt>
                <c:pt idx="853">
                  <c:v>41445</c:v>
                </c:pt>
                <c:pt idx="854">
                  <c:v>41446</c:v>
                </c:pt>
                <c:pt idx="855">
                  <c:v>41449</c:v>
                </c:pt>
                <c:pt idx="856">
                  <c:v>41450</c:v>
                </c:pt>
                <c:pt idx="857">
                  <c:v>41451</c:v>
                </c:pt>
                <c:pt idx="858">
                  <c:v>41452</c:v>
                </c:pt>
                <c:pt idx="859">
                  <c:v>41453</c:v>
                </c:pt>
                <c:pt idx="860">
                  <c:v>41456</c:v>
                </c:pt>
                <c:pt idx="861">
                  <c:v>41457</c:v>
                </c:pt>
                <c:pt idx="862">
                  <c:v>41458</c:v>
                </c:pt>
                <c:pt idx="863">
                  <c:v>41459</c:v>
                </c:pt>
                <c:pt idx="864">
                  <c:v>41460</c:v>
                </c:pt>
                <c:pt idx="865">
                  <c:v>41463</c:v>
                </c:pt>
                <c:pt idx="866">
                  <c:v>41464</c:v>
                </c:pt>
                <c:pt idx="867">
                  <c:v>41465</c:v>
                </c:pt>
                <c:pt idx="868">
                  <c:v>41466</c:v>
                </c:pt>
                <c:pt idx="869">
                  <c:v>41467</c:v>
                </c:pt>
                <c:pt idx="870">
                  <c:v>41470</c:v>
                </c:pt>
                <c:pt idx="871">
                  <c:v>41471</c:v>
                </c:pt>
                <c:pt idx="872">
                  <c:v>41472</c:v>
                </c:pt>
                <c:pt idx="873">
                  <c:v>41473</c:v>
                </c:pt>
                <c:pt idx="874">
                  <c:v>41474</c:v>
                </c:pt>
                <c:pt idx="875">
                  <c:v>41477</c:v>
                </c:pt>
                <c:pt idx="876">
                  <c:v>41478</c:v>
                </c:pt>
                <c:pt idx="877">
                  <c:v>41479</c:v>
                </c:pt>
                <c:pt idx="878">
                  <c:v>41480</c:v>
                </c:pt>
                <c:pt idx="879">
                  <c:v>41481</c:v>
                </c:pt>
                <c:pt idx="880">
                  <c:v>41484</c:v>
                </c:pt>
                <c:pt idx="881">
                  <c:v>41485</c:v>
                </c:pt>
                <c:pt idx="882">
                  <c:v>41486</c:v>
                </c:pt>
                <c:pt idx="883">
                  <c:v>41487</c:v>
                </c:pt>
                <c:pt idx="884">
                  <c:v>41488</c:v>
                </c:pt>
                <c:pt idx="885">
                  <c:v>41491</c:v>
                </c:pt>
                <c:pt idx="886">
                  <c:v>41492</c:v>
                </c:pt>
                <c:pt idx="887">
                  <c:v>41493</c:v>
                </c:pt>
                <c:pt idx="888">
                  <c:v>41494</c:v>
                </c:pt>
                <c:pt idx="889">
                  <c:v>41495</c:v>
                </c:pt>
                <c:pt idx="890">
                  <c:v>41498</c:v>
                </c:pt>
                <c:pt idx="891">
                  <c:v>41499</c:v>
                </c:pt>
                <c:pt idx="892">
                  <c:v>41500</c:v>
                </c:pt>
                <c:pt idx="893">
                  <c:v>41501</c:v>
                </c:pt>
                <c:pt idx="894">
                  <c:v>41502</c:v>
                </c:pt>
                <c:pt idx="895">
                  <c:v>41505</c:v>
                </c:pt>
                <c:pt idx="896">
                  <c:v>41506</c:v>
                </c:pt>
                <c:pt idx="897">
                  <c:v>41507</c:v>
                </c:pt>
                <c:pt idx="898">
                  <c:v>41508</c:v>
                </c:pt>
                <c:pt idx="899">
                  <c:v>41509</c:v>
                </c:pt>
                <c:pt idx="900">
                  <c:v>41512</c:v>
                </c:pt>
                <c:pt idx="901">
                  <c:v>41513</c:v>
                </c:pt>
                <c:pt idx="902">
                  <c:v>41514</c:v>
                </c:pt>
                <c:pt idx="903">
                  <c:v>41515</c:v>
                </c:pt>
                <c:pt idx="904">
                  <c:v>41516</c:v>
                </c:pt>
                <c:pt idx="905">
                  <c:v>41519</c:v>
                </c:pt>
                <c:pt idx="906">
                  <c:v>41520</c:v>
                </c:pt>
                <c:pt idx="907">
                  <c:v>41521</c:v>
                </c:pt>
                <c:pt idx="908">
                  <c:v>41522</c:v>
                </c:pt>
                <c:pt idx="909">
                  <c:v>41523</c:v>
                </c:pt>
                <c:pt idx="910">
                  <c:v>41526</c:v>
                </c:pt>
                <c:pt idx="911">
                  <c:v>41527</c:v>
                </c:pt>
                <c:pt idx="912">
                  <c:v>41528</c:v>
                </c:pt>
                <c:pt idx="913">
                  <c:v>41529</c:v>
                </c:pt>
                <c:pt idx="914">
                  <c:v>41530</c:v>
                </c:pt>
                <c:pt idx="915">
                  <c:v>41533</c:v>
                </c:pt>
                <c:pt idx="916">
                  <c:v>41534</c:v>
                </c:pt>
                <c:pt idx="917">
                  <c:v>41535</c:v>
                </c:pt>
                <c:pt idx="918">
                  <c:v>41536</c:v>
                </c:pt>
                <c:pt idx="919">
                  <c:v>41537</c:v>
                </c:pt>
                <c:pt idx="920">
                  <c:v>41540</c:v>
                </c:pt>
                <c:pt idx="921">
                  <c:v>41541</c:v>
                </c:pt>
                <c:pt idx="922">
                  <c:v>41542</c:v>
                </c:pt>
                <c:pt idx="923">
                  <c:v>41543</c:v>
                </c:pt>
                <c:pt idx="924">
                  <c:v>41544</c:v>
                </c:pt>
                <c:pt idx="925">
                  <c:v>41547</c:v>
                </c:pt>
                <c:pt idx="926">
                  <c:v>41548</c:v>
                </c:pt>
                <c:pt idx="927">
                  <c:v>41549</c:v>
                </c:pt>
                <c:pt idx="928">
                  <c:v>41550</c:v>
                </c:pt>
                <c:pt idx="929">
                  <c:v>41551</c:v>
                </c:pt>
                <c:pt idx="930">
                  <c:v>41554</c:v>
                </c:pt>
                <c:pt idx="931">
                  <c:v>41555</c:v>
                </c:pt>
                <c:pt idx="932">
                  <c:v>41556</c:v>
                </c:pt>
                <c:pt idx="933">
                  <c:v>41557</c:v>
                </c:pt>
                <c:pt idx="934">
                  <c:v>41558</c:v>
                </c:pt>
                <c:pt idx="935">
                  <c:v>41561</c:v>
                </c:pt>
                <c:pt idx="936">
                  <c:v>41562</c:v>
                </c:pt>
                <c:pt idx="937">
                  <c:v>41563</c:v>
                </c:pt>
                <c:pt idx="938">
                  <c:v>41564</c:v>
                </c:pt>
                <c:pt idx="939">
                  <c:v>41565</c:v>
                </c:pt>
                <c:pt idx="940">
                  <c:v>41568</c:v>
                </c:pt>
                <c:pt idx="941">
                  <c:v>41569</c:v>
                </c:pt>
                <c:pt idx="942">
                  <c:v>41570</c:v>
                </c:pt>
                <c:pt idx="943">
                  <c:v>41571</c:v>
                </c:pt>
                <c:pt idx="944">
                  <c:v>41572</c:v>
                </c:pt>
                <c:pt idx="945">
                  <c:v>41575</c:v>
                </c:pt>
                <c:pt idx="946">
                  <c:v>41576</c:v>
                </c:pt>
                <c:pt idx="947">
                  <c:v>41577</c:v>
                </c:pt>
                <c:pt idx="948">
                  <c:v>41578</c:v>
                </c:pt>
                <c:pt idx="949">
                  <c:v>41579</c:v>
                </c:pt>
                <c:pt idx="950">
                  <c:v>41583</c:v>
                </c:pt>
                <c:pt idx="951">
                  <c:v>41584</c:v>
                </c:pt>
                <c:pt idx="952">
                  <c:v>41585</c:v>
                </c:pt>
                <c:pt idx="953">
                  <c:v>41586</c:v>
                </c:pt>
                <c:pt idx="954">
                  <c:v>41589</c:v>
                </c:pt>
                <c:pt idx="955">
                  <c:v>41590</c:v>
                </c:pt>
                <c:pt idx="956">
                  <c:v>41591</c:v>
                </c:pt>
                <c:pt idx="957">
                  <c:v>41592</c:v>
                </c:pt>
                <c:pt idx="958">
                  <c:v>41593</c:v>
                </c:pt>
                <c:pt idx="959">
                  <c:v>41596</c:v>
                </c:pt>
                <c:pt idx="960">
                  <c:v>41597</c:v>
                </c:pt>
                <c:pt idx="961">
                  <c:v>41598</c:v>
                </c:pt>
                <c:pt idx="962">
                  <c:v>41599</c:v>
                </c:pt>
                <c:pt idx="963">
                  <c:v>41600</c:v>
                </c:pt>
                <c:pt idx="964">
                  <c:v>41603</c:v>
                </c:pt>
                <c:pt idx="965">
                  <c:v>41604</c:v>
                </c:pt>
                <c:pt idx="966">
                  <c:v>41605</c:v>
                </c:pt>
                <c:pt idx="967">
                  <c:v>41606</c:v>
                </c:pt>
                <c:pt idx="968">
                  <c:v>41607</c:v>
                </c:pt>
                <c:pt idx="969">
                  <c:v>41610</c:v>
                </c:pt>
                <c:pt idx="970">
                  <c:v>41611</c:v>
                </c:pt>
                <c:pt idx="971">
                  <c:v>41612</c:v>
                </c:pt>
                <c:pt idx="972">
                  <c:v>41613</c:v>
                </c:pt>
                <c:pt idx="973">
                  <c:v>41614</c:v>
                </c:pt>
                <c:pt idx="974">
                  <c:v>41617</c:v>
                </c:pt>
                <c:pt idx="975">
                  <c:v>41618</c:v>
                </c:pt>
                <c:pt idx="976">
                  <c:v>41619</c:v>
                </c:pt>
                <c:pt idx="977">
                  <c:v>41620</c:v>
                </c:pt>
                <c:pt idx="978">
                  <c:v>41621</c:v>
                </c:pt>
                <c:pt idx="979">
                  <c:v>41624</c:v>
                </c:pt>
                <c:pt idx="980">
                  <c:v>41625</c:v>
                </c:pt>
                <c:pt idx="981">
                  <c:v>41626</c:v>
                </c:pt>
                <c:pt idx="982">
                  <c:v>41627</c:v>
                </c:pt>
                <c:pt idx="983">
                  <c:v>41628</c:v>
                </c:pt>
                <c:pt idx="984">
                  <c:v>41631</c:v>
                </c:pt>
                <c:pt idx="985">
                  <c:v>41632</c:v>
                </c:pt>
                <c:pt idx="986">
                  <c:v>41633</c:v>
                </c:pt>
                <c:pt idx="987">
                  <c:v>41634</c:v>
                </c:pt>
                <c:pt idx="988">
                  <c:v>41635</c:v>
                </c:pt>
                <c:pt idx="989">
                  <c:v>41648</c:v>
                </c:pt>
                <c:pt idx="990">
                  <c:v>41649</c:v>
                </c:pt>
                <c:pt idx="991">
                  <c:v>41652</c:v>
                </c:pt>
                <c:pt idx="992">
                  <c:v>41653</c:v>
                </c:pt>
                <c:pt idx="993">
                  <c:v>41654</c:v>
                </c:pt>
                <c:pt idx="994">
                  <c:v>41655</c:v>
                </c:pt>
                <c:pt idx="995">
                  <c:v>41656</c:v>
                </c:pt>
                <c:pt idx="996">
                  <c:v>41659</c:v>
                </c:pt>
                <c:pt idx="997">
                  <c:v>41660</c:v>
                </c:pt>
                <c:pt idx="998">
                  <c:v>41661</c:v>
                </c:pt>
                <c:pt idx="999">
                  <c:v>41662</c:v>
                </c:pt>
                <c:pt idx="1000">
                  <c:v>41663</c:v>
                </c:pt>
                <c:pt idx="1001">
                  <c:v>41666</c:v>
                </c:pt>
                <c:pt idx="1002">
                  <c:v>41667</c:v>
                </c:pt>
                <c:pt idx="1003">
                  <c:v>41668</c:v>
                </c:pt>
                <c:pt idx="1004">
                  <c:v>41669</c:v>
                </c:pt>
                <c:pt idx="1005">
                  <c:v>41670</c:v>
                </c:pt>
                <c:pt idx="1006">
                  <c:v>41673</c:v>
                </c:pt>
                <c:pt idx="1007">
                  <c:v>41674</c:v>
                </c:pt>
                <c:pt idx="1008">
                  <c:v>41675</c:v>
                </c:pt>
                <c:pt idx="1009">
                  <c:v>41676</c:v>
                </c:pt>
                <c:pt idx="1010">
                  <c:v>41677</c:v>
                </c:pt>
                <c:pt idx="1011">
                  <c:v>41680</c:v>
                </c:pt>
                <c:pt idx="1012">
                  <c:v>41681</c:v>
                </c:pt>
                <c:pt idx="1013">
                  <c:v>41682</c:v>
                </c:pt>
                <c:pt idx="1014">
                  <c:v>41683</c:v>
                </c:pt>
                <c:pt idx="1015">
                  <c:v>41684</c:v>
                </c:pt>
                <c:pt idx="1016">
                  <c:v>41687</c:v>
                </c:pt>
                <c:pt idx="1017">
                  <c:v>41688</c:v>
                </c:pt>
                <c:pt idx="1018">
                  <c:v>41689</c:v>
                </c:pt>
                <c:pt idx="1019">
                  <c:v>41690</c:v>
                </c:pt>
                <c:pt idx="1020">
                  <c:v>41691</c:v>
                </c:pt>
                <c:pt idx="1021">
                  <c:v>41694</c:v>
                </c:pt>
                <c:pt idx="1022">
                  <c:v>41695</c:v>
                </c:pt>
                <c:pt idx="1023">
                  <c:v>41696</c:v>
                </c:pt>
                <c:pt idx="1024">
                  <c:v>41697</c:v>
                </c:pt>
                <c:pt idx="1025">
                  <c:v>41698</c:v>
                </c:pt>
                <c:pt idx="1026">
                  <c:v>41701</c:v>
                </c:pt>
                <c:pt idx="1027">
                  <c:v>41702</c:v>
                </c:pt>
                <c:pt idx="1028">
                  <c:v>41703</c:v>
                </c:pt>
                <c:pt idx="1029">
                  <c:v>41704</c:v>
                </c:pt>
                <c:pt idx="1030">
                  <c:v>41705</c:v>
                </c:pt>
                <c:pt idx="1031">
                  <c:v>41709</c:v>
                </c:pt>
                <c:pt idx="1032">
                  <c:v>41710</c:v>
                </c:pt>
                <c:pt idx="1033">
                  <c:v>41711</c:v>
                </c:pt>
                <c:pt idx="1034">
                  <c:v>41712</c:v>
                </c:pt>
                <c:pt idx="1035">
                  <c:v>41715</c:v>
                </c:pt>
                <c:pt idx="1036">
                  <c:v>41716</c:v>
                </c:pt>
                <c:pt idx="1037">
                  <c:v>41717</c:v>
                </c:pt>
                <c:pt idx="1038">
                  <c:v>41718</c:v>
                </c:pt>
                <c:pt idx="1039">
                  <c:v>41719</c:v>
                </c:pt>
                <c:pt idx="1040">
                  <c:v>41722</c:v>
                </c:pt>
                <c:pt idx="1041">
                  <c:v>41723</c:v>
                </c:pt>
                <c:pt idx="1042">
                  <c:v>41724</c:v>
                </c:pt>
                <c:pt idx="1043">
                  <c:v>41725</c:v>
                </c:pt>
                <c:pt idx="1044">
                  <c:v>41726</c:v>
                </c:pt>
                <c:pt idx="1045">
                  <c:v>41729</c:v>
                </c:pt>
                <c:pt idx="1046">
                  <c:v>41730</c:v>
                </c:pt>
                <c:pt idx="1047">
                  <c:v>41731</c:v>
                </c:pt>
                <c:pt idx="1048">
                  <c:v>41732</c:v>
                </c:pt>
                <c:pt idx="1049">
                  <c:v>41733</c:v>
                </c:pt>
                <c:pt idx="1050">
                  <c:v>41736</c:v>
                </c:pt>
                <c:pt idx="1051">
                  <c:v>41737</c:v>
                </c:pt>
                <c:pt idx="1052">
                  <c:v>41738</c:v>
                </c:pt>
                <c:pt idx="1053">
                  <c:v>41739</c:v>
                </c:pt>
                <c:pt idx="1054">
                  <c:v>41740</c:v>
                </c:pt>
                <c:pt idx="1055">
                  <c:v>41743</c:v>
                </c:pt>
                <c:pt idx="1056">
                  <c:v>41744</c:v>
                </c:pt>
                <c:pt idx="1057">
                  <c:v>41745</c:v>
                </c:pt>
                <c:pt idx="1058">
                  <c:v>41746</c:v>
                </c:pt>
                <c:pt idx="1059">
                  <c:v>41747</c:v>
                </c:pt>
                <c:pt idx="1060">
                  <c:v>41750</c:v>
                </c:pt>
                <c:pt idx="1061">
                  <c:v>41751</c:v>
                </c:pt>
                <c:pt idx="1062">
                  <c:v>41752</c:v>
                </c:pt>
                <c:pt idx="1063">
                  <c:v>41753</c:v>
                </c:pt>
                <c:pt idx="1064">
                  <c:v>41754</c:v>
                </c:pt>
                <c:pt idx="1065">
                  <c:v>41757</c:v>
                </c:pt>
                <c:pt idx="1066">
                  <c:v>41758</c:v>
                </c:pt>
                <c:pt idx="1067">
                  <c:v>41759</c:v>
                </c:pt>
                <c:pt idx="1068">
                  <c:v>41764</c:v>
                </c:pt>
                <c:pt idx="1069">
                  <c:v>41765</c:v>
                </c:pt>
                <c:pt idx="1070">
                  <c:v>41766</c:v>
                </c:pt>
                <c:pt idx="1071">
                  <c:v>41767</c:v>
                </c:pt>
                <c:pt idx="1072">
                  <c:v>41771</c:v>
                </c:pt>
                <c:pt idx="1073">
                  <c:v>41772</c:v>
                </c:pt>
                <c:pt idx="1074">
                  <c:v>41773</c:v>
                </c:pt>
                <c:pt idx="1075">
                  <c:v>41774</c:v>
                </c:pt>
                <c:pt idx="1076">
                  <c:v>41775</c:v>
                </c:pt>
                <c:pt idx="1077">
                  <c:v>41778</c:v>
                </c:pt>
                <c:pt idx="1078">
                  <c:v>41779</c:v>
                </c:pt>
                <c:pt idx="1079">
                  <c:v>41780</c:v>
                </c:pt>
                <c:pt idx="1080">
                  <c:v>41781</c:v>
                </c:pt>
                <c:pt idx="1081">
                  <c:v>41782</c:v>
                </c:pt>
                <c:pt idx="1082">
                  <c:v>41785</c:v>
                </c:pt>
                <c:pt idx="1083">
                  <c:v>41786</c:v>
                </c:pt>
                <c:pt idx="1084">
                  <c:v>41787</c:v>
                </c:pt>
                <c:pt idx="1085">
                  <c:v>41788</c:v>
                </c:pt>
                <c:pt idx="1086">
                  <c:v>41789</c:v>
                </c:pt>
                <c:pt idx="1087">
                  <c:v>41792</c:v>
                </c:pt>
                <c:pt idx="1088">
                  <c:v>41793</c:v>
                </c:pt>
                <c:pt idx="1089">
                  <c:v>41794</c:v>
                </c:pt>
                <c:pt idx="1090">
                  <c:v>41795</c:v>
                </c:pt>
                <c:pt idx="1091">
                  <c:v>41796</c:v>
                </c:pt>
                <c:pt idx="1092">
                  <c:v>41799</c:v>
                </c:pt>
                <c:pt idx="1093">
                  <c:v>41800</c:v>
                </c:pt>
                <c:pt idx="1094">
                  <c:v>41801</c:v>
                </c:pt>
                <c:pt idx="1095">
                  <c:v>41806</c:v>
                </c:pt>
                <c:pt idx="1096">
                  <c:v>41807</c:v>
                </c:pt>
                <c:pt idx="1097">
                  <c:v>41808</c:v>
                </c:pt>
                <c:pt idx="1098">
                  <c:v>41809</c:v>
                </c:pt>
                <c:pt idx="1099">
                  <c:v>41810</c:v>
                </c:pt>
                <c:pt idx="1100">
                  <c:v>41813</c:v>
                </c:pt>
                <c:pt idx="1101">
                  <c:v>41814</c:v>
                </c:pt>
                <c:pt idx="1102">
                  <c:v>41815</c:v>
                </c:pt>
                <c:pt idx="1103">
                  <c:v>41816</c:v>
                </c:pt>
                <c:pt idx="1104">
                  <c:v>41817</c:v>
                </c:pt>
                <c:pt idx="1105">
                  <c:v>41820</c:v>
                </c:pt>
                <c:pt idx="1106">
                  <c:v>41821</c:v>
                </c:pt>
                <c:pt idx="1107">
                  <c:v>41822</c:v>
                </c:pt>
                <c:pt idx="1108">
                  <c:v>41823</c:v>
                </c:pt>
                <c:pt idx="1109">
                  <c:v>41824</c:v>
                </c:pt>
                <c:pt idx="1110">
                  <c:v>41827</c:v>
                </c:pt>
                <c:pt idx="1111">
                  <c:v>41828</c:v>
                </c:pt>
                <c:pt idx="1112">
                  <c:v>41829</c:v>
                </c:pt>
                <c:pt idx="1113">
                  <c:v>41830</c:v>
                </c:pt>
                <c:pt idx="1114">
                  <c:v>41831</c:v>
                </c:pt>
                <c:pt idx="1115">
                  <c:v>41834</c:v>
                </c:pt>
                <c:pt idx="1116">
                  <c:v>41835</c:v>
                </c:pt>
                <c:pt idx="1117">
                  <c:v>41836</c:v>
                </c:pt>
                <c:pt idx="1118">
                  <c:v>41837</c:v>
                </c:pt>
                <c:pt idx="1119">
                  <c:v>41838</c:v>
                </c:pt>
                <c:pt idx="1120">
                  <c:v>41841</c:v>
                </c:pt>
                <c:pt idx="1121">
                  <c:v>41842</c:v>
                </c:pt>
                <c:pt idx="1122">
                  <c:v>41843</c:v>
                </c:pt>
                <c:pt idx="1123">
                  <c:v>41844</c:v>
                </c:pt>
                <c:pt idx="1124">
                  <c:v>41845</c:v>
                </c:pt>
                <c:pt idx="1125">
                  <c:v>41848</c:v>
                </c:pt>
                <c:pt idx="1126">
                  <c:v>41849</c:v>
                </c:pt>
                <c:pt idx="1127">
                  <c:v>41850</c:v>
                </c:pt>
                <c:pt idx="1128">
                  <c:v>41851</c:v>
                </c:pt>
                <c:pt idx="1129">
                  <c:v>41852</c:v>
                </c:pt>
                <c:pt idx="1130">
                  <c:v>41855</c:v>
                </c:pt>
                <c:pt idx="1131">
                  <c:v>41856</c:v>
                </c:pt>
                <c:pt idx="1132">
                  <c:v>41857</c:v>
                </c:pt>
                <c:pt idx="1133">
                  <c:v>41858</c:v>
                </c:pt>
                <c:pt idx="1134">
                  <c:v>41859</c:v>
                </c:pt>
                <c:pt idx="1135">
                  <c:v>41862</c:v>
                </c:pt>
                <c:pt idx="1136">
                  <c:v>41863</c:v>
                </c:pt>
                <c:pt idx="1137">
                  <c:v>41864</c:v>
                </c:pt>
                <c:pt idx="1138">
                  <c:v>41865</c:v>
                </c:pt>
                <c:pt idx="1139">
                  <c:v>41866</c:v>
                </c:pt>
                <c:pt idx="1140">
                  <c:v>41869</c:v>
                </c:pt>
                <c:pt idx="1141">
                  <c:v>41870</c:v>
                </c:pt>
                <c:pt idx="1142">
                  <c:v>41871</c:v>
                </c:pt>
                <c:pt idx="1143">
                  <c:v>41872</c:v>
                </c:pt>
                <c:pt idx="1144">
                  <c:v>41873</c:v>
                </c:pt>
                <c:pt idx="1145">
                  <c:v>41876</c:v>
                </c:pt>
                <c:pt idx="1146">
                  <c:v>41877</c:v>
                </c:pt>
                <c:pt idx="1147">
                  <c:v>41878</c:v>
                </c:pt>
                <c:pt idx="1148">
                  <c:v>41879</c:v>
                </c:pt>
                <c:pt idx="1149">
                  <c:v>41880</c:v>
                </c:pt>
                <c:pt idx="1150">
                  <c:v>41883</c:v>
                </c:pt>
                <c:pt idx="1151">
                  <c:v>41884</c:v>
                </c:pt>
                <c:pt idx="1152">
                  <c:v>41885</c:v>
                </c:pt>
                <c:pt idx="1153">
                  <c:v>41886</c:v>
                </c:pt>
                <c:pt idx="1154">
                  <c:v>41887</c:v>
                </c:pt>
                <c:pt idx="1155">
                  <c:v>41890</c:v>
                </c:pt>
                <c:pt idx="1156">
                  <c:v>41891</c:v>
                </c:pt>
                <c:pt idx="1157">
                  <c:v>41892</c:v>
                </c:pt>
                <c:pt idx="1158">
                  <c:v>41893</c:v>
                </c:pt>
                <c:pt idx="1159">
                  <c:v>41894</c:v>
                </c:pt>
                <c:pt idx="1160">
                  <c:v>41897</c:v>
                </c:pt>
                <c:pt idx="1161">
                  <c:v>41898</c:v>
                </c:pt>
                <c:pt idx="1162">
                  <c:v>41899</c:v>
                </c:pt>
                <c:pt idx="1163">
                  <c:v>41900</c:v>
                </c:pt>
                <c:pt idx="1164">
                  <c:v>41901</c:v>
                </c:pt>
                <c:pt idx="1165">
                  <c:v>41904</c:v>
                </c:pt>
                <c:pt idx="1166">
                  <c:v>41905</c:v>
                </c:pt>
                <c:pt idx="1167">
                  <c:v>41906</c:v>
                </c:pt>
                <c:pt idx="1168">
                  <c:v>41907</c:v>
                </c:pt>
                <c:pt idx="1169">
                  <c:v>41908</c:v>
                </c:pt>
                <c:pt idx="1170">
                  <c:v>41911</c:v>
                </c:pt>
                <c:pt idx="1171">
                  <c:v>41912</c:v>
                </c:pt>
                <c:pt idx="1172">
                  <c:v>41913</c:v>
                </c:pt>
                <c:pt idx="1173">
                  <c:v>41914</c:v>
                </c:pt>
                <c:pt idx="1174">
                  <c:v>41915</c:v>
                </c:pt>
                <c:pt idx="1175">
                  <c:v>41918</c:v>
                </c:pt>
                <c:pt idx="1176">
                  <c:v>41919</c:v>
                </c:pt>
                <c:pt idx="1177">
                  <c:v>41920</c:v>
                </c:pt>
                <c:pt idx="1178">
                  <c:v>41921</c:v>
                </c:pt>
                <c:pt idx="1179">
                  <c:v>41922</c:v>
                </c:pt>
                <c:pt idx="1180">
                  <c:v>41925</c:v>
                </c:pt>
                <c:pt idx="1181">
                  <c:v>41926</c:v>
                </c:pt>
                <c:pt idx="1182">
                  <c:v>41927</c:v>
                </c:pt>
                <c:pt idx="1183">
                  <c:v>41928</c:v>
                </c:pt>
                <c:pt idx="1184">
                  <c:v>41929</c:v>
                </c:pt>
                <c:pt idx="1185">
                  <c:v>41932</c:v>
                </c:pt>
                <c:pt idx="1186">
                  <c:v>41933</c:v>
                </c:pt>
                <c:pt idx="1187">
                  <c:v>41934</c:v>
                </c:pt>
                <c:pt idx="1188">
                  <c:v>41935</c:v>
                </c:pt>
                <c:pt idx="1189">
                  <c:v>41936</c:v>
                </c:pt>
                <c:pt idx="1190">
                  <c:v>41939</c:v>
                </c:pt>
                <c:pt idx="1191">
                  <c:v>41940</c:v>
                </c:pt>
                <c:pt idx="1192">
                  <c:v>41941</c:v>
                </c:pt>
                <c:pt idx="1193">
                  <c:v>41942</c:v>
                </c:pt>
                <c:pt idx="1194">
                  <c:v>41943</c:v>
                </c:pt>
                <c:pt idx="1195">
                  <c:v>41948</c:v>
                </c:pt>
                <c:pt idx="1196">
                  <c:v>41949</c:v>
                </c:pt>
                <c:pt idx="1197">
                  <c:v>41950</c:v>
                </c:pt>
                <c:pt idx="1198">
                  <c:v>41953</c:v>
                </c:pt>
                <c:pt idx="1199">
                  <c:v>41954</c:v>
                </c:pt>
                <c:pt idx="1200">
                  <c:v>41955</c:v>
                </c:pt>
                <c:pt idx="1201">
                  <c:v>41956</c:v>
                </c:pt>
                <c:pt idx="1202">
                  <c:v>41957</c:v>
                </c:pt>
                <c:pt idx="1203">
                  <c:v>41960</c:v>
                </c:pt>
                <c:pt idx="1204">
                  <c:v>41961</c:v>
                </c:pt>
                <c:pt idx="1205">
                  <c:v>41962</c:v>
                </c:pt>
                <c:pt idx="1206">
                  <c:v>41963</c:v>
                </c:pt>
                <c:pt idx="1207">
                  <c:v>41964</c:v>
                </c:pt>
                <c:pt idx="1208">
                  <c:v>41967</c:v>
                </c:pt>
                <c:pt idx="1209">
                  <c:v>41968</c:v>
                </c:pt>
                <c:pt idx="1210">
                  <c:v>41969</c:v>
                </c:pt>
                <c:pt idx="1211">
                  <c:v>41970</c:v>
                </c:pt>
                <c:pt idx="1212">
                  <c:v>41971</c:v>
                </c:pt>
                <c:pt idx="1213">
                  <c:v>41974</c:v>
                </c:pt>
                <c:pt idx="1214">
                  <c:v>41975</c:v>
                </c:pt>
                <c:pt idx="1215">
                  <c:v>41976</c:v>
                </c:pt>
                <c:pt idx="1216">
                  <c:v>41977</c:v>
                </c:pt>
                <c:pt idx="1217">
                  <c:v>41978</c:v>
                </c:pt>
                <c:pt idx="1218">
                  <c:v>41981</c:v>
                </c:pt>
                <c:pt idx="1219">
                  <c:v>41982</c:v>
                </c:pt>
                <c:pt idx="1220">
                  <c:v>41983</c:v>
                </c:pt>
                <c:pt idx="1221">
                  <c:v>41984</c:v>
                </c:pt>
                <c:pt idx="1222">
                  <c:v>41985</c:v>
                </c:pt>
                <c:pt idx="1223">
                  <c:v>41988</c:v>
                </c:pt>
                <c:pt idx="1224">
                  <c:v>41989</c:v>
                </c:pt>
                <c:pt idx="1225">
                  <c:v>41990</c:v>
                </c:pt>
                <c:pt idx="1226">
                  <c:v>41991</c:v>
                </c:pt>
                <c:pt idx="1227">
                  <c:v>41992</c:v>
                </c:pt>
                <c:pt idx="1228">
                  <c:v>41995</c:v>
                </c:pt>
                <c:pt idx="1229">
                  <c:v>41996</c:v>
                </c:pt>
                <c:pt idx="1230">
                  <c:v>41997</c:v>
                </c:pt>
                <c:pt idx="1231">
                  <c:v>41998</c:v>
                </c:pt>
                <c:pt idx="1232">
                  <c:v>41999</c:v>
                </c:pt>
                <c:pt idx="1233">
                  <c:v>42016</c:v>
                </c:pt>
                <c:pt idx="1234">
                  <c:v>42017</c:v>
                </c:pt>
                <c:pt idx="1235">
                  <c:v>42018</c:v>
                </c:pt>
                <c:pt idx="1236">
                  <c:v>42019</c:v>
                </c:pt>
                <c:pt idx="1237">
                  <c:v>42020</c:v>
                </c:pt>
                <c:pt idx="1238">
                  <c:v>42023</c:v>
                </c:pt>
                <c:pt idx="1239">
                  <c:v>42024</c:v>
                </c:pt>
                <c:pt idx="1240">
                  <c:v>42025</c:v>
                </c:pt>
                <c:pt idx="1241">
                  <c:v>42026</c:v>
                </c:pt>
                <c:pt idx="1242">
                  <c:v>42027</c:v>
                </c:pt>
                <c:pt idx="1243">
                  <c:v>42030</c:v>
                </c:pt>
                <c:pt idx="1244">
                  <c:v>42031</c:v>
                </c:pt>
              </c:numCache>
            </c:numRef>
          </c:cat>
          <c:val>
            <c:numRef>
              <c:f>Индексы_Мир_СПбМТСБ!$B$218:$B$1462</c:f>
              <c:numCache>
                <c:formatCode>General</c:formatCode>
                <c:ptCount val="1245"/>
                <c:pt idx="0">
                  <c:v>81.290000000000006</c:v>
                </c:pt>
                <c:pt idx="1">
                  <c:v>79.63</c:v>
                </c:pt>
                <c:pt idx="2">
                  <c:v>78.8</c:v>
                </c:pt>
                <c:pt idx="3">
                  <c:v>78.42</c:v>
                </c:pt>
                <c:pt idx="4">
                  <c:v>77.150000000000006</c:v>
                </c:pt>
                <c:pt idx="5">
                  <c:v>77.2</c:v>
                </c:pt>
                <c:pt idx="6">
                  <c:v>77.08</c:v>
                </c:pt>
                <c:pt idx="7">
                  <c:v>77.72</c:v>
                </c:pt>
                <c:pt idx="8">
                  <c:v>74.62</c:v>
                </c:pt>
                <c:pt idx="9">
                  <c:v>72.42</c:v>
                </c:pt>
                <c:pt idx="10">
                  <c:v>72.38</c:v>
                </c:pt>
                <c:pt idx="11">
                  <c:v>73.14</c:v>
                </c:pt>
                <c:pt idx="12">
                  <c:v>72.28</c:v>
                </c:pt>
                <c:pt idx="13">
                  <c:v>72.260000000000005</c:v>
                </c:pt>
                <c:pt idx="14">
                  <c:v>71.37</c:v>
                </c:pt>
                <c:pt idx="15">
                  <c:v>73.61</c:v>
                </c:pt>
                <c:pt idx="16">
                  <c:v>76.16</c:v>
                </c:pt>
                <c:pt idx="17">
                  <c:v>75.849999999999994</c:v>
                </c:pt>
                <c:pt idx="18">
                  <c:v>71.86</c:v>
                </c:pt>
                <c:pt idx="19">
                  <c:v>70.28</c:v>
                </c:pt>
                <c:pt idx="20">
                  <c:v>69.88</c:v>
                </c:pt>
                <c:pt idx="21">
                  <c:v>72.16</c:v>
                </c:pt>
                <c:pt idx="22">
                  <c:v>73.13</c:v>
                </c:pt>
                <c:pt idx="23">
                  <c:v>73.94</c:v>
                </c:pt>
                <c:pt idx="24">
                  <c:v>73.099999999999994</c:v>
                </c:pt>
                <c:pt idx="25">
                  <c:v>72.63</c:v>
                </c:pt>
                <c:pt idx="26">
                  <c:v>75.739999999999995</c:v>
                </c:pt>
                <c:pt idx="27">
                  <c:v>76.430000000000007</c:v>
                </c:pt>
                <c:pt idx="28">
                  <c:v>77.86</c:v>
                </c:pt>
                <c:pt idx="29">
                  <c:v>76.45</c:v>
                </c:pt>
                <c:pt idx="30">
                  <c:v>77.650000000000006</c:v>
                </c:pt>
                <c:pt idx="31">
                  <c:v>78.03</c:v>
                </c:pt>
                <c:pt idx="32">
                  <c:v>77.069999999999993</c:v>
                </c:pt>
                <c:pt idx="33">
                  <c:v>78.239999999999995</c:v>
                </c:pt>
                <c:pt idx="34">
                  <c:v>79.5</c:v>
                </c:pt>
                <c:pt idx="35">
                  <c:v>79.02</c:v>
                </c:pt>
                <c:pt idx="36">
                  <c:v>80.08</c:v>
                </c:pt>
                <c:pt idx="37">
                  <c:v>80.180000000000007</c:v>
                </c:pt>
                <c:pt idx="38">
                  <c:v>80.58</c:v>
                </c:pt>
                <c:pt idx="39">
                  <c:v>80.900000000000006</c:v>
                </c:pt>
                <c:pt idx="40">
                  <c:v>79.94</c:v>
                </c:pt>
                <c:pt idx="41">
                  <c:v>79.98</c:v>
                </c:pt>
                <c:pt idx="42">
                  <c:v>78.78</c:v>
                </c:pt>
                <c:pt idx="43">
                  <c:v>80.81</c:v>
                </c:pt>
                <c:pt idx="44">
                  <c:v>81.8</c:v>
                </c:pt>
                <c:pt idx="45">
                  <c:v>79.790000000000006</c:v>
                </c:pt>
                <c:pt idx="46">
                  <c:v>79.8</c:v>
                </c:pt>
                <c:pt idx="47">
                  <c:v>80.790000000000006</c:v>
                </c:pt>
                <c:pt idx="48">
                  <c:v>79.36</c:v>
                </c:pt>
                <c:pt idx="49">
                  <c:v>79.3</c:v>
                </c:pt>
                <c:pt idx="50">
                  <c:v>79.41</c:v>
                </c:pt>
                <c:pt idx="51">
                  <c:v>81.47</c:v>
                </c:pt>
                <c:pt idx="52">
                  <c:v>81.34</c:v>
                </c:pt>
                <c:pt idx="53">
                  <c:v>82.17</c:v>
                </c:pt>
                <c:pt idx="54">
                  <c:v>84.22</c:v>
                </c:pt>
                <c:pt idx="55">
                  <c:v>84.42</c:v>
                </c:pt>
                <c:pt idx="56">
                  <c:v>85.97</c:v>
                </c:pt>
                <c:pt idx="57">
                  <c:v>86.11</c:v>
                </c:pt>
                <c:pt idx="58">
                  <c:v>85.37</c:v>
                </c:pt>
                <c:pt idx="59">
                  <c:v>85.07</c:v>
                </c:pt>
                <c:pt idx="60">
                  <c:v>84.78</c:v>
                </c:pt>
                <c:pt idx="61">
                  <c:v>85.73</c:v>
                </c:pt>
                <c:pt idx="62">
                  <c:v>85.53</c:v>
                </c:pt>
                <c:pt idx="63">
                  <c:v>86.94</c:v>
                </c:pt>
                <c:pt idx="64">
                  <c:v>87.64</c:v>
                </c:pt>
                <c:pt idx="65">
                  <c:v>85.89</c:v>
                </c:pt>
                <c:pt idx="66">
                  <c:v>85.66</c:v>
                </c:pt>
                <c:pt idx="67">
                  <c:v>84.77</c:v>
                </c:pt>
                <c:pt idx="68">
                  <c:v>85.93</c:v>
                </c:pt>
                <c:pt idx="69">
                  <c:v>85.75</c:v>
                </c:pt>
                <c:pt idx="70">
                  <c:v>87.24</c:v>
                </c:pt>
                <c:pt idx="71">
                  <c:v>87.21</c:v>
                </c:pt>
                <c:pt idx="72">
                  <c:v>85.33</c:v>
                </c:pt>
                <c:pt idx="73">
                  <c:v>85.97</c:v>
                </c:pt>
                <c:pt idx="74">
                  <c:v>86.95</c:v>
                </c:pt>
                <c:pt idx="75">
                  <c:v>87.35</c:v>
                </c:pt>
                <c:pt idx="76">
                  <c:v>87.47</c:v>
                </c:pt>
                <c:pt idx="77">
                  <c:v>82.51</c:v>
                </c:pt>
                <c:pt idx="78">
                  <c:v>79.569999999999993</c:v>
                </c:pt>
                <c:pt idx="79">
                  <c:v>78.569999999999993</c:v>
                </c:pt>
                <c:pt idx="80">
                  <c:v>78.58</c:v>
                </c:pt>
                <c:pt idx="81">
                  <c:v>81.69</c:v>
                </c:pt>
                <c:pt idx="82">
                  <c:v>81.150000000000006</c:v>
                </c:pt>
                <c:pt idx="83">
                  <c:v>78.11</c:v>
                </c:pt>
                <c:pt idx="84">
                  <c:v>78.5</c:v>
                </c:pt>
                <c:pt idx="85">
                  <c:v>74.58</c:v>
                </c:pt>
                <c:pt idx="86">
                  <c:v>73.88</c:v>
                </c:pt>
                <c:pt idx="87">
                  <c:v>71.14</c:v>
                </c:pt>
                <c:pt idx="88">
                  <c:v>71.8</c:v>
                </c:pt>
                <c:pt idx="89">
                  <c:v>71.11</c:v>
                </c:pt>
                <c:pt idx="90">
                  <c:v>69.959999999999994</c:v>
                </c:pt>
                <c:pt idx="91">
                  <c:v>71.41</c:v>
                </c:pt>
                <c:pt idx="92">
                  <c:v>74.819999999999993</c:v>
                </c:pt>
                <c:pt idx="93">
                  <c:v>74.12</c:v>
                </c:pt>
                <c:pt idx="94">
                  <c:v>74.2</c:v>
                </c:pt>
                <c:pt idx="95">
                  <c:v>74.599999999999994</c:v>
                </c:pt>
                <c:pt idx="96">
                  <c:v>72.31</c:v>
                </c:pt>
                <c:pt idx="97">
                  <c:v>74.45</c:v>
                </c:pt>
                <c:pt idx="98">
                  <c:v>75.400000000000006</c:v>
                </c:pt>
                <c:pt idx="99">
                  <c:v>71.66</c:v>
                </c:pt>
                <c:pt idx="100">
                  <c:v>72.39</c:v>
                </c:pt>
                <c:pt idx="101">
                  <c:v>73.92</c:v>
                </c:pt>
                <c:pt idx="102">
                  <c:v>76.319999999999993</c:v>
                </c:pt>
                <c:pt idx="103">
                  <c:v>75.52</c:v>
                </c:pt>
                <c:pt idx="104">
                  <c:v>75.59</c:v>
                </c:pt>
                <c:pt idx="105">
                  <c:v>75.31</c:v>
                </c:pt>
                <c:pt idx="106">
                  <c:v>77.31</c:v>
                </c:pt>
                <c:pt idx="107">
                  <c:v>78.400000000000006</c:v>
                </c:pt>
                <c:pt idx="108">
                  <c:v>78.42</c:v>
                </c:pt>
                <c:pt idx="109">
                  <c:v>77.849999999999994</c:v>
                </c:pt>
                <c:pt idx="110">
                  <c:v>75.8</c:v>
                </c:pt>
                <c:pt idx="111">
                  <c:v>76.260000000000005</c:v>
                </c:pt>
                <c:pt idx="112">
                  <c:v>78.45</c:v>
                </c:pt>
                <c:pt idx="113">
                  <c:v>78.41</c:v>
                </c:pt>
                <c:pt idx="114">
                  <c:v>75.069999999999993</c:v>
                </c:pt>
                <c:pt idx="115">
                  <c:v>74.66</c:v>
                </c:pt>
                <c:pt idx="116">
                  <c:v>72.17</c:v>
                </c:pt>
                <c:pt idx="117">
                  <c:v>71.760000000000005</c:v>
                </c:pt>
                <c:pt idx="118">
                  <c:v>71.930000000000007</c:v>
                </c:pt>
                <c:pt idx="119">
                  <c:v>71.75</c:v>
                </c:pt>
                <c:pt idx="120">
                  <c:v>73.94</c:v>
                </c:pt>
                <c:pt idx="121">
                  <c:v>75.2</c:v>
                </c:pt>
                <c:pt idx="122">
                  <c:v>75.5</c:v>
                </c:pt>
                <c:pt idx="123">
                  <c:v>75.16</c:v>
                </c:pt>
                <c:pt idx="124">
                  <c:v>76.77</c:v>
                </c:pt>
                <c:pt idx="125">
                  <c:v>76.540000000000006</c:v>
                </c:pt>
                <c:pt idx="126">
                  <c:v>76.290000000000006</c:v>
                </c:pt>
                <c:pt idx="127">
                  <c:v>75.34</c:v>
                </c:pt>
                <c:pt idx="128">
                  <c:v>75.349999999999994</c:v>
                </c:pt>
                <c:pt idx="129">
                  <c:v>76.44</c:v>
                </c:pt>
                <c:pt idx="130">
                  <c:v>75.19</c:v>
                </c:pt>
                <c:pt idx="131">
                  <c:v>77.59</c:v>
                </c:pt>
                <c:pt idx="132">
                  <c:v>77.63</c:v>
                </c:pt>
                <c:pt idx="133">
                  <c:v>77.34</c:v>
                </c:pt>
                <c:pt idx="134">
                  <c:v>75.599999999999994</c:v>
                </c:pt>
                <c:pt idx="135">
                  <c:v>76</c:v>
                </c:pt>
                <c:pt idx="136">
                  <c:v>77.349999999999994</c:v>
                </c:pt>
                <c:pt idx="137">
                  <c:v>78.260000000000005</c:v>
                </c:pt>
                <c:pt idx="138">
                  <c:v>78.17</c:v>
                </c:pt>
                <c:pt idx="139">
                  <c:v>82.7</c:v>
                </c:pt>
                <c:pt idx="140">
                  <c:v>82.1</c:v>
                </c:pt>
                <c:pt idx="141">
                  <c:v>81.73</c:v>
                </c:pt>
                <c:pt idx="142">
                  <c:v>80.36</c:v>
                </c:pt>
                <c:pt idx="143">
                  <c:v>80.3</c:v>
                </c:pt>
                <c:pt idx="144">
                  <c:v>79.97</c:v>
                </c:pt>
                <c:pt idx="145">
                  <c:v>77.67</c:v>
                </c:pt>
                <c:pt idx="146">
                  <c:v>75.88</c:v>
                </c:pt>
                <c:pt idx="147">
                  <c:v>75.739999999999995</c:v>
                </c:pt>
                <c:pt idx="148">
                  <c:v>75.2</c:v>
                </c:pt>
                <c:pt idx="149">
                  <c:v>76.89</c:v>
                </c:pt>
                <c:pt idx="150">
                  <c:v>76.3</c:v>
                </c:pt>
                <c:pt idx="151">
                  <c:v>75.38</c:v>
                </c:pt>
                <c:pt idx="152">
                  <c:v>74.430000000000007</c:v>
                </c:pt>
                <c:pt idx="153">
                  <c:v>74.33</c:v>
                </c:pt>
                <c:pt idx="154">
                  <c:v>72.180000000000007</c:v>
                </c:pt>
                <c:pt idx="155">
                  <c:v>73.72</c:v>
                </c:pt>
                <c:pt idx="156">
                  <c:v>74.88</c:v>
                </c:pt>
                <c:pt idx="157">
                  <c:v>76.87</c:v>
                </c:pt>
                <c:pt idx="158">
                  <c:v>76.930000000000007</c:v>
                </c:pt>
                <c:pt idx="159">
                  <c:v>74.42</c:v>
                </c:pt>
                <c:pt idx="160">
                  <c:v>76.37</c:v>
                </c:pt>
                <c:pt idx="161">
                  <c:v>76.89</c:v>
                </c:pt>
                <c:pt idx="162">
                  <c:v>76.569999999999993</c:v>
                </c:pt>
                <c:pt idx="163">
                  <c:v>76.62</c:v>
                </c:pt>
                <c:pt idx="164">
                  <c:v>77.260000000000005</c:v>
                </c:pt>
                <c:pt idx="165">
                  <c:v>77.930000000000007</c:v>
                </c:pt>
                <c:pt idx="166">
                  <c:v>77.209999999999994</c:v>
                </c:pt>
                <c:pt idx="167">
                  <c:v>78.41</c:v>
                </c:pt>
                <c:pt idx="168">
                  <c:v>78.36</c:v>
                </c:pt>
                <c:pt idx="169">
                  <c:v>79.099999999999994</c:v>
                </c:pt>
                <c:pt idx="170">
                  <c:v>79.2</c:v>
                </c:pt>
                <c:pt idx="171">
                  <c:v>78.47</c:v>
                </c:pt>
                <c:pt idx="172">
                  <c:v>77.97</c:v>
                </c:pt>
                <c:pt idx="173">
                  <c:v>78.23</c:v>
                </c:pt>
                <c:pt idx="174">
                  <c:v>78.099999999999994</c:v>
                </c:pt>
                <c:pt idx="175">
                  <c:v>77.98</c:v>
                </c:pt>
                <c:pt idx="176">
                  <c:v>77.930000000000007</c:v>
                </c:pt>
                <c:pt idx="177">
                  <c:v>78.8</c:v>
                </c:pt>
                <c:pt idx="178">
                  <c:v>78.94</c:v>
                </c:pt>
                <c:pt idx="179">
                  <c:v>78.849999999999994</c:v>
                </c:pt>
                <c:pt idx="180">
                  <c:v>80.67</c:v>
                </c:pt>
                <c:pt idx="181">
                  <c:v>82.11</c:v>
                </c:pt>
                <c:pt idx="182">
                  <c:v>83.81</c:v>
                </c:pt>
                <c:pt idx="183">
                  <c:v>83.69</c:v>
                </c:pt>
                <c:pt idx="184">
                  <c:v>84.65</c:v>
                </c:pt>
                <c:pt idx="185">
                  <c:v>85.3</c:v>
                </c:pt>
                <c:pt idx="186">
                  <c:v>83.11</c:v>
                </c:pt>
                <c:pt idx="187">
                  <c:v>84.19</c:v>
                </c:pt>
                <c:pt idx="188">
                  <c:v>84.33</c:v>
                </c:pt>
                <c:pt idx="189">
                  <c:v>83.39</c:v>
                </c:pt>
                <c:pt idx="190">
                  <c:v>84.84</c:v>
                </c:pt>
                <c:pt idx="191">
                  <c:v>84.02</c:v>
                </c:pt>
                <c:pt idx="192">
                  <c:v>82.76</c:v>
                </c:pt>
                <c:pt idx="193">
                  <c:v>82.52</c:v>
                </c:pt>
                <c:pt idx="194">
                  <c:v>80.89</c:v>
                </c:pt>
                <c:pt idx="195">
                  <c:v>83.65</c:v>
                </c:pt>
                <c:pt idx="196">
                  <c:v>82.04</c:v>
                </c:pt>
                <c:pt idx="197">
                  <c:v>82.9</c:v>
                </c:pt>
                <c:pt idx="198">
                  <c:v>82.95</c:v>
                </c:pt>
                <c:pt idx="199">
                  <c:v>83.5</c:v>
                </c:pt>
                <c:pt idx="200">
                  <c:v>83.34</c:v>
                </c:pt>
                <c:pt idx="201">
                  <c:v>83.55</c:v>
                </c:pt>
                <c:pt idx="202">
                  <c:v>83.14</c:v>
                </c:pt>
                <c:pt idx="203">
                  <c:v>83.26</c:v>
                </c:pt>
                <c:pt idx="204">
                  <c:v>85.65</c:v>
                </c:pt>
                <c:pt idx="205">
                  <c:v>86.57</c:v>
                </c:pt>
                <c:pt idx="206">
                  <c:v>88.13</c:v>
                </c:pt>
                <c:pt idx="207">
                  <c:v>88.47</c:v>
                </c:pt>
                <c:pt idx="208">
                  <c:v>89</c:v>
                </c:pt>
                <c:pt idx="209">
                  <c:v>88.72</c:v>
                </c:pt>
                <c:pt idx="210">
                  <c:v>86.21</c:v>
                </c:pt>
                <c:pt idx="211">
                  <c:v>86.54</c:v>
                </c:pt>
                <c:pt idx="212">
                  <c:v>86.54</c:v>
                </c:pt>
                <c:pt idx="213">
                  <c:v>84.75</c:v>
                </c:pt>
                <c:pt idx="214">
                  <c:v>83.16</c:v>
                </c:pt>
                <c:pt idx="215">
                  <c:v>85.35</c:v>
                </c:pt>
                <c:pt idx="216">
                  <c:v>84.13</c:v>
                </c:pt>
                <c:pt idx="217">
                  <c:v>84.68</c:v>
                </c:pt>
                <c:pt idx="218">
                  <c:v>83</c:v>
                </c:pt>
                <c:pt idx="219">
                  <c:v>86.21</c:v>
                </c:pt>
                <c:pt idx="220">
                  <c:v>85.91</c:v>
                </c:pt>
                <c:pt idx="221">
                  <c:v>85.8</c:v>
                </c:pt>
                <c:pt idx="222">
                  <c:v>85.79</c:v>
                </c:pt>
                <c:pt idx="223">
                  <c:v>85.45</c:v>
                </c:pt>
                <c:pt idx="224">
                  <c:v>88.92</c:v>
                </c:pt>
                <c:pt idx="225">
                  <c:v>90.64</c:v>
                </c:pt>
                <c:pt idx="226">
                  <c:v>91.68</c:v>
                </c:pt>
                <c:pt idx="227">
                  <c:v>91.73</c:v>
                </c:pt>
                <c:pt idx="228">
                  <c:v>90.9</c:v>
                </c:pt>
                <c:pt idx="229">
                  <c:v>91.18</c:v>
                </c:pt>
                <c:pt idx="230">
                  <c:v>90.97</c:v>
                </c:pt>
                <c:pt idx="231">
                  <c:v>90.73</c:v>
                </c:pt>
                <c:pt idx="232">
                  <c:v>90.95</c:v>
                </c:pt>
                <c:pt idx="233">
                  <c:v>91.48</c:v>
                </c:pt>
                <c:pt idx="234">
                  <c:v>91.9</c:v>
                </c:pt>
                <c:pt idx="235">
                  <c:v>91.81</c:v>
                </c:pt>
                <c:pt idx="236">
                  <c:v>91.75</c:v>
                </c:pt>
                <c:pt idx="237">
                  <c:v>91.93</c:v>
                </c:pt>
                <c:pt idx="238">
                  <c:v>92.6</c:v>
                </c:pt>
                <c:pt idx="239">
                  <c:v>93.8</c:v>
                </c:pt>
                <c:pt idx="240">
                  <c:v>94.32</c:v>
                </c:pt>
                <c:pt idx="241">
                  <c:v>93.46</c:v>
                </c:pt>
                <c:pt idx="242">
                  <c:v>93.55</c:v>
                </c:pt>
                <c:pt idx="243">
                  <c:v>94.21</c:v>
                </c:pt>
                <c:pt idx="244">
                  <c:v>94.03</c:v>
                </c:pt>
                <c:pt idx="245">
                  <c:v>92.71</c:v>
                </c:pt>
                <c:pt idx="246">
                  <c:v>97.51</c:v>
                </c:pt>
                <c:pt idx="247">
                  <c:v>98.33</c:v>
                </c:pt>
                <c:pt idx="248">
                  <c:v>98.4</c:v>
                </c:pt>
                <c:pt idx="249">
                  <c:v>98.68</c:v>
                </c:pt>
                <c:pt idx="250">
                  <c:v>98.42</c:v>
                </c:pt>
                <c:pt idx="251">
                  <c:v>97.53</c:v>
                </c:pt>
                <c:pt idx="252">
                  <c:v>97.95</c:v>
                </c:pt>
                <c:pt idx="253">
                  <c:v>96.42</c:v>
                </c:pt>
                <c:pt idx="254">
                  <c:v>97.59</c:v>
                </c:pt>
                <c:pt idx="255">
                  <c:v>97.55</c:v>
                </c:pt>
                <c:pt idx="256">
                  <c:v>95.27</c:v>
                </c:pt>
                <c:pt idx="257">
                  <c:v>98.2</c:v>
                </c:pt>
                <c:pt idx="258">
                  <c:v>97.15</c:v>
                </c:pt>
                <c:pt idx="259">
                  <c:v>99.33</c:v>
                </c:pt>
                <c:pt idx="260">
                  <c:v>99.81</c:v>
                </c:pt>
                <c:pt idx="261">
                  <c:v>101.62</c:v>
                </c:pt>
                <c:pt idx="262">
                  <c:v>102.35</c:v>
                </c:pt>
                <c:pt idx="263">
                  <c:v>101.75</c:v>
                </c:pt>
                <c:pt idx="264">
                  <c:v>100.1</c:v>
                </c:pt>
                <c:pt idx="265">
                  <c:v>100.35</c:v>
                </c:pt>
                <c:pt idx="266">
                  <c:v>100.23</c:v>
                </c:pt>
                <c:pt idx="267">
                  <c:v>102.02</c:v>
                </c:pt>
                <c:pt idx="268">
                  <c:v>101.73</c:v>
                </c:pt>
                <c:pt idx="269">
                  <c:v>101.43</c:v>
                </c:pt>
                <c:pt idx="270">
                  <c:v>101.55</c:v>
                </c:pt>
                <c:pt idx="271">
                  <c:v>101.83</c:v>
                </c:pt>
                <c:pt idx="272">
                  <c:v>104.29</c:v>
                </c:pt>
                <c:pt idx="273">
                  <c:v>102.97</c:v>
                </c:pt>
                <c:pt idx="274">
                  <c:v>102.82</c:v>
                </c:pt>
                <c:pt idx="275">
                  <c:v>103.35</c:v>
                </c:pt>
                <c:pt idx="276">
                  <c:v>106.37</c:v>
                </c:pt>
                <c:pt idx="277">
                  <c:v>112.21</c:v>
                </c:pt>
                <c:pt idx="278">
                  <c:v>112.43</c:v>
                </c:pt>
                <c:pt idx="279">
                  <c:v>113.88</c:v>
                </c:pt>
                <c:pt idx="280">
                  <c:v>116.32</c:v>
                </c:pt>
                <c:pt idx="281">
                  <c:v>116.48</c:v>
                </c:pt>
                <c:pt idx="282">
                  <c:v>114.59</c:v>
                </c:pt>
                <c:pt idx="283">
                  <c:v>115.99</c:v>
                </c:pt>
                <c:pt idx="284">
                  <c:v>116.35</c:v>
                </c:pt>
                <c:pt idx="285">
                  <c:v>114.7</c:v>
                </c:pt>
                <c:pt idx="286">
                  <c:v>115.14</c:v>
                </c:pt>
                <c:pt idx="287">
                  <c:v>113.44</c:v>
                </c:pt>
                <c:pt idx="288">
                  <c:v>113.86</c:v>
                </c:pt>
                <c:pt idx="289">
                  <c:v>108.19</c:v>
                </c:pt>
                <c:pt idx="290">
                  <c:v>110.4</c:v>
                </c:pt>
                <c:pt idx="291">
                  <c:v>115</c:v>
                </c:pt>
                <c:pt idx="292">
                  <c:v>114.49</c:v>
                </c:pt>
                <c:pt idx="293">
                  <c:v>115.65</c:v>
                </c:pt>
                <c:pt idx="294">
                  <c:v>116.09</c:v>
                </c:pt>
                <c:pt idx="295">
                  <c:v>115.27</c:v>
                </c:pt>
                <c:pt idx="296">
                  <c:v>115.75</c:v>
                </c:pt>
                <c:pt idx="297">
                  <c:v>116.02</c:v>
                </c:pt>
                <c:pt idx="298">
                  <c:v>115.66</c:v>
                </c:pt>
                <c:pt idx="299">
                  <c:v>115.09</c:v>
                </c:pt>
                <c:pt idx="300">
                  <c:v>115.12</c:v>
                </c:pt>
                <c:pt idx="301">
                  <c:v>117.17</c:v>
                </c:pt>
                <c:pt idx="302">
                  <c:v>119.1</c:v>
                </c:pt>
                <c:pt idx="303">
                  <c:v>120.86</c:v>
                </c:pt>
                <c:pt idx="304">
                  <c:v>121.6</c:v>
                </c:pt>
                <c:pt idx="305">
                  <c:v>122.1</c:v>
                </c:pt>
                <c:pt idx="306">
                  <c:v>122.56</c:v>
                </c:pt>
                <c:pt idx="307">
                  <c:v>126.9</c:v>
                </c:pt>
                <c:pt idx="308">
                  <c:v>126.28</c:v>
                </c:pt>
                <c:pt idx="309">
                  <c:v>120.7</c:v>
                </c:pt>
                <c:pt idx="310">
                  <c:v>122.62</c:v>
                </c:pt>
                <c:pt idx="311">
                  <c:v>122.2</c:v>
                </c:pt>
                <c:pt idx="312">
                  <c:v>123.73</c:v>
                </c:pt>
                <c:pt idx="313">
                  <c:v>123.51</c:v>
                </c:pt>
                <c:pt idx="314">
                  <c:v>121.29</c:v>
                </c:pt>
                <c:pt idx="315">
                  <c:v>123.9</c:v>
                </c:pt>
                <c:pt idx="316">
                  <c:v>124.04</c:v>
                </c:pt>
                <c:pt idx="317">
                  <c:v>124.23</c:v>
                </c:pt>
                <c:pt idx="318">
                  <c:v>123.55</c:v>
                </c:pt>
                <c:pt idx="319">
                  <c:v>123.7</c:v>
                </c:pt>
                <c:pt idx="320">
                  <c:v>125.47</c:v>
                </c:pt>
                <c:pt idx="321">
                  <c:v>124.59</c:v>
                </c:pt>
                <c:pt idx="322">
                  <c:v>126.03</c:v>
                </c:pt>
                <c:pt idx="323">
                  <c:v>122.15</c:v>
                </c:pt>
                <c:pt idx="324">
                  <c:v>120.64</c:v>
                </c:pt>
                <c:pt idx="325">
                  <c:v>110.74</c:v>
                </c:pt>
                <c:pt idx="326">
                  <c:v>109.24</c:v>
                </c:pt>
                <c:pt idx="327">
                  <c:v>109.65</c:v>
                </c:pt>
                <c:pt idx="328">
                  <c:v>115.52</c:v>
                </c:pt>
                <c:pt idx="329">
                  <c:v>117.24</c:v>
                </c:pt>
                <c:pt idx="330">
                  <c:v>113.26</c:v>
                </c:pt>
                <c:pt idx="331">
                  <c:v>112.57</c:v>
                </c:pt>
                <c:pt idx="332">
                  <c:v>110.58</c:v>
                </c:pt>
                <c:pt idx="333">
                  <c:v>112.3</c:v>
                </c:pt>
                <c:pt idx="334">
                  <c:v>111.4</c:v>
                </c:pt>
                <c:pt idx="335">
                  <c:v>112.42</c:v>
                </c:pt>
                <c:pt idx="336">
                  <c:v>111.9</c:v>
                </c:pt>
                <c:pt idx="337">
                  <c:v>109.9</c:v>
                </c:pt>
                <c:pt idx="338">
                  <c:v>112.3</c:v>
                </c:pt>
                <c:pt idx="339">
                  <c:v>115</c:v>
                </c:pt>
                <c:pt idx="340">
                  <c:v>114.99</c:v>
                </c:pt>
                <c:pt idx="341">
                  <c:v>115</c:v>
                </c:pt>
                <c:pt idx="342">
                  <c:v>114.54</c:v>
                </c:pt>
                <c:pt idx="343">
                  <c:v>114.03</c:v>
                </c:pt>
                <c:pt idx="344">
                  <c:v>115.89</c:v>
                </c:pt>
                <c:pt idx="345">
                  <c:v>116.05</c:v>
                </c:pt>
                <c:pt idx="346">
                  <c:v>116.1</c:v>
                </c:pt>
                <c:pt idx="347">
                  <c:v>119.1</c:v>
                </c:pt>
                <c:pt idx="348">
                  <c:v>117.97</c:v>
                </c:pt>
                <c:pt idx="349">
                  <c:v>117.92</c:v>
                </c:pt>
                <c:pt idx="350">
                  <c:v>118.08</c:v>
                </c:pt>
                <c:pt idx="351">
                  <c:v>119.11</c:v>
                </c:pt>
                <c:pt idx="352">
                  <c:v>113.2</c:v>
                </c:pt>
                <c:pt idx="353">
                  <c:v>113.06</c:v>
                </c:pt>
                <c:pt idx="354">
                  <c:v>111.58</c:v>
                </c:pt>
                <c:pt idx="355">
                  <c:v>110.7</c:v>
                </c:pt>
                <c:pt idx="356">
                  <c:v>113.25</c:v>
                </c:pt>
                <c:pt idx="357">
                  <c:v>105.67</c:v>
                </c:pt>
                <c:pt idx="358">
                  <c:v>105.05</c:v>
                </c:pt>
                <c:pt idx="359">
                  <c:v>106.67</c:v>
                </c:pt>
                <c:pt idx="360">
                  <c:v>108.87</c:v>
                </c:pt>
                <c:pt idx="361">
                  <c:v>112.6</c:v>
                </c:pt>
                <c:pt idx="362">
                  <c:v>111.24</c:v>
                </c:pt>
                <c:pt idx="363">
                  <c:v>111.89</c:v>
                </c:pt>
                <c:pt idx="364">
                  <c:v>113.83</c:v>
                </c:pt>
                <c:pt idx="365">
                  <c:v>114.3</c:v>
                </c:pt>
                <c:pt idx="366">
                  <c:v>118.3</c:v>
                </c:pt>
                <c:pt idx="367">
                  <c:v>118.3</c:v>
                </c:pt>
                <c:pt idx="368">
                  <c:v>117.25</c:v>
                </c:pt>
                <c:pt idx="369">
                  <c:v>116.07</c:v>
                </c:pt>
                <c:pt idx="370">
                  <c:v>117.55</c:v>
                </c:pt>
                <c:pt idx="371">
                  <c:v>116.6</c:v>
                </c:pt>
                <c:pt idx="372">
                  <c:v>117.66</c:v>
                </c:pt>
                <c:pt idx="373">
                  <c:v>117.64</c:v>
                </c:pt>
                <c:pt idx="374">
                  <c:v>117.37</c:v>
                </c:pt>
                <c:pt idx="375">
                  <c:v>118.15</c:v>
                </c:pt>
                <c:pt idx="376">
                  <c:v>117.78</c:v>
                </c:pt>
                <c:pt idx="377">
                  <c:v>118.51</c:v>
                </c:pt>
                <c:pt idx="378">
                  <c:v>118.12</c:v>
                </c:pt>
                <c:pt idx="379">
                  <c:v>118</c:v>
                </c:pt>
                <c:pt idx="380">
                  <c:v>117.32</c:v>
                </c:pt>
                <c:pt idx="381">
                  <c:v>117.21</c:v>
                </c:pt>
                <c:pt idx="382">
                  <c:v>116.85</c:v>
                </c:pt>
                <c:pt idx="383">
                  <c:v>117.54</c:v>
                </c:pt>
                <c:pt idx="384">
                  <c:v>115.94</c:v>
                </c:pt>
                <c:pt idx="385">
                  <c:v>113.44</c:v>
                </c:pt>
                <c:pt idx="386">
                  <c:v>107.66</c:v>
                </c:pt>
                <c:pt idx="387">
                  <c:v>109.85</c:v>
                </c:pt>
                <c:pt idx="388">
                  <c:v>106.74</c:v>
                </c:pt>
                <c:pt idx="389">
                  <c:v>104.45</c:v>
                </c:pt>
                <c:pt idx="390">
                  <c:v>105.67</c:v>
                </c:pt>
                <c:pt idx="391">
                  <c:v>107.85</c:v>
                </c:pt>
                <c:pt idx="392">
                  <c:v>107.52</c:v>
                </c:pt>
                <c:pt idx="393">
                  <c:v>107.74</c:v>
                </c:pt>
                <c:pt idx="394">
                  <c:v>109.56</c:v>
                </c:pt>
                <c:pt idx="395">
                  <c:v>110.57</c:v>
                </c:pt>
                <c:pt idx="396">
                  <c:v>106.69</c:v>
                </c:pt>
                <c:pt idx="397">
                  <c:v>109.22</c:v>
                </c:pt>
                <c:pt idx="398">
                  <c:v>110</c:v>
                </c:pt>
                <c:pt idx="399">
                  <c:v>110.48</c:v>
                </c:pt>
                <c:pt idx="400">
                  <c:v>111.25</c:v>
                </c:pt>
                <c:pt idx="401">
                  <c:v>111.2</c:v>
                </c:pt>
                <c:pt idx="402">
                  <c:v>114</c:v>
                </c:pt>
                <c:pt idx="403">
                  <c:v>114.49</c:v>
                </c:pt>
                <c:pt idx="404">
                  <c:v>114.2</c:v>
                </c:pt>
                <c:pt idx="405">
                  <c:v>112.52</c:v>
                </c:pt>
                <c:pt idx="406">
                  <c:v>112.23</c:v>
                </c:pt>
                <c:pt idx="407">
                  <c:v>113.35</c:v>
                </c:pt>
                <c:pt idx="408">
                  <c:v>116.22</c:v>
                </c:pt>
                <c:pt idx="409">
                  <c:v>114.1</c:v>
                </c:pt>
                <c:pt idx="410">
                  <c:v>110.52</c:v>
                </c:pt>
                <c:pt idx="411">
                  <c:v>109.93</c:v>
                </c:pt>
                <c:pt idx="412">
                  <c:v>109.51</c:v>
                </c:pt>
                <c:pt idx="413">
                  <c:v>109.65</c:v>
                </c:pt>
                <c:pt idx="414">
                  <c:v>112.25</c:v>
                </c:pt>
                <c:pt idx="415">
                  <c:v>111.9</c:v>
                </c:pt>
                <c:pt idx="416">
                  <c:v>111.63</c:v>
                </c:pt>
                <c:pt idx="417">
                  <c:v>110.33</c:v>
                </c:pt>
                <c:pt idx="418">
                  <c:v>108.92</c:v>
                </c:pt>
                <c:pt idx="419">
                  <c:v>105.19</c:v>
                </c:pt>
                <c:pt idx="420">
                  <c:v>104.36</c:v>
                </c:pt>
                <c:pt idx="421">
                  <c:v>104.29</c:v>
                </c:pt>
                <c:pt idx="422">
                  <c:v>107.12</c:v>
                </c:pt>
                <c:pt idx="423">
                  <c:v>103.4</c:v>
                </c:pt>
                <c:pt idx="424">
                  <c:v>104.26</c:v>
                </c:pt>
                <c:pt idx="425">
                  <c:v>102.15</c:v>
                </c:pt>
                <c:pt idx="426">
                  <c:v>101.4</c:v>
                </c:pt>
                <c:pt idx="427">
                  <c:v>101.96</c:v>
                </c:pt>
                <c:pt idx="428">
                  <c:v>102.77</c:v>
                </c:pt>
                <c:pt idx="429">
                  <c:v>105.4</c:v>
                </c:pt>
                <c:pt idx="430">
                  <c:v>105.91</c:v>
                </c:pt>
                <c:pt idx="431">
                  <c:v>104.13</c:v>
                </c:pt>
                <c:pt idx="432">
                  <c:v>107.76</c:v>
                </c:pt>
                <c:pt idx="433">
                  <c:v>108.63</c:v>
                </c:pt>
                <c:pt idx="434">
                  <c:v>109.3</c:v>
                </c:pt>
                <c:pt idx="435">
                  <c:v>112.62</c:v>
                </c:pt>
                <c:pt idx="436">
                  <c:v>112.76</c:v>
                </c:pt>
                <c:pt idx="437">
                  <c:v>111.13</c:v>
                </c:pt>
                <c:pt idx="438">
                  <c:v>108.5</c:v>
                </c:pt>
                <c:pt idx="439">
                  <c:v>109.93</c:v>
                </c:pt>
                <c:pt idx="440">
                  <c:v>109.79</c:v>
                </c:pt>
                <c:pt idx="441">
                  <c:v>109.55</c:v>
                </c:pt>
                <c:pt idx="442">
                  <c:v>111.2</c:v>
                </c:pt>
                <c:pt idx="443">
                  <c:v>111.02</c:v>
                </c:pt>
                <c:pt idx="444">
                  <c:v>109.5</c:v>
                </c:pt>
                <c:pt idx="445">
                  <c:v>110.16</c:v>
                </c:pt>
                <c:pt idx="446">
                  <c:v>109.85</c:v>
                </c:pt>
                <c:pt idx="447">
                  <c:v>109.19</c:v>
                </c:pt>
                <c:pt idx="448">
                  <c:v>109.54</c:v>
                </c:pt>
                <c:pt idx="449">
                  <c:v>109.73</c:v>
                </c:pt>
                <c:pt idx="450">
                  <c:v>110.83</c:v>
                </c:pt>
                <c:pt idx="451">
                  <c:v>112.48</c:v>
                </c:pt>
                <c:pt idx="452">
                  <c:v>111.9</c:v>
                </c:pt>
                <c:pt idx="453">
                  <c:v>112.96</c:v>
                </c:pt>
                <c:pt idx="454">
                  <c:v>113.3</c:v>
                </c:pt>
                <c:pt idx="455">
                  <c:v>111.27</c:v>
                </c:pt>
                <c:pt idx="456">
                  <c:v>112.2</c:v>
                </c:pt>
                <c:pt idx="457">
                  <c:v>110.89</c:v>
                </c:pt>
                <c:pt idx="458">
                  <c:v>107.81</c:v>
                </c:pt>
                <c:pt idx="459">
                  <c:v>107.48</c:v>
                </c:pt>
                <c:pt idx="460">
                  <c:v>108.62</c:v>
                </c:pt>
                <c:pt idx="461">
                  <c:v>106.94</c:v>
                </c:pt>
                <c:pt idx="462">
                  <c:v>107.76</c:v>
                </c:pt>
                <c:pt idx="463">
                  <c:v>106.64</c:v>
                </c:pt>
                <c:pt idx="464">
                  <c:v>107.39</c:v>
                </c:pt>
                <c:pt idx="465">
                  <c:v>110.44</c:v>
                </c:pt>
                <c:pt idx="466">
                  <c:v>110.37</c:v>
                </c:pt>
                <c:pt idx="467">
                  <c:v>109.05</c:v>
                </c:pt>
                <c:pt idx="468">
                  <c:v>110.3</c:v>
                </c:pt>
                <c:pt idx="469">
                  <c:v>110.64</c:v>
                </c:pt>
                <c:pt idx="470">
                  <c:v>110.51</c:v>
                </c:pt>
                <c:pt idx="471">
                  <c:v>109.5</c:v>
                </c:pt>
                <c:pt idx="472">
                  <c:v>107.55</c:v>
                </c:pt>
                <c:pt idx="473">
                  <c:v>108.88</c:v>
                </c:pt>
                <c:pt idx="474">
                  <c:v>106.93</c:v>
                </c:pt>
                <c:pt idx="475">
                  <c:v>109.07</c:v>
                </c:pt>
                <c:pt idx="476">
                  <c:v>103.9</c:v>
                </c:pt>
                <c:pt idx="477">
                  <c:v>103.44</c:v>
                </c:pt>
                <c:pt idx="478">
                  <c:v>103.65</c:v>
                </c:pt>
                <c:pt idx="479">
                  <c:v>103.1</c:v>
                </c:pt>
                <c:pt idx="480">
                  <c:v>103.84</c:v>
                </c:pt>
                <c:pt idx="481">
                  <c:v>107</c:v>
                </c:pt>
                <c:pt idx="482">
                  <c:v>107.9</c:v>
                </c:pt>
                <c:pt idx="483">
                  <c:v>107.62</c:v>
                </c:pt>
                <c:pt idx="484">
                  <c:v>108</c:v>
                </c:pt>
                <c:pt idx="485">
                  <c:v>108.96</c:v>
                </c:pt>
                <c:pt idx="486">
                  <c:v>107.41</c:v>
                </c:pt>
                <c:pt idx="487">
                  <c:v>108</c:v>
                </c:pt>
                <c:pt idx="488">
                  <c:v>107.22</c:v>
                </c:pt>
                <c:pt idx="489">
                  <c:v>112.07</c:v>
                </c:pt>
                <c:pt idx="490">
                  <c:v>113.46</c:v>
                </c:pt>
                <c:pt idx="491">
                  <c:v>112.26</c:v>
                </c:pt>
                <c:pt idx="492">
                  <c:v>113.52</c:v>
                </c:pt>
                <c:pt idx="493">
                  <c:v>113.56</c:v>
                </c:pt>
                <c:pt idx="494">
                  <c:v>112.1</c:v>
                </c:pt>
                <c:pt idx="495">
                  <c:v>112.49</c:v>
                </c:pt>
                <c:pt idx="496">
                  <c:v>110.97</c:v>
                </c:pt>
                <c:pt idx="497">
                  <c:v>110.91</c:v>
                </c:pt>
                <c:pt idx="498">
                  <c:v>110.64</c:v>
                </c:pt>
                <c:pt idx="499">
                  <c:v>111.57</c:v>
                </c:pt>
                <c:pt idx="500">
                  <c:v>110.97</c:v>
                </c:pt>
                <c:pt idx="501">
                  <c:v>111.42</c:v>
                </c:pt>
                <c:pt idx="502">
                  <c:v>110.23</c:v>
                </c:pt>
                <c:pt idx="503">
                  <c:v>109.54</c:v>
                </c:pt>
                <c:pt idx="504">
                  <c:v>110.94</c:v>
                </c:pt>
                <c:pt idx="505">
                  <c:v>110.33</c:v>
                </c:pt>
                <c:pt idx="506">
                  <c:v>110.55</c:v>
                </c:pt>
                <c:pt idx="507">
                  <c:v>111.1</c:v>
                </c:pt>
                <c:pt idx="508">
                  <c:v>111.3</c:v>
                </c:pt>
                <c:pt idx="509">
                  <c:v>111.16</c:v>
                </c:pt>
                <c:pt idx="510">
                  <c:v>111.3</c:v>
                </c:pt>
                <c:pt idx="511">
                  <c:v>112.48</c:v>
                </c:pt>
                <c:pt idx="512">
                  <c:v>114.71</c:v>
                </c:pt>
                <c:pt idx="513">
                  <c:v>114.91</c:v>
                </c:pt>
                <c:pt idx="514">
                  <c:v>116.47</c:v>
                </c:pt>
                <c:pt idx="515">
                  <c:v>116.01</c:v>
                </c:pt>
                <c:pt idx="516">
                  <c:v>117.85</c:v>
                </c:pt>
                <c:pt idx="517">
                  <c:v>118.18</c:v>
                </c:pt>
                <c:pt idx="518">
                  <c:v>117.07</c:v>
                </c:pt>
                <c:pt idx="519">
                  <c:v>117.54</c:v>
                </c:pt>
                <c:pt idx="520">
                  <c:v>119.04</c:v>
                </c:pt>
                <c:pt idx="521">
                  <c:v>120.05</c:v>
                </c:pt>
                <c:pt idx="522">
                  <c:v>119.83</c:v>
                </c:pt>
                <c:pt idx="523">
                  <c:v>120.74</c:v>
                </c:pt>
                <c:pt idx="524">
                  <c:v>120</c:v>
                </c:pt>
                <c:pt idx="525">
                  <c:v>122.64</c:v>
                </c:pt>
                <c:pt idx="526">
                  <c:v>124.2</c:v>
                </c:pt>
                <c:pt idx="527">
                  <c:v>125.07</c:v>
                </c:pt>
                <c:pt idx="528">
                  <c:v>125.28</c:v>
                </c:pt>
                <c:pt idx="529">
                  <c:v>123.3</c:v>
                </c:pt>
                <c:pt idx="530">
                  <c:v>125.86</c:v>
                </c:pt>
                <c:pt idx="531">
                  <c:v>123.32</c:v>
                </c:pt>
                <c:pt idx="532">
                  <c:v>123.55</c:v>
                </c:pt>
                <c:pt idx="533">
                  <c:v>122.32</c:v>
                </c:pt>
                <c:pt idx="534">
                  <c:v>124.2</c:v>
                </c:pt>
                <c:pt idx="535">
                  <c:v>125.48</c:v>
                </c:pt>
                <c:pt idx="536">
                  <c:v>125.12</c:v>
                </c:pt>
                <c:pt idx="537">
                  <c:v>125.59</c:v>
                </c:pt>
                <c:pt idx="538">
                  <c:v>124.43</c:v>
                </c:pt>
                <c:pt idx="539">
                  <c:v>122.78</c:v>
                </c:pt>
                <c:pt idx="540">
                  <c:v>126.16</c:v>
                </c:pt>
                <c:pt idx="541">
                  <c:v>125.96</c:v>
                </c:pt>
                <c:pt idx="542">
                  <c:v>124.07</c:v>
                </c:pt>
                <c:pt idx="543">
                  <c:v>124.13</c:v>
                </c:pt>
                <c:pt idx="544">
                  <c:v>123.38</c:v>
                </c:pt>
                <c:pt idx="545">
                  <c:v>125.21</c:v>
                </c:pt>
                <c:pt idx="546">
                  <c:v>125</c:v>
                </c:pt>
                <c:pt idx="547">
                  <c:v>125.26</c:v>
                </c:pt>
                <c:pt idx="548">
                  <c:v>124.3</c:v>
                </c:pt>
                <c:pt idx="549">
                  <c:v>122.55</c:v>
                </c:pt>
                <c:pt idx="550">
                  <c:v>122.8</c:v>
                </c:pt>
                <c:pt idx="551">
                  <c:v>122.75</c:v>
                </c:pt>
                <c:pt idx="552">
                  <c:v>124.45</c:v>
                </c:pt>
                <c:pt idx="553">
                  <c:v>122.23</c:v>
                </c:pt>
                <c:pt idx="554">
                  <c:v>122.72</c:v>
                </c:pt>
                <c:pt idx="555">
                  <c:v>121.75</c:v>
                </c:pt>
                <c:pt idx="556">
                  <c:v>122.1</c:v>
                </c:pt>
                <c:pt idx="557">
                  <c:v>119.51</c:v>
                </c:pt>
                <c:pt idx="558">
                  <c:v>119.88</c:v>
                </c:pt>
                <c:pt idx="559">
                  <c:v>121.55</c:v>
                </c:pt>
                <c:pt idx="560">
                  <c:v>121.48</c:v>
                </c:pt>
                <c:pt idx="561">
                  <c:v>120.46</c:v>
                </c:pt>
                <c:pt idx="562">
                  <c:v>118.75</c:v>
                </c:pt>
                <c:pt idx="563">
                  <c:v>118.15</c:v>
                </c:pt>
                <c:pt idx="564">
                  <c:v>118.09</c:v>
                </c:pt>
                <c:pt idx="565">
                  <c:v>118.85</c:v>
                </c:pt>
                <c:pt idx="566">
                  <c:v>118.71</c:v>
                </c:pt>
                <c:pt idx="567">
                  <c:v>118.42</c:v>
                </c:pt>
                <c:pt idx="568">
                  <c:v>119.15</c:v>
                </c:pt>
                <c:pt idx="569">
                  <c:v>119.56</c:v>
                </c:pt>
                <c:pt idx="570">
                  <c:v>119.75</c:v>
                </c:pt>
                <c:pt idx="571">
                  <c:v>119.65</c:v>
                </c:pt>
                <c:pt idx="572">
                  <c:v>119.47</c:v>
                </c:pt>
                <c:pt idx="573">
                  <c:v>115.7</c:v>
                </c:pt>
                <c:pt idx="574">
                  <c:v>113.09</c:v>
                </c:pt>
                <c:pt idx="575">
                  <c:v>111</c:v>
                </c:pt>
                <c:pt idx="576">
                  <c:v>113.04</c:v>
                </c:pt>
                <c:pt idx="577">
                  <c:v>112.94</c:v>
                </c:pt>
                <c:pt idx="578">
                  <c:v>112.26</c:v>
                </c:pt>
                <c:pt idx="579">
                  <c:v>111.69</c:v>
                </c:pt>
                <c:pt idx="580">
                  <c:v>111.3</c:v>
                </c:pt>
                <c:pt idx="581">
                  <c:v>110.35</c:v>
                </c:pt>
                <c:pt idx="582">
                  <c:v>110.99</c:v>
                </c:pt>
                <c:pt idx="583">
                  <c:v>109.39</c:v>
                </c:pt>
                <c:pt idx="584">
                  <c:v>106.8</c:v>
                </c:pt>
                <c:pt idx="585">
                  <c:v>107.31</c:v>
                </c:pt>
                <c:pt idx="586">
                  <c:v>106.82</c:v>
                </c:pt>
                <c:pt idx="587">
                  <c:v>108.25</c:v>
                </c:pt>
                <c:pt idx="588">
                  <c:v>106.16</c:v>
                </c:pt>
                <c:pt idx="589">
                  <c:v>106.75</c:v>
                </c:pt>
                <c:pt idx="590">
                  <c:v>106.9</c:v>
                </c:pt>
                <c:pt idx="591">
                  <c:v>106.85</c:v>
                </c:pt>
                <c:pt idx="592">
                  <c:v>106.85</c:v>
                </c:pt>
                <c:pt idx="593">
                  <c:v>103.25</c:v>
                </c:pt>
                <c:pt idx="594">
                  <c:v>101.62</c:v>
                </c:pt>
                <c:pt idx="595">
                  <c:v>98.33</c:v>
                </c:pt>
                <c:pt idx="596">
                  <c:v>97.83</c:v>
                </c:pt>
                <c:pt idx="597">
                  <c:v>98.58</c:v>
                </c:pt>
                <c:pt idx="598">
                  <c:v>98.12</c:v>
                </c:pt>
                <c:pt idx="599">
                  <c:v>100.46</c:v>
                </c:pt>
                <c:pt idx="600">
                  <c:v>98.72</c:v>
                </c:pt>
                <c:pt idx="601">
                  <c:v>99.45</c:v>
                </c:pt>
                <c:pt idx="602">
                  <c:v>101.21</c:v>
                </c:pt>
                <c:pt idx="603">
                  <c:v>97.88</c:v>
                </c:pt>
                <c:pt idx="604">
                  <c:v>97.31</c:v>
                </c:pt>
                <c:pt idx="605">
                  <c:v>98.5</c:v>
                </c:pt>
                <c:pt idx="606">
                  <c:v>95.69</c:v>
                </c:pt>
                <c:pt idx="607">
                  <c:v>95.84</c:v>
                </c:pt>
                <c:pt idx="608">
                  <c:v>92.55</c:v>
                </c:pt>
                <c:pt idx="609">
                  <c:v>89.25</c:v>
                </c:pt>
                <c:pt idx="610">
                  <c:v>91.33</c:v>
                </c:pt>
                <c:pt idx="611">
                  <c:v>91.47</c:v>
                </c:pt>
                <c:pt idx="612">
                  <c:v>93.79</c:v>
                </c:pt>
                <c:pt idx="613">
                  <c:v>92.04</c:v>
                </c:pt>
                <c:pt idx="614">
                  <c:v>97.57</c:v>
                </c:pt>
                <c:pt idx="615">
                  <c:v>97.63</c:v>
                </c:pt>
                <c:pt idx="616">
                  <c:v>97.15</c:v>
                </c:pt>
                <c:pt idx="617">
                  <c:v>99.51</c:v>
                </c:pt>
                <c:pt idx="618">
                  <c:v>99.61</c:v>
                </c:pt>
                <c:pt idx="619">
                  <c:v>97.39</c:v>
                </c:pt>
                <c:pt idx="620">
                  <c:v>97.78</c:v>
                </c:pt>
                <c:pt idx="621">
                  <c:v>99.87</c:v>
                </c:pt>
                <c:pt idx="622">
                  <c:v>100.07</c:v>
                </c:pt>
                <c:pt idx="623">
                  <c:v>99.8</c:v>
                </c:pt>
                <c:pt idx="624">
                  <c:v>101.66</c:v>
                </c:pt>
                <c:pt idx="625">
                  <c:v>101.78</c:v>
                </c:pt>
                <c:pt idx="626">
                  <c:v>103.08</c:v>
                </c:pt>
                <c:pt idx="627">
                  <c:v>105.48</c:v>
                </c:pt>
                <c:pt idx="628">
                  <c:v>107.59</c:v>
                </c:pt>
                <c:pt idx="629">
                  <c:v>106.74</c:v>
                </c:pt>
                <c:pt idx="630">
                  <c:v>106.42</c:v>
                </c:pt>
                <c:pt idx="631">
                  <c:v>103.18</c:v>
                </c:pt>
                <c:pt idx="632">
                  <c:v>103.07</c:v>
                </c:pt>
                <c:pt idx="633">
                  <c:v>105.31</c:v>
                </c:pt>
                <c:pt idx="634">
                  <c:v>106.65</c:v>
                </c:pt>
                <c:pt idx="635">
                  <c:v>106.52</c:v>
                </c:pt>
                <c:pt idx="636">
                  <c:v>104.62</c:v>
                </c:pt>
                <c:pt idx="637">
                  <c:v>104.49</c:v>
                </c:pt>
                <c:pt idx="638">
                  <c:v>104.48</c:v>
                </c:pt>
                <c:pt idx="639">
                  <c:v>107.22</c:v>
                </c:pt>
                <c:pt idx="640">
                  <c:v>107</c:v>
                </c:pt>
                <c:pt idx="641">
                  <c:v>110.02</c:v>
                </c:pt>
                <c:pt idx="642">
                  <c:v>110.39</c:v>
                </c:pt>
                <c:pt idx="643">
                  <c:v>111.79</c:v>
                </c:pt>
                <c:pt idx="644">
                  <c:v>111.55</c:v>
                </c:pt>
                <c:pt idx="645">
                  <c:v>111.45</c:v>
                </c:pt>
                <c:pt idx="646">
                  <c:v>111.63</c:v>
                </c:pt>
                <c:pt idx="647">
                  <c:v>114.45</c:v>
                </c:pt>
                <c:pt idx="648">
                  <c:v>114.3</c:v>
                </c:pt>
                <c:pt idx="649">
                  <c:v>113.76</c:v>
                </c:pt>
                <c:pt idx="650">
                  <c:v>114.05</c:v>
                </c:pt>
                <c:pt idx="651">
                  <c:v>113.62</c:v>
                </c:pt>
                <c:pt idx="652">
                  <c:v>114.98</c:v>
                </c:pt>
                <c:pt idx="653">
                  <c:v>114.37</c:v>
                </c:pt>
                <c:pt idx="654">
                  <c:v>113.51</c:v>
                </c:pt>
                <c:pt idx="655">
                  <c:v>114.18</c:v>
                </c:pt>
                <c:pt idx="656">
                  <c:v>112.58</c:v>
                </c:pt>
                <c:pt idx="657">
                  <c:v>112.35</c:v>
                </c:pt>
                <c:pt idx="658">
                  <c:v>112.72</c:v>
                </c:pt>
                <c:pt idx="659">
                  <c:v>114.92</c:v>
                </c:pt>
                <c:pt idx="660">
                  <c:v>115.23</c:v>
                </c:pt>
                <c:pt idx="661">
                  <c:v>113.6</c:v>
                </c:pt>
                <c:pt idx="662">
                  <c:v>113.4</c:v>
                </c:pt>
                <c:pt idx="663">
                  <c:v>112.17</c:v>
                </c:pt>
                <c:pt idx="664">
                  <c:v>113.82</c:v>
                </c:pt>
                <c:pt idx="665">
                  <c:v>113.9</c:v>
                </c:pt>
                <c:pt idx="666">
                  <c:v>114.4</c:v>
                </c:pt>
                <c:pt idx="667">
                  <c:v>115.23</c:v>
                </c:pt>
                <c:pt idx="668">
                  <c:v>115.72</c:v>
                </c:pt>
                <c:pt idx="669">
                  <c:v>116.92</c:v>
                </c:pt>
                <c:pt idx="670">
                  <c:v>116.75</c:v>
                </c:pt>
                <c:pt idx="671">
                  <c:v>113.5</c:v>
                </c:pt>
                <c:pt idx="672">
                  <c:v>108.35</c:v>
                </c:pt>
                <c:pt idx="673">
                  <c:v>110.61</c:v>
                </c:pt>
                <c:pt idx="674">
                  <c:v>111.42</c:v>
                </c:pt>
                <c:pt idx="675">
                  <c:v>111.31</c:v>
                </c:pt>
                <c:pt idx="676">
                  <c:v>109.87</c:v>
                </c:pt>
                <c:pt idx="677">
                  <c:v>110.1</c:v>
                </c:pt>
                <c:pt idx="678">
                  <c:v>112.41</c:v>
                </c:pt>
                <c:pt idx="679">
                  <c:v>112.22</c:v>
                </c:pt>
                <c:pt idx="680">
                  <c:v>112.14</c:v>
                </c:pt>
                <c:pt idx="681">
                  <c:v>110.55</c:v>
                </c:pt>
                <c:pt idx="682">
                  <c:v>107.34</c:v>
                </c:pt>
                <c:pt idx="683">
                  <c:v>111.36</c:v>
                </c:pt>
                <c:pt idx="684">
                  <c:v>111.13</c:v>
                </c:pt>
                <c:pt idx="685">
                  <c:v>111.02</c:v>
                </c:pt>
                <c:pt idx="686">
                  <c:v>113.35</c:v>
                </c:pt>
                <c:pt idx="687">
                  <c:v>113.28</c:v>
                </c:pt>
                <c:pt idx="688">
                  <c:v>114.77</c:v>
                </c:pt>
                <c:pt idx="689">
                  <c:v>113.38</c:v>
                </c:pt>
                <c:pt idx="690">
                  <c:v>113.12</c:v>
                </c:pt>
                <c:pt idx="691">
                  <c:v>114.48</c:v>
                </c:pt>
                <c:pt idx="692">
                  <c:v>113.21</c:v>
                </c:pt>
                <c:pt idx="693">
                  <c:v>112.44</c:v>
                </c:pt>
                <c:pt idx="694">
                  <c:v>110.32</c:v>
                </c:pt>
                <c:pt idx="695">
                  <c:v>109.77</c:v>
                </c:pt>
                <c:pt idx="696">
                  <c:v>109.79</c:v>
                </c:pt>
                <c:pt idx="697">
                  <c:v>108.3</c:v>
                </c:pt>
                <c:pt idx="698">
                  <c:v>108.5</c:v>
                </c:pt>
                <c:pt idx="699">
                  <c:v>109.7</c:v>
                </c:pt>
                <c:pt idx="700">
                  <c:v>109.19</c:v>
                </c:pt>
                <c:pt idx="701">
                  <c:v>109.33</c:v>
                </c:pt>
                <c:pt idx="702">
                  <c:v>108.4</c:v>
                </c:pt>
                <c:pt idx="703">
                  <c:v>107.5</c:v>
                </c:pt>
                <c:pt idx="704">
                  <c:v>104.88</c:v>
                </c:pt>
                <c:pt idx="705">
                  <c:v>104.7</c:v>
                </c:pt>
                <c:pt idx="706">
                  <c:v>106.05</c:v>
                </c:pt>
                <c:pt idx="707">
                  <c:v>106.18</c:v>
                </c:pt>
                <c:pt idx="708">
                  <c:v>108.79</c:v>
                </c:pt>
                <c:pt idx="709">
                  <c:v>108.3</c:v>
                </c:pt>
                <c:pt idx="710">
                  <c:v>107.82</c:v>
                </c:pt>
                <c:pt idx="711">
                  <c:v>108.75</c:v>
                </c:pt>
                <c:pt idx="712">
                  <c:v>107.69</c:v>
                </c:pt>
                <c:pt idx="713">
                  <c:v>109.02</c:v>
                </c:pt>
                <c:pt idx="714">
                  <c:v>109.5</c:v>
                </c:pt>
                <c:pt idx="715">
                  <c:v>111.59</c:v>
                </c:pt>
                <c:pt idx="716">
                  <c:v>110.46</c:v>
                </c:pt>
                <c:pt idx="717">
                  <c:v>111.03</c:v>
                </c:pt>
                <c:pt idx="718">
                  <c:v>111.39</c:v>
                </c:pt>
                <c:pt idx="719">
                  <c:v>111.35</c:v>
                </c:pt>
                <c:pt idx="720">
                  <c:v>110</c:v>
                </c:pt>
                <c:pt idx="721">
                  <c:v>109.69</c:v>
                </c:pt>
                <c:pt idx="722">
                  <c:v>110.4</c:v>
                </c:pt>
                <c:pt idx="723">
                  <c:v>111.17</c:v>
                </c:pt>
                <c:pt idx="724">
                  <c:v>110.35</c:v>
                </c:pt>
                <c:pt idx="725">
                  <c:v>108.87</c:v>
                </c:pt>
                <c:pt idx="726">
                  <c:v>107.97</c:v>
                </c:pt>
                <c:pt idx="727">
                  <c:v>106.25</c:v>
                </c:pt>
                <c:pt idx="728">
                  <c:v>106.3</c:v>
                </c:pt>
                <c:pt idx="729">
                  <c:v>106.42</c:v>
                </c:pt>
                <c:pt idx="730">
                  <c:v>106.22</c:v>
                </c:pt>
                <c:pt idx="731">
                  <c:v>108.01</c:v>
                </c:pt>
                <c:pt idx="732">
                  <c:v>106.53</c:v>
                </c:pt>
                <c:pt idx="733">
                  <c:v>108.4</c:v>
                </c:pt>
                <c:pt idx="734">
                  <c:v>108.27</c:v>
                </c:pt>
                <c:pt idx="735">
                  <c:v>108.94</c:v>
                </c:pt>
                <c:pt idx="736">
                  <c:v>110.05</c:v>
                </c:pt>
                <c:pt idx="737">
                  <c:v>110.25</c:v>
                </c:pt>
                <c:pt idx="738">
                  <c:v>109.15</c:v>
                </c:pt>
                <c:pt idx="739">
                  <c:v>109.02</c:v>
                </c:pt>
                <c:pt idx="740">
                  <c:v>108.8</c:v>
                </c:pt>
                <c:pt idx="741">
                  <c:v>110.71</c:v>
                </c:pt>
                <c:pt idx="742">
                  <c:v>110.92</c:v>
                </c:pt>
                <c:pt idx="743">
                  <c:v>110.35</c:v>
                </c:pt>
                <c:pt idx="744">
                  <c:v>111.11</c:v>
                </c:pt>
                <c:pt idx="745">
                  <c:v>110.99</c:v>
                </c:pt>
                <c:pt idx="746">
                  <c:v>109.84</c:v>
                </c:pt>
                <c:pt idx="747">
                  <c:v>109.82</c:v>
                </c:pt>
                <c:pt idx="748">
                  <c:v>111.14</c:v>
                </c:pt>
                <c:pt idx="749">
                  <c:v>109.62</c:v>
                </c:pt>
                <c:pt idx="750">
                  <c:v>110.92</c:v>
                </c:pt>
                <c:pt idx="751">
                  <c:v>111.67</c:v>
                </c:pt>
                <c:pt idx="752">
                  <c:v>111.76</c:v>
                </c:pt>
                <c:pt idx="753">
                  <c:v>112.46</c:v>
                </c:pt>
                <c:pt idx="754">
                  <c:v>112.79</c:v>
                </c:pt>
                <c:pt idx="755">
                  <c:v>113.36</c:v>
                </c:pt>
                <c:pt idx="756">
                  <c:v>113.4</c:v>
                </c:pt>
                <c:pt idx="757">
                  <c:v>113.32</c:v>
                </c:pt>
                <c:pt idx="758">
                  <c:v>113.4</c:v>
                </c:pt>
                <c:pt idx="759">
                  <c:v>114.95</c:v>
                </c:pt>
                <c:pt idx="760">
                  <c:v>114.56</c:v>
                </c:pt>
                <c:pt idx="761">
                  <c:v>115.63</c:v>
                </c:pt>
                <c:pt idx="762">
                  <c:v>114.72</c:v>
                </c:pt>
                <c:pt idx="763">
                  <c:v>115.59</c:v>
                </c:pt>
                <c:pt idx="764">
                  <c:v>115.97</c:v>
                </c:pt>
                <c:pt idx="765">
                  <c:v>116.7</c:v>
                </c:pt>
                <c:pt idx="766">
                  <c:v>117.81</c:v>
                </c:pt>
                <c:pt idx="767">
                  <c:v>117.2</c:v>
                </c:pt>
                <c:pt idx="768">
                  <c:v>117.8</c:v>
                </c:pt>
                <c:pt idx="769">
                  <c:v>118</c:v>
                </c:pt>
                <c:pt idx="770">
                  <c:v>118.04</c:v>
                </c:pt>
                <c:pt idx="771">
                  <c:v>117.97</c:v>
                </c:pt>
                <c:pt idx="772">
                  <c:v>117.76</c:v>
                </c:pt>
                <c:pt idx="773">
                  <c:v>117.4</c:v>
                </c:pt>
                <c:pt idx="774">
                  <c:v>115.1</c:v>
                </c:pt>
                <c:pt idx="775">
                  <c:v>113.65</c:v>
                </c:pt>
                <c:pt idx="776">
                  <c:v>114.3</c:v>
                </c:pt>
                <c:pt idx="777">
                  <c:v>113.34</c:v>
                </c:pt>
                <c:pt idx="778">
                  <c:v>112.99</c:v>
                </c:pt>
                <c:pt idx="779">
                  <c:v>112</c:v>
                </c:pt>
                <c:pt idx="780">
                  <c:v>111</c:v>
                </c:pt>
                <c:pt idx="781">
                  <c:v>109.59</c:v>
                </c:pt>
                <c:pt idx="782">
                  <c:v>109.02</c:v>
                </c:pt>
                <c:pt idx="783">
                  <c:v>110.94</c:v>
                </c:pt>
                <c:pt idx="784">
                  <c:v>109.98</c:v>
                </c:pt>
                <c:pt idx="785">
                  <c:v>110.07</c:v>
                </c:pt>
                <c:pt idx="786">
                  <c:v>109.48</c:v>
                </c:pt>
                <c:pt idx="787">
                  <c:v>109.13</c:v>
                </c:pt>
                <c:pt idx="788">
                  <c:v>108.18</c:v>
                </c:pt>
                <c:pt idx="789">
                  <c:v>109.34</c:v>
                </c:pt>
                <c:pt idx="790">
                  <c:v>110.05</c:v>
                </c:pt>
                <c:pt idx="791">
                  <c:v>109.4</c:v>
                </c:pt>
                <c:pt idx="792">
                  <c:v>107.46</c:v>
                </c:pt>
                <c:pt idx="793">
                  <c:v>108.58</c:v>
                </c:pt>
                <c:pt idx="794">
                  <c:v>107.2</c:v>
                </c:pt>
                <c:pt idx="795">
                  <c:v>107.5</c:v>
                </c:pt>
                <c:pt idx="796">
                  <c:v>108.18</c:v>
                </c:pt>
                <c:pt idx="797">
                  <c:v>109.4</c:v>
                </c:pt>
                <c:pt idx="798">
                  <c:v>109.84</c:v>
                </c:pt>
                <c:pt idx="799">
                  <c:v>109.77</c:v>
                </c:pt>
                <c:pt idx="800">
                  <c:v>109.89</c:v>
                </c:pt>
                <c:pt idx="801">
                  <c:v>110.76</c:v>
                </c:pt>
                <c:pt idx="802">
                  <c:v>110.34</c:v>
                </c:pt>
                <c:pt idx="803">
                  <c:v>106.89</c:v>
                </c:pt>
                <c:pt idx="804">
                  <c:v>106.27</c:v>
                </c:pt>
                <c:pt idx="805">
                  <c:v>104.38</c:v>
                </c:pt>
                <c:pt idx="806">
                  <c:v>104.9</c:v>
                </c:pt>
                <c:pt idx="807">
                  <c:v>106.15</c:v>
                </c:pt>
                <c:pt idx="808">
                  <c:v>105.65</c:v>
                </c:pt>
                <c:pt idx="809">
                  <c:v>104.41</c:v>
                </c:pt>
                <c:pt idx="810">
                  <c:v>102.85</c:v>
                </c:pt>
                <c:pt idx="811">
                  <c:v>99.31</c:v>
                </c:pt>
                <c:pt idx="812">
                  <c:v>100.1</c:v>
                </c:pt>
                <c:pt idx="813">
                  <c:v>97.4</c:v>
                </c:pt>
                <c:pt idx="814">
                  <c:v>99.6</c:v>
                </c:pt>
                <c:pt idx="815">
                  <c:v>99.53</c:v>
                </c:pt>
                <c:pt idx="816">
                  <c:v>100.37</c:v>
                </c:pt>
                <c:pt idx="817">
                  <c:v>100.5</c:v>
                </c:pt>
                <c:pt idx="818">
                  <c:v>101.82</c:v>
                </c:pt>
                <c:pt idx="819">
                  <c:v>103.11</c:v>
                </c:pt>
                <c:pt idx="820">
                  <c:v>102.85</c:v>
                </c:pt>
                <c:pt idx="821">
                  <c:v>103.76</c:v>
                </c:pt>
                <c:pt idx="822">
                  <c:v>101.74</c:v>
                </c:pt>
                <c:pt idx="823">
                  <c:v>104.99</c:v>
                </c:pt>
                <c:pt idx="824">
                  <c:v>103.75</c:v>
                </c:pt>
                <c:pt idx="825">
                  <c:v>104.02</c:v>
                </c:pt>
                <c:pt idx="826">
                  <c:v>102.64</c:v>
                </c:pt>
                <c:pt idx="827">
                  <c:v>102.53</c:v>
                </c:pt>
                <c:pt idx="828">
                  <c:v>103.65</c:v>
                </c:pt>
                <c:pt idx="829">
                  <c:v>103.84</c:v>
                </c:pt>
                <c:pt idx="830">
                  <c:v>104.72</c:v>
                </c:pt>
                <c:pt idx="831">
                  <c:v>104.79</c:v>
                </c:pt>
                <c:pt idx="832">
                  <c:v>103.63</c:v>
                </c:pt>
                <c:pt idx="833">
                  <c:v>102.32</c:v>
                </c:pt>
                <c:pt idx="834">
                  <c:v>102.66</c:v>
                </c:pt>
                <c:pt idx="835">
                  <c:v>102.78</c:v>
                </c:pt>
                <c:pt idx="836">
                  <c:v>102.5</c:v>
                </c:pt>
                <c:pt idx="837">
                  <c:v>104.35</c:v>
                </c:pt>
                <c:pt idx="838">
                  <c:v>102.18</c:v>
                </c:pt>
                <c:pt idx="839">
                  <c:v>102.24</c:v>
                </c:pt>
                <c:pt idx="840">
                  <c:v>100.15</c:v>
                </c:pt>
                <c:pt idx="841">
                  <c:v>101.9</c:v>
                </c:pt>
                <c:pt idx="842">
                  <c:v>103.18</c:v>
                </c:pt>
                <c:pt idx="843">
                  <c:v>102.63</c:v>
                </c:pt>
                <c:pt idx="844">
                  <c:v>103.19</c:v>
                </c:pt>
                <c:pt idx="845">
                  <c:v>104.48</c:v>
                </c:pt>
                <c:pt idx="846">
                  <c:v>103.74</c:v>
                </c:pt>
                <c:pt idx="847">
                  <c:v>102.64</c:v>
                </c:pt>
                <c:pt idx="848">
                  <c:v>104.95</c:v>
                </c:pt>
                <c:pt idx="849">
                  <c:v>105.84</c:v>
                </c:pt>
                <c:pt idx="850">
                  <c:v>105.62</c:v>
                </c:pt>
                <c:pt idx="851">
                  <c:v>106.1</c:v>
                </c:pt>
                <c:pt idx="852">
                  <c:v>105.87</c:v>
                </c:pt>
                <c:pt idx="853">
                  <c:v>102.06</c:v>
                </c:pt>
                <c:pt idx="854">
                  <c:v>101.09</c:v>
                </c:pt>
                <c:pt idx="855">
                  <c:v>101.07</c:v>
                </c:pt>
                <c:pt idx="856">
                  <c:v>101.17</c:v>
                </c:pt>
                <c:pt idx="857">
                  <c:v>101.8</c:v>
                </c:pt>
                <c:pt idx="858">
                  <c:v>102.65</c:v>
                </c:pt>
                <c:pt idx="859">
                  <c:v>101.99</c:v>
                </c:pt>
                <c:pt idx="860">
                  <c:v>102.52</c:v>
                </c:pt>
                <c:pt idx="861">
                  <c:v>103.41</c:v>
                </c:pt>
                <c:pt idx="862">
                  <c:v>105.21</c:v>
                </c:pt>
                <c:pt idx="863">
                  <c:v>104.84</c:v>
                </c:pt>
                <c:pt idx="864">
                  <c:v>107.06</c:v>
                </c:pt>
                <c:pt idx="865">
                  <c:v>106.49</c:v>
                </c:pt>
                <c:pt idx="866">
                  <c:v>107.35</c:v>
                </c:pt>
                <c:pt idx="867">
                  <c:v>107.34</c:v>
                </c:pt>
                <c:pt idx="868">
                  <c:v>106.64</c:v>
                </c:pt>
                <c:pt idx="869">
                  <c:v>108.2</c:v>
                </c:pt>
                <c:pt idx="870">
                  <c:v>108.08</c:v>
                </c:pt>
                <c:pt idx="871">
                  <c:v>107.93</c:v>
                </c:pt>
                <c:pt idx="872">
                  <c:v>108.74</c:v>
                </c:pt>
                <c:pt idx="873">
                  <c:v>108.83</c:v>
                </c:pt>
                <c:pt idx="874">
                  <c:v>108.3</c:v>
                </c:pt>
                <c:pt idx="875">
                  <c:v>108.16</c:v>
                </c:pt>
                <c:pt idx="876">
                  <c:v>108.41</c:v>
                </c:pt>
                <c:pt idx="877">
                  <c:v>107.05</c:v>
                </c:pt>
                <c:pt idx="878">
                  <c:v>107.65</c:v>
                </c:pt>
                <c:pt idx="879">
                  <c:v>107.19</c:v>
                </c:pt>
                <c:pt idx="880">
                  <c:v>107.51</c:v>
                </c:pt>
                <c:pt idx="881">
                  <c:v>106.84</c:v>
                </c:pt>
                <c:pt idx="882">
                  <c:v>107.7</c:v>
                </c:pt>
                <c:pt idx="883">
                  <c:v>108.51</c:v>
                </c:pt>
                <c:pt idx="884">
                  <c:v>108.07</c:v>
                </c:pt>
                <c:pt idx="885">
                  <c:v>107.71</c:v>
                </c:pt>
                <c:pt idx="886">
                  <c:v>107.19</c:v>
                </c:pt>
                <c:pt idx="887">
                  <c:v>106.08</c:v>
                </c:pt>
                <c:pt idx="888">
                  <c:v>105.5</c:v>
                </c:pt>
                <c:pt idx="889">
                  <c:v>106.87</c:v>
                </c:pt>
                <c:pt idx="890">
                  <c:v>107.86</c:v>
                </c:pt>
                <c:pt idx="891">
                  <c:v>108.1</c:v>
                </c:pt>
                <c:pt idx="892">
                  <c:v>108.96</c:v>
                </c:pt>
                <c:pt idx="893">
                  <c:v>109.32</c:v>
                </c:pt>
                <c:pt idx="894">
                  <c:v>110.42</c:v>
                </c:pt>
                <c:pt idx="895">
                  <c:v>109.59</c:v>
                </c:pt>
                <c:pt idx="896">
                  <c:v>110.15</c:v>
                </c:pt>
                <c:pt idx="897">
                  <c:v>109.73</c:v>
                </c:pt>
                <c:pt idx="898">
                  <c:v>110</c:v>
                </c:pt>
                <c:pt idx="899">
                  <c:v>111.05</c:v>
                </c:pt>
                <c:pt idx="900">
                  <c:v>110.93</c:v>
                </c:pt>
                <c:pt idx="901">
                  <c:v>115.29</c:v>
                </c:pt>
                <c:pt idx="902">
                  <c:v>116.33</c:v>
                </c:pt>
                <c:pt idx="903">
                  <c:v>114.44</c:v>
                </c:pt>
                <c:pt idx="904">
                  <c:v>114.45</c:v>
                </c:pt>
                <c:pt idx="905">
                  <c:v>112.44</c:v>
                </c:pt>
                <c:pt idx="906">
                  <c:v>113.7</c:v>
                </c:pt>
                <c:pt idx="907">
                  <c:v>113.23</c:v>
                </c:pt>
                <c:pt idx="908">
                  <c:v>113.7</c:v>
                </c:pt>
                <c:pt idx="909">
                  <c:v>114.1</c:v>
                </c:pt>
                <c:pt idx="910">
                  <c:v>111.77</c:v>
                </c:pt>
                <c:pt idx="911" formatCode="#,##0.0">
                  <c:v>109.96</c:v>
                </c:pt>
                <c:pt idx="912" formatCode="#,##0.0">
                  <c:v>110.29</c:v>
                </c:pt>
                <c:pt idx="913" formatCode="#,##0.0">
                  <c:v>111.89</c:v>
                </c:pt>
                <c:pt idx="914" formatCode="#,##0.0">
                  <c:v>111.79</c:v>
                </c:pt>
                <c:pt idx="915" formatCode="#,##0.0">
                  <c:v>109.82</c:v>
                </c:pt>
                <c:pt idx="916" formatCode="#,##0.0">
                  <c:v>107.75</c:v>
                </c:pt>
                <c:pt idx="917" formatCode="#,##0.0">
                  <c:v>110.74</c:v>
                </c:pt>
                <c:pt idx="918" formatCode="#,##0.0">
                  <c:v>108.82</c:v>
                </c:pt>
                <c:pt idx="919" formatCode="#,##0.0">
                  <c:v>109.35</c:v>
                </c:pt>
                <c:pt idx="920" formatCode="#,##0.0">
                  <c:v>108</c:v>
                </c:pt>
                <c:pt idx="921" formatCode="#,##0.0">
                  <c:v>108.77</c:v>
                </c:pt>
                <c:pt idx="922" formatCode="#,##0.0">
                  <c:v>108.06</c:v>
                </c:pt>
                <c:pt idx="923" formatCode="#,##0.0">
                  <c:v>109.22</c:v>
                </c:pt>
                <c:pt idx="924" formatCode="#,##0.0">
                  <c:v>108.43</c:v>
                </c:pt>
                <c:pt idx="925" formatCode="#,##0.0">
                  <c:v>108.2</c:v>
                </c:pt>
                <c:pt idx="926" formatCode="#,##0.0">
                  <c:v>106.92</c:v>
                </c:pt>
                <c:pt idx="927" formatCode="#,##0.0">
                  <c:v>108.03</c:v>
                </c:pt>
                <c:pt idx="928" formatCode="#,##0.0">
                  <c:v>107.69</c:v>
                </c:pt>
                <c:pt idx="929" formatCode="#,##0.0">
                  <c:v>108.46</c:v>
                </c:pt>
                <c:pt idx="930" formatCode="#,##0.0">
                  <c:v>108.74</c:v>
                </c:pt>
                <c:pt idx="931" formatCode="#,##0.0">
                  <c:v>109.42</c:v>
                </c:pt>
                <c:pt idx="932" formatCode="#,##0.0">
                  <c:v>108.25</c:v>
                </c:pt>
                <c:pt idx="933" formatCode="#,##0.0">
                  <c:v>110.87</c:v>
                </c:pt>
                <c:pt idx="934" formatCode="#,##0.0">
                  <c:v>110.29</c:v>
                </c:pt>
                <c:pt idx="935" formatCode="#,##0.0">
                  <c:v>110.18</c:v>
                </c:pt>
                <c:pt idx="936" formatCode="#,##0.0">
                  <c:v>109</c:v>
                </c:pt>
                <c:pt idx="937" formatCode="#,##0.0">
                  <c:v>110.49</c:v>
                </c:pt>
                <c:pt idx="938" formatCode="#,##0.0">
                  <c:v>109</c:v>
                </c:pt>
                <c:pt idx="939" formatCode="#,##0.0">
                  <c:v>109.94</c:v>
                </c:pt>
                <c:pt idx="940" formatCode="#,##0.0">
                  <c:v>109.77</c:v>
                </c:pt>
                <c:pt idx="941" formatCode="#,##0.0">
                  <c:v>110.06</c:v>
                </c:pt>
                <c:pt idx="942" formatCode="#,##0.0">
                  <c:v>107.65</c:v>
                </c:pt>
                <c:pt idx="943" formatCode="#,##0.0">
                  <c:v>106.99</c:v>
                </c:pt>
                <c:pt idx="944" formatCode="#,##0.0">
                  <c:v>107.06</c:v>
                </c:pt>
                <c:pt idx="945" formatCode="#,##0.0">
                  <c:v>109.42</c:v>
                </c:pt>
                <c:pt idx="946" formatCode="#,##0.0">
                  <c:v>108.81</c:v>
                </c:pt>
                <c:pt idx="947" formatCode="#,##0.0">
                  <c:v>109.77</c:v>
                </c:pt>
                <c:pt idx="948" formatCode="#,##0.0">
                  <c:v>108.9</c:v>
                </c:pt>
                <c:pt idx="949">
                  <c:v>106.05</c:v>
                </c:pt>
                <c:pt idx="950">
                  <c:v>105.65</c:v>
                </c:pt>
                <c:pt idx="951">
                  <c:v>104.99</c:v>
                </c:pt>
                <c:pt idx="952">
                  <c:v>103.55</c:v>
                </c:pt>
                <c:pt idx="953">
                  <c:v>105.04</c:v>
                </c:pt>
                <c:pt idx="954">
                  <c:v>106.34</c:v>
                </c:pt>
                <c:pt idx="955">
                  <c:v>105.82</c:v>
                </c:pt>
                <c:pt idx="956">
                  <c:v>106.92</c:v>
                </c:pt>
                <c:pt idx="957">
                  <c:v>108.4</c:v>
                </c:pt>
                <c:pt idx="958">
                  <c:v>108.5</c:v>
                </c:pt>
                <c:pt idx="959">
                  <c:v>108.3</c:v>
                </c:pt>
                <c:pt idx="960">
                  <c:v>107.07</c:v>
                </c:pt>
                <c:pt idx="961">
                  <c:v>107.92</c:v>
                </c:pt>
                <c:pt idx="962">
                  <c:v>110.15</c:v>
                </c:pt>
                <c:pt idx="963">
                  <c:v>110.49</c:v>
                </c:pt>
                <c:pt idx="964">
                  <c:v>111.05</c:v>
                </c:pt>
                <c:pt idx="965">
                  <c:v>111.04</c:v>
                </c:pt>
                <c:pt idx="966">
                  <c:v>111.59</c:v>
                </c:pt>
                <c:pt idx="967">
                  <c:v>110.95</c:v>
                </c:pt>
                <c:pt idx="968">
                  <c:v>110.11</c:v>
                </c:pt>
                <c:pt idx="969">
                  <c:v>111.01</c:v>
                </c:pt>
                <c:pt idx="970">
                  <c:v>112.24</c:v>
                </c:pt>
                <c:pt idx="971">
                  <c:v>111.17</c:v>
                </c:pt>
                <c:pt idx="972">
                  <c:v>110.76</c:v>
                </c:pt>
                <c:pt idx="973">
                  <c:v>111.36</c:v>
                </c:pt>
                <c:pt idx="974">
                  <c:v>108.93</c:v>
                </c:pt>
                <c:pt idx="975">
                  <c:v>109.25</c:v>
                </c:pt>
                <c:pt idx="976">
                  <c:v>109.32</c:v>
                </c:pt>
                <c:pt idx="977">
                  <c:v>108.34</c:v>
                </c:pt>
                <c:pt idx="978">
                  <c:v>108.3</c:v>
                </c:pt>
                <c:pt idx="979">
                  <c:v>109.04</c:v>
                </c:pt>
                <c:pt idx="980">
                  <c:v>108.21</c:v>
                </c:pt>
                <c:pt idx="981">
                  <c:v>109.28</c:v>
                </c:pt>
                <c:pt idx="982">
                  <c:v>110.06</c:v>
                </c:pt>
                <c:pt idx="983">
                  <c:v>111.84</c:v>
                </c:pt>
                <c:pt idx="984">
                  <c:v>111.57</c:v>
                </c:pt>
                <c:pt idx="985">
                  <c:v>112</c:v>
                </c:pt>
                <c:pt idx="987">
                  <c:v>112</c:v>
                </c:pt>
                <c:pt idx="988">
                  <c:v>112.14</c:v>
                </c:pt>
                <c:pt idx="989">
                  <c:v>106</c:v>
                </c:pt>
                <c:pt idx="990">
                  <c:v>106.83</c:v>
                </c:pt>
                <c:pt idx="991">
                  <c:v>105.59</c:v>
                </c:pt>
                <c:pt idx="992">
                  <c:v>105.25</c:v>
                </c:pt>
                <c:pt idx="993">
                  <c:v>105.97</c:v>
                </c:pt>
                <c:pt idx="994">
                  <c:v>105.48</c:v>
                </c:pt>
                <c:pt idx="995">
                  <c:v>106.32</c:v>
                </c:pt>
                <c:pt idx="996">
                  <c:v>106.2</c:v>
                </c:pt>
                <c:pt idx="997">
                  <c:v>106.8</c:v>
                </c:pt>
                <c:pt idx="998">
                  <c:v>108.08</c:v>
                </c:pt>
                <c:pt idx="999">
                  <c:v>107.58</c:v>
                </c:pt>
                <c:pt idx="1000">
                  <c:v>107.89</c:v>
                </c:pt>
                <c:pt idx="1001">
                  <c:v>106.94</c:v>
                </c:pt>
                <c:pt idx="1002">
                  <c:v>107.41</c:v>
                </c:pt>
                <c:pt idx="1003">
                  <c:v>107.75</c:v>
                </c:pt>
                <c:pt idx="1004">
                  <c:v>107.7</c:v>
                </c:pt>
                <c:pt idx="1005">
                  <c:v>105.79</c:v>
                </c:pt>
                <c:pt idx="1006">
                  <c:v>105.27</c:v>
                </c:pt>
                <c:pt idx="1007">
                  <c:v>105.38</c:v>
                </c:pt>
                <c:pt idx="1008">
                  <c:v>105.56</c:v>
                </c:pt>
                <c:pt idx="1009">
                  <c:v>106.75</c:v>
                </c:pt>
                <c:pt idx="1010">
                  <c:v>108.83</c:v>
                </c:pt>
                <c:pt idx="1011">
                  <c:v>107.78</c:v>
                </c:pt>
                <c:pt idx="1012">
                  <c:v>108.2</c:v>
                </c:pt>
                <c:pt idx="1013">
                  <c:v>108.27</c:v>
                </c:pt>
                <c:pt idx="1014">
                  <c:v>108.58</c:v>
                </c:pt>
                <c:pt idx="1015">
                  <c:v>109.05</c:v>
                </c:pt>
                <c:pt idx="1016">
                  <c:v>109.1</c:v>
                </c:pt>
                <c:pt idx="1017">
                  <c:v>110.63</c:v>
                </c:pt>
                <c:pt idx="1018">
                  <c:v>110.42</c:v>
                </c:pt>
                <c:pt idx="1019">
                  <c:v>110.49</c:v>
                </c:pt>
                <c:pt idx="1020">
                  <c:v>109.84</c:v>
                </c:pt>
                <c:pt idx="1021">
                  <c:v>110.71</c:v>
                </c:pt>
                <c:pt idx="1022">
                  <c:v>109.59</c:v>
                </c:pt>
                <c:pt idx="1023">
                  <c:v>109.51</c:v>
                </c:pt>
                <c:pt idx="1024">
                  <c:v>108.77</c:v>
                </c:pt>
                <c:pt idx="1025">
                  <c:v>108.65</c:v>
                </c:pt>
                <c:pt idx="1026">
                  <c:v>110.78</c:v>
                </c:pt>
                <c:pt idx="1027">
                  <c:v>108.62</c:v>
                </c:pt>
                <c:pt idx="1028">
                  <c:v>107.29</c:v>
                </c:pt>
                <c:pt idx="1029">
                  <c:v>107.8</c:v>
                </c:pt>
                <c:pt idx="1030">
                  <c:v>108.23</c:v>
                </c:pt>
                <c:pt idx="1031">
                  <c:v>107.77</c:v>
                </c:pt>
                <c:pt idx="1032">
                  <c:v>107.6</c:v>
                </c:pt>
                <c:pt idx="1033">
                  <c:v>106.99</c:v>
                </c:pt>
                <c:pt idx="1034">
                  <c:v>108.5</c:v>
                </c:pt>
                <c:pt idx="1035">
                  <c:v>106.4</c:v>
                </c:pt>
                <c:pt idx="1036">
                  <c:v>106.65</c:v>
                </c:pt>
                <c:pt idx="1037">
                  <c:v>105.84</c:v>
                </c:pt>
                <c:pt idx="1038">
                  <c:v>106.23</c:v>
                </c:pt>
                <c:pt idx="1039">
                  <c:v>107.2</c:v>
                </c:pt>
                <c:pt idx="1040">
                  <c:v>106.59</c:v>
                </c:pt>
                <c:pt idx="1041">
                  <c:v>106.93</c:v>
                </c:pt>
                <c:pt idx="1042">
                  <c:v>107</c:v>
                </c:pt>
                <c:pt idx="1043">
                  <c:v>107.69</c:v>
                </c:pt>
                <c:pt idx="1044">
                  <c:v>107.97</c:v>
                </c:pt>
                <c:pt idx="1045">
                  <c:v>107.7</c:v>
                </c:pt>
                <c:pt idx="1046">
                  <c:v>105.31</c:v>
                </c:pt>
                <c:pt idx="1047">
                  <c:v>104.7</c:v>
                </c:pt>
                <c:pt idx="1048">
                  <c:v>106.14</c:v>
                </c:pt>
                <c:pt idx="1049">
                  <c:v>106.57</c:v>
                </c:pt>
                <c:pt idx="1050">
                  <c:v>105.98</c:v>
                </c:pt>
                <c:pt idx="1051">
                  <c:v>107.48</c:v>
                </c:pt>
                <c:pt idx="1052">
                  <c:v>107.9</c:v>
                </c:pt>
                <c:pt idx="1053">
                  <c:v>107.39</c:v>
                </c:pt>
                <c:pt idx="1054">
                  <c:v>107.15</c:v>
                </c:pt>
                <c:pt idx="1055">
                  <c:v>108.96</c:v>
                </c:pt>
                <c:pt idx="1056">
                  <c:v>109.18</c:v>
                </c:pt>
                <c:pt idx="1057">
                  <c:v>109.71</c:v>
                </c:pt>
                <c:pt idx="1058">
                  <c:v>109.76</c:v>
                </c:pt>
                <c:pt idx="1059">
                  <c:v>109.72</c:v>
                </c:pt>
                <c:pt idx="1060">
                  <c:v>109.96</c:v>
                </c:pt>
                <c:pt idx="1061">
                  <c:v>109.37</c:v>
                </c:pt>
                <c:pt idx="1062">
                  <c:v>109.14</c:v>
                </c:pt>
                <c:pt idx="1063">
                  <c:v>110.41</c:v>
                </c:pt>
                <c:pt idx="1064">
                  <c:v>109.39</c:v>
                </c:pt>
                <c:pt idx="1065">
                  <c:v>108.12</c:v>
                </c:pt>
                <c:pt idx="1066">
                  <c:v>108.91</c:v>
                </c:pt>
                <c:pt idx="1067">
                  <c:v>108.14</c:v>
                </c:pt>
                <c:pt idx="1068">
                  <c:v>106.98</c:v>
                </c:pt>
                <c:pt idx="1069">
                  <c:v>107.22</c:v>
                </c:pt>
                <c:pt idx="1070">
                  <c:v>107.53</c:v>
                </c:pt>
                <c:pt idx="1071">
                  <c:v>107.49</c:v>
                </c:pt>
                <c:pt idx="1072">
                  <c:v>107.77</c:v>
                </c:pt>
                <c:pt idx="1073">
                  <c:v>108.65</c:v>
                </c:pt>
                <c:pt idx="1074">
                  <c:v>109.2</c:v>
                </c:pt>
                <c:pt idx="1075">
                  <c:v>109.02</c:v>
                </c:pt>
                <c:pt idx="1076">
                  <c:v>109.68</c:v>
                </c:pt>
                <c:pt idx="1077">
                  <c:v>109.36</c:v>
                </c:pt>
                <c:pt idx="1078">
                  <c:v>109.84</c:v>
                </c:pt>
                <c:pt idx="1079">
                  <c:v>110.54</c:v>
                </c:pt>
                <c:pt idx="1080">
                  <c:v>110.39</c:v>
                </c:pt>
                <c:pt idx="1081">
                  <c:v>110.44</c:v>
                </c:pt>
                <c:pt idx="1082">
                  <c:v>110.39</c:v>
                </c:pt>
                <c:pt idx="1083">
                  <c:v>110.19</c:v>
                </c:pt>
                <c:pt idx="1084">
                  <c:v>110.06</c:v>
                </c:pt>
                <c:pt idx="1085">
                  <c:v>110.07</c:v>
                </c:pt>
                <c:pt idx="1086">
                  <c:v>109.49</c:v>
                </c:pt>
                <c:pt idx="1087">
                  <c:v>108.17</c:v>
                </c:pt>
                <c:pt idx="1088">
                  <c:v>108.18</c:v>
                </c:pt>
                <c:pt idx="1089">
                  <c:v>107.43</c:v>
                </c:pt>
                <c:pt idx="1090">
                  <c:v>108.19</c:v>
                </c:pt>
                <c:pt idx="1091">
                  <c:v>108.01</c:v>
                </c:pt>
                <c:pt idx="1092">
                  <c:v>109.1</c:v>
                </c:pt>
                <c:pt idx="1093">
                  <c:v>108.98</c:v>
                </c:pt>
                <c:pt idx="1094">
                  <c:v>109.51</c:v>
                </c:pt>
                <c:pt idx="1095">
                  <c:v>112.83</c:v>
                </c:pt>
                <c:pt idx="1096">
                  <c:v>113.31</c:v>
                </c:pt>
                <c:pt idx="1097">
                  <c:v>114.14</c:v>
                </c:pt>
                <c:pt idx="1098">
                  <c:v>114.92</c:v>
                </c:pt>
                <c:pt idx="1099">
                  <c:v>114.68</c:v>
                </c:pt>
                <c:pt idx="1100">
                  <c:v>113.97</c:v>
                </c:pt>
                <c:pt idx="1101">
                  <c:v>114.13</c:v>
                </c:pt>
                <c:pt idx="1102">
                  <c:v>114.22</c:v>
                </c:pt>
                <c:pt idx="1103">
                  <c:v>113.02</c:v>
                </c:pt>
                <c:pt idx="1104">
                  <c:v>113.18</c:v>
                </c:pt>
                <c:pt idx="1105">
                  <c:v>112.4</c:v>
                </c:pt>
                <c:pt idx="1106">
                  <c:v>111.85</c:v>
                </c:pt>
                <c:pt idx="1107">
                  <c:v>111</c:v>
                </c:pt>
                <c:pt idx="1108">
                  <c:v>110.89</c:v>
                </c:pt>
                <c:pt idx="1109">
                  <c:v>110.49</c:v>
                </c:pt>
                <c:pt idx="1110">
                  <c:v>109.85</c:v>
                </c:pt>
                <c:pt idx="1111">
                  <c:v>109.01</c:v>
                </c:pt>
                <c:pt idx="1112">
                  <c:v>108.32</c:v>
                </c:pt>
                <c:pt idx="1113">
                  <c:v>108.85</c:v>
                </c:pt>
                <c:pt idx="1114">
                  <c:v>107.26</c:v>
                </c:pt>
                <c:pt idx="1115">
                  <c:v>107.6</c:v>
                </c:pt>
                <c:pt idx="1116">
                  <c:v>106.75</c:v>
                </c:pt>
                <c:pt idx="1117">
                  <c:v>107.08</c:v>
                </c:pt>
                <c:pt idx="1118">
                  <c:v>108.45</c:v>
                </c:pt>
                <c:pt idx="1119">
                  <c:v>107.14</c:v>
                </c:pt>
                <c:pt idx="1120">
                  <c:v>107.68</c:v>
                </c:pt>
                <c:pt idx="1121">
                  <c:v>106.89</c:v>
                </c:pt>
                <c:pt idx="1122">
                  <c:v>108.18</c:v>
                </c:pt>
                <c:pt idx="1123">
                  <c:v>107.13</c:v>
                </c:pt>
                <c:pt idx="1124">
                  <c:v>108.13</c:v>
                </c:pt>
                <c:pt idx="1125">
                  <c:v>107.5</c:v>
                </c:pt>
                <c:pt idx="1126">
                  <c:v>107.5</c:v>
                </c:pt>
                <c:pt idx="1127">
                  <c:v>106.03</c:v>
                </c:pt>
                <c:pt idx="1128">
                  <c:v>105.52</c:v>
                </c:pt>
                <c:pt idx="1129">
                  <c:v>105.33</c:v>
                </c:pt>
                <c:pt idx="1130">
                  <c:v>106.17</c:v>
                </c:pt>
                <c:pt idx="1131">
                  <c:v>105.59</c:v>
                </c:pt>
                <c:pt idx="1132">
                  <c:v>105.27</c:v>
                </c:pt>
                <c:pt idx="1133">
                  <c:v>106.37</c:v>
                </c:pt>
                <c:pt idx="1134">
                  <c:v>105.31</c:v>
                </c:pt>
                <c:pt idx="1135">
                  <c:v>105.09</c:v>
                </c:pt>
                <c:pt idx="1136">
                  <c:v>103.8</c:v>
                </c:pt>
                <c:pt idx="1137">
                  <c:v>104.68</c:v>
                </c:pt>
                <c:pt idx="1138">
                  <c:v>102.08</c:v>
                </c:pt>
                <c:pt idx="1139">
                  <c:v>103.4</c:v>
                </c:pt>
                <c:pt idx="1140">
                  <c:v>101.79</c:v>
                </c:pt>
                <c:pt idx="1141">
                  <c:v>101.6</c:v>
                </c:pt>
                <c:pt idx="1142">
                  <c:v>102.29</c:v>
                </c:pt>
                <c:pt idx="1143">
                  <c:v>102.69</c:v>
                </c:pt>
                <c:pt idx="1144">
                  <c:v>102.1</c:v>
                </c:pt>
                <c:pt idx="1145">
                  <c:v>102.66</c:v>
                </c:pt>
                <c:pt idx="1146">
                  <c:v>102.58</c:v>
                </c:pt>
                <c:pt idx="1147">
                  <c:v>102.6</c:v>
                </c:pt>
                <c:pt idx="1148">
                  <c:v>102.47</c:v>
                </c:pt>
                <c:pt idx="1149">
                  <c:v>103.04</c:v>
                </c:pt>
                <c:pt idx="1150">
                  <c:v>103.1</c:v>
                </c:pt>
                <c:pt idx="1151">
                  <c:v>101.24</c:v>
                </c:pt>
                <c:pt idx="1152">
                  <c:v>102.91</c:v>
                </c:pt>
                <c:pt idx="1153">
                  <c:v>102.3</c:v>
                </c:pt>
                <c:pt idx="1154">
                  <c:v>101.53</c:v>
                </c:pt>
                <c:pt idx="1155">
                  <c:v>100.89</c:v>
                </c:pt>
                <c:pt idx="1156">
                  <c:v>100</c:v>
                </c:pt>
                <c:pt idx="1157">
                  <c:v>98.75</c:v>
                </c:pt>
                <c:pt idx="1158">
                  <c:v>98.95</c:v>
                </c:pt>
                <c:pt idx="1159">
                  <c:v>97.8</c:v>
                </c:pt>
                <c:pt idx="1160">
                  <c:v>98</c:v>
                </c:pt>
                <c:pt idx="1161">
                  <c:v>99</c:v>
                </c:pt>
                <c:pt idx="1162">
                  <c:v>98.72</c:v>
                </c:pt>
                <c:pt idx="1163">
                  <c:v>97.62</c:v>
                </c:pt>
                <c:pt idx="1164">
                  <c:v>98.38</c:v>
                </c:pt>
                <c:pt idx="1165">
                  <c:v>96.85</c:v>
                </c:pt>
                <c:pt idx="1166">
                  <c:v>96.94</c:v>
                </c:pt>
                <c:pt idx="1167">
                  <c:v>97.09</c:v>
                </c:pt>
                <c:pt idx="1168">
                  <c:v>97.05</c:v>
                </c:pt>
                <c:pt idx="1169">
                  <c:v>96.9</c:v>
                </c:pt>
                <c:pt idx="1170">
                  <c:v>97.07</c:v>
                </c:pt>
                <c:pt idx="1171">
                  <c:v>94.8</c:v>
                </c:pt>
                <c:pt idx="1172">
                  <c:v>94.9</c:v>
                </c:pt>
                <c:pt idx="1173">
                  <c:v>94.32</c:v>
                </c:pt>
                <c:pt idx="1174">
                  <c:v>92.82</c:v>
                </c:pt>
                <c:pt idx="1175">
                  <c:v>93.35</c:v>
                </c:pt>
                <c:pt idx="1176">
                  <c:v>92.2</c:v>
                </c:pt>
                <c:pt idx="1177">
                  <c:v>92.14</c:v>
                </c:pt>
                <c:pt idx="1178">
                  <c:v>89.23</c:v>
                </c:pt>
                <c:pt idx="1179">
                  <c:v>90.27</c:v>
                </c:pt>
                <c:pt idx="1180">
                  <c:v>88.61</c:v>
                </c:pt>
                <c:pt idx="1181">
                  <c:v>86</c:v>
                </c:pt>
                <c:pt idx="1182">
                  <c:v>83.75</c:v>
                </c:pt>
                <c:pt idx="1183">
                  <c:v>86.76</c:v>
                </c:pt>
                <c:pt idx="1184">
                  <c:v>86.1</c:v>
                </c:pt>
                <c:pt idx="1185">
                  <c:v>85.34</c:v>
                </c:pt>
                <c:pt idx="1186">
                  <c:v>86.43</c:v>
                </c:pt>
                <c:pt idx="1187">
                  <c:v>84.68</c:v>
                </c:pt>
                <c:pt idx="1188">
                  <c:v>86.7</c:v>
                </c:pt>
                <c:pt idx="1189">
                  <c:v>86.25</c:v>
                </c:pt>
                <c:pt idx="1190">
                  <c:v>85.43</c:v>
                </c:pt>
                <c:pt idx="1191">
                  <c:v>86.23</c:v>
                </c:pt>
                <c:pt idx="1192">
                  <c:v>86.76</c:v>
                </c:pt>
                <c:pt idx="1193">
                  <c:v>86.1</c:v>
                </c:pt>
                <c:pt idx="1194">
                  <c:v>85.96</c:v>
                </c:pt>
                <c:pt idx="1195">
                  <c:v>83.89</c:v>
                </c:pt>
                <c:pt idx="1196">
                  <c:v>83.31</c:v>
                </c:pt>
                <c:pt idx="1197">
                  <c:v>83.6</c:v>
                </c:pt>
                <c:pt idx="1198">
                  <c:v>82.5</c:v>
                </c:pt>
                <c:pt idx="1199">
                  <c:v>82</c:v>
                </c:pt>
                <c:pt idx="1200">
                  <c:v>80.67</c:v>
                </c:pt>
                <c:pt idx="1201">
                  <c:v>77.53</c:v>
                </c:pt>
                <c:pt idx="1202">
                  <c:v>79.599999999999994</c:v>
                </c:pt>
                <c:pt idx="1203">
                  <c:v>79.08</c:v>
                </c:pt>
                <c:pt idx="1204">
                  <c:v>78.41</c:v>
                </c:pt>
                <c:pt idx="1205">
                  <c:v>78.05</c:v>
                </c:pt>
                <c:pt idx="1206">
                  <c:v>79.790000000000006</c:v>
                </c:pt>
                <c:pt idx="1207">
                  <c:v>80.36</c:v>
                </c:pt>
                <c:pt idx="1208">
                  <c:v>79.400000000000006</c:v>
                </c:pt>
                <c:pt idx="1209">
                  <c:v>78.17</c:v>
                </c:pt>
                <c:pt idx="1210">
                  <c:v>77.53</c:v>
                </c:pt>
                <c:pt idx="1211">
                  <c:v>72.819999999999993</c:v>
                </c:pt>
                <c:pt idx="1212">
                  <c:v>70.02</c:v>
                </c:pt>
                <c:pt idx="1213">
                  <c:v>73.31</c:v>
                </c:pt>
                <c:pt idx="1214">
                  <c:v>71.489999999999995</c:v>
                </c:pt>
                <c:pt idx="1215">
                  <c:v>70.5</c:v>
                </c:pt>
                <c:pt idx="1216">
                  <c:v>69.89</c:v>
                </c:pt>
                <c:pt idx="1217">
                  <c:v>69.05</c:v>
                </c:pt>
                <c:pt idx="1218">
                  <c:v>66.52</c:v>
                </c:pt>
                <c:pt idx="1219">
                  <c:v>66.790000000000006</c:v>
                </c:pt>
                <c:pt idx="1220">
                  <c:v>64.56</c:v>
                </c:pt>
                <c:pt idx="1221">
                  <c:v>63.55</c:v>
                </c:pt>
                <c:pt idx="1222">
                  <c:v>61.92</c:v>
                </c:pt>
                <c:pt idx="1223">
                  <c:v>60.52</c:v>
                </c:pt>
                <c:pt idx="1224">
                  <c:v>59.8</c:v>
                </c:pt>
                <c:pt idx="1225">
                  <c:v>60.64</c:v>
                </c:pt>
                <c:pt idx="1226">
                  <c:v>59.81</c:v>
                </c:pt>
                <c:pt idx="1227">
                  <c:v>62.15</c:v>
                </c:pt>
                <c:pt idx="1228">
                  <c:v>60.13</c:v>
                </c:pt>
                <c:pt idx="1229">
                  <c:v>61.55</c:v>
                </c:pt>
                <c:pt idx="1230">
                  <c:v>60.15</c:v>
                </c:pt>
                <c:pt idx="1231">
                  <c:v>60.15</c:v>
                </c:pt>
                <c:pt idx="1232">
                  <c:v>59.52</c:v>
                </c:pt>
                <c:pt idx="1233">
                  <c:v>47.2</c:v>
                </c:pt>
                <c:pt idx="1234">
                  <c:v>46.79</c:v>
                </c:pt>
                <c:pt idx="1235">
                  <c:v>48.61</c:v>
                </c:pt>
                <c:pt idx="1236">
                  <c:v>48.36</c:v>
                </c:pt>
                <c:pt idx="1237">
                  <c:v>49.9</c:v>
                </c:pt>
                <c:pt idx="1238">
                  <c:v>48.85</c:v>
                </c:pt>
                <c:pt idx="1239">
                  <c:v>48.17</c:v>
                </c:pt>
                <c:pt idx="1240">
                  <c:v>48.75</c:v>
                </c:pt>
                <c:pt idx="1241">
                  <c:v>49</c:v>
                </c:pt>
                <c:pt idx="1242">
                  <c:v>48.55</c:v>
                </c:pt>
                <c:pt idx="1243">
                  <c:v>48.11</c:v>
                </c:pt>
                <c:pt idx="1244">
                  <c:v>49.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208384"/>
        <c:axId val="640328832"/>
      </c:lineChart>
      <c:dateAx>
        <c:axId val="640205312"/>
        <c:scaling>
          <c:orientation val="minMax"/>
          <c:min val="40909"/>
        </c:scaling>
        <c:delete val="0"/>
        <c:axPos val="b"/>
        <c:majorGridlines/>
        <c:numFmt formatCode="[$-419]d\ mmm\ yy;@" sourceLinked="0"/>
        <c:majorTickMark val="cross"/>
        <c:minorTickMark val="none"/>
        <c:tickLblPos val="nextTo"/>
        <c:txPr>
          <a:bodyPr rot="0" vert="horz"/>
          <a:lstStyle/>
          <a:p>
            <a:pPr>
              <a:defRPr sz="100" b="0" i="1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640328256"/>
        <c:crosses val="autoZero"/>
        <c:auto val="1"/>
        <c:lblOffset val="100"/>
        <c:baseTimeUnit val="days"/>
        <c:majorUnit val="6"/>
        <c:majorTimeUnit val="months"/>
        <c:minorUnit val="6"/>
        <c:minorTimeUnit val="days"/>
      </c:dateAx>
      <c:valAx>
        <c:axId val="640328256"/>
        <c:scaling>
          <c:orientation val="minMax"/>
          <c:max val="45000"/>
          <c:min val="15000"/>
        </c:scaling>
        <c:delete val="0"/>
        <c:axPos val="l"/>
        <c:majorGridlines/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5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205312"/>
        <c:crosses val="autoZero"/>
        <c:crossBetween val="between"/>
      </c:valAx>
      <c:dateAx>
        <c:axId val="64020838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40328832"/>
        <c:crosses val="autoZero"/>
        <c:auto val="0"/>
        <c:lblOffset val="100"/>
        <c:baseTimeUnit val="days"/>
      </c:dateAx>
      <c:valAx>
        <c:axId val="640328832"/>
        <c:scaling>
          <c:orientation val="minMax"/>
          <c:max val="135"/>
          <c:min val="45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6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0208384"/>
        <c:crosses val="max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9.088638664194279E-2"/>
          <c:y val="0.93030860616107203"/>
          <c:w val="0.8038153592575672"/>
          <c:h val="6.8509462632960316E-2"/>
        </c:manualLayout>
      </c:layout>
      <c:overlay val="0"/>
      <c:txPr>
        <a:bodyPr/>
        <a:lstStyle/>
        <a:p>
          <a:pPr>
            <a:defRPr sz="800" b="0" i="1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442161321135082E-2"/>
          <c:y val="7.1488353145946745E-2"/>
          <c:w val="0.87769485620489551"/>
          <c:h val="0.88446627623385765"/>
        </c:manualLayout>
      </c:layout>
      <c:lineChart>
        <c:grouping val="standard"/>
        <c:varyColors val="0"/>
        <c:ser>
          <c:idx val="0"/>
          <c:order val="0"/>
          <c:tx>
            <c:strRef>
              <c:f>'[Дневное изменение абсолютных значений MISEX + Fut REG + Fut DTL.xlsx]Волатильность Фьючерсов + ФР РФ'!$H$1</c:f>
              <c:strCache>
                <c:ptCount val="1"/>
                <c:pt idx="0">
                  <c:v>Бензин Регуляр-92</c:v>
                </c:pt>
              </c:strCache>
            </c:strRef>
          </c:tx>
          <c:spPr>
            <a:ln w="41275"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H$3:$H$36</c:f>
              <c:numCache>
                <c:formatCode>0.00</c:formatCode>
                <c:ptCount val="34"/>
                <c:pt idx="0">
                  <c:v>-323</c:v>
                </c:pt>
                <c:pt idx="1">
                  <c:v>325</c:v>
                </c:pt>
                <c:pt idx="2">
                  <c:v>-57</c:v>
                </c:pt>
                <c:pt idx="3">
                  <c:v>-823</c:v>
                </c:pt>
                <c:pt idx="4">
                  <c:v>-448</c:v>
                </c:pt>
                <c:pt idx="5">
                  <c:v>-271</c:v>
                </c:pt>
                <c:pt idx="6">
                  <c:v>-52</c:v>
                </c:pt>
                <c:pt idx="7">
                  <c:v>-384</c:v>
                </c:pt>
                <c:pt idx="8">
                  <c:v>344</c:v>
                </c:pt>
                <c:pt idx="9">
                  <c:v>-236</c:v>
                </c:pt>
                <c:pt idx="10">
                  <c:v>-637</c:v>
                </c:pt>
                <c:pt idx="11">
                  <c:v>-459</c:v>
                </c:pt>
                <c:pt idx="12">
                  <c:v>-84</c:v>
                </c:pt>
                <c:pt idx="13">
                  <c:v>337</c:v>
                </c:pt>
                <c:pt idx="14">
                  <c:v>537</c:v>
                </c:pt>
                <c:pt idx="15">
                  <c:v>295</c:v>
                </c:pt>
                <c:pt idx="16">
                  <c:v>183</c:v>
                </c:pt>
                <c:pt idx="17">
                  <c:v>-76</c:v>
                </c:pt>
                <c:pt idx="18">
                  <c:v>-219</c:v>
                </c:pt>
                <c:pt idx="19">
                  <c:v>611</c:v>
                </c:pt>
                <c:pt idx="20">
                  <c:v>-176</c:v>
                </c:pt>
                <c:pt idx="21">
                  <c:v>-522</c:v>
                </c:pt>
                <c:pt idx="22">
                  <c:v>-465</c:v>
                </c:pt>
                <c:pt idx="23">
                  <c:v>-407</c:v>
                </c:pt>
                <c:pt idx="24">
                  <c:v>-193</c:v>
                </c:pt>
                <c:pt idx="25">
                  <c:v>-246</c:v>
                </c:pt>
                <c:pt idx="26">
                  <c:v>-908</c:v>
                </c:pt>
                <c:pt idx="27">
                  <c:v>-948</c:v>
                </c:pt>
                <c:pt idx="28">
                  <c:v>118</c:v>
                </c:pt>
                <c:pt idx="29">
                  <c:v>684</c:v>
                </c:pt>
                <c:pt idx="30">
                  <c:v>421</c:v>
                </c:pt>
                <c:pt idx="31">
                  <c:v>62</c:v>
                </c:pt>
                <c:pt idx="32">
                  <c:v>-134</c:v>
                </c:pt>
                <c:pt idx="33">
                  <c:v>-41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Дневное изменение абсолютных значений MISEX + Fut REG + Fut DTL.xlsx]Волатильность Фьючерсов + ФР РФ'!$I$1</c:f>
              <c:strCache>
                <c:ptCount val="1"/>
                <c:pt idx="0">
                  <c:v>Дизель</c:v>
                </c:pt>
              </c:strCache>
            </c:strRef>
          </c:tx>
          <c:spPr>
            <a:ln w="41275">
              <a:solidFill>
                <a:srgbClr val="7030A0"/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I$3:$I$36</c:f>
              <c:numCache>
                <c:formatCode>0.00</c:formatCode>
                <c:ptCount val="34"/>
                <c:pt idx="0">
                  <c:v>-211</c:v>
                </c:pt>
                <c:pt idx="1">
                  <c:v>359</c:v>
                </c:pt>
                <c:pt idx="2">
                  <c:v>110</c:v>
                </c:pt>
                <c:pt idx="3">
                  <c:v>-211</c:v>
                </c:pt>
                <c:pt idx="4">
                  <c:v>-72</c:v>
                </c:pt>
                <c:pt idx="5">
                  <c:v>-16</c:v>
                </c:pt>
                <c:pt idx="6">
                  <c:v>-96</c:v>
                </c:pt>
                <c:pt idx="7">
                  <c:v>-98</c:v>
                </c:pt>
                <c:pt idx="8">
                  <c:v>-2</c:v>
                </c:pt>
                <c:pt idx="9">
                  <c:v>-450</c:v>
                </c:pt>
                <c:pt idx="10">
                  <c:v>-360</c:v>
                </c:pt>
                <c:pt idx="11">
                  <c:v>-185</c:v>
                </c:pt>
                <c:pt idx="12">
                  <c:v>-917</c:v>
                </c:pt>
                <c:pt idx="13">
                  <c:v>-112</c:v>
                </c:pt>
                <c:pt idx="14">
                  <c:v>201</c:v>
                </c:pt>
                <c:pt idx="15">
                  <c:v>180</c:v>
                </c:pt>
                <c:pt idx="16">
                  <c:v>277</c:v>
                </c:pt>
                <c:pt idx="17">
                  <c:v>-257</c:v>
                </c:pt>
                <c:pt idx="18">
                  <c:v>-165</c:v>
                </c:pt>
                <c:pt idx="19">
                  <c:v>87</c:v>
                </c:pt>
                <c:pt idx="20">
                  <c:v>-215</c:v>
                </c:pt>
                <c:pt idx="21">
                  <c:v>-213</c:v>
                </c:pt>
                <c:pt idx="22">
                  <c:v>-732</c:v>
                </c:pt>
                <c:pt idx="23">
                  <c:v>-331</c:v>
                </c:pt>
                <c:pt idx="24">
                  <c:v>-235</c:v>
                </c:pt>
                <c:pt idx="25">
                  <c:v>-664</c:v>
                </c:pt>
                <c:pt idx="26">
                  <c:v>-889</c:v>
                </c:pt>
                <c:pt idx="27">
                  <c:v>-809</c:v>
                </c:pt>
                <c:pt idx="28">
                  <c:v>-496</c:v>
                </c:pt>
                <c:pt idx="29">
                  <c:v>51</c:v>
                </c:pt>
                <c:pt idx="30">
                  <c:v>-175</c:v>
                </c:pt>
                <c:pt idx="31">
                  <c:v>214</c:v>
                </c:pt>
                <c:pt idx="32">
                  <c:v>119</c:v>
                </c:pt>
                <c:pt idx="33">
                  <c:v>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0207872"/>
        <c:axId val="640331136"/>
      </c:lineChart>
      <c:lineChart>
        <c:grouping val="standard"/>
        <c:varyColors val="0"/>
        <c:ser>
          <c:idx val="1"/>
          <c:order val="1"/>
          <c:tx>
            <c:strRef>
              <c:f>'[Дневное изменение абсолютных значений MISEX + Fut REG + Fut DTL.xlsx]Волатильность Фьючерсов + ФР РФ'!$G$1</c:f>
              <c:strCache>
                <c:ptCount val="1"/>
                <c:pt idx="0">
                  <c:v>Индекс Фондового рынка</c:v>
                </c:pt>
              </c:strCache>
            </c:strRef>
          </c:tx>
          <c:spPr>
            <a:ln w="41275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[Дневное изменение абсолютных значений MISEX + Fut REG + Fut DTL.xlsx]Волатильность Фьючерсов + ФР РФ'!$A$3:$A$36</c:f>
              <c:numCache>
                <c:formatCode>m/d/yyyy</c:formatCode>
                <c:ptCount val="34"/>
                <c:pt idx="0">
                  <c:v>41975</c:v>
                </c:pt>
                <c:pt idx="1">
                  <c:v>41976</c:v>
                </c:pt>
                <c:pt idx="2">
                  <c:v>41977</c:v>
                </c:pt>
                <c:pt idx="3">
                  <c:v>41978</c:v>
                </c:pt>
                <c:pt idx="4">
                  <c:v>41981</c:v>
                </c:pt>
                <c:pt idx="5">
                  <c:v>41982</c:v>
                </c:pt>
                <c:pt idx="6">
                  <c:v>41983</c:v>
                </c:pt>
                <c:pt idx="7">
                  <c:v>41984</c:v>
                </c:pt>
                <c:pt idx="8">
                  <c:v>41985</c:v>
                </c:pt>
                <c:pt idx="9">
                  <c:v>41988</c:v>
                </c:pt>
                <c:pt idx="10">
                  <c:v>41989</c:v>
                </c:pt>
                <c:pt idx="11">
                  <c:v>41990</c:v>
                </c:pt>
                <c:pt idx="12">
                  <c:v>41991</c:v>
                </c:pt>
                <c:pt idx="13">
                  <c:v>41992</c:v>
                </c:pt>
                <c:pt idx="14">
                  <c:v>41995</c:v>
                </c:pt>
                <c:pt idx="15">
                  <c:v>41996</c:v>
                </c:pt>
                <c:pt idx="16">
                  <c:v>41997</c:v>
                </c:pt>
                <c:pt idx="17">
                  <c:v>41998</c:v>
                </c:pt>
                <c:pt idx="18">
                  <c:v>41999</c:v>
                </c:pt>
                <c:pt idx="19">
                  <c:v>42016</c:v>
                </c:pt>
                <c:pt idx="20">
                  <c:v>42017</c:v>
                </c:pt>
                <c:pt idx="21">
                  <c:v>42018</c:v>
                </c:pt>
                <c:pt idx="22">
                  <c:v>42019</c:v>
                </c:pt>
                <c:pt idx="23">
                  <c:v>42020</c:v>
                </c:pt>
                <c:pt idx="24">
                  <c:v>42023</c:v>
                </c:pt>
                <c:pt idx="25">
                  <c:v>42024</c:v>
                </c:pt>
                <c:pt idx="26">
                  <c:v>42025</c:v>
                </c:pt>
                <c:pt idx="27">
                  <c:v>42026</c:v>
                </c:pt>
                <c:pt idx="28">
                  <c:v>42027</c:v>
                </c:pt>
                <c:pt idx="29">
                  <c:v>42030</c:v>
                </c:pt>
                <c:pt idx="30">
                  <c:v>42031</c:v>
                </c:pt>
                <c:pt idx="31">
                  <c:v>42032</c:v>
                </c:pt>
                <c:pt idx="32">
                  <c:v>42033</c:v>
                </c:pt>
                <c:pt idx="33">
                  <c:v>42034</c:v>
                </c:pt>
              </c:numCache>
            </c:numRef>
          </c:cat>
          <c:val>
            <c:numRef>
              <c:f>'[Дневное изменение абсолютных значений MISEX + Fut REG + Fut DTL.xlsx]Волатильность Фьючерсов + ФР РФ'!$G$3:$G$36</c:f>
              <c:numCache>
                <c:formatCode>0.00</c:formatCode>
                <c:ptCount val="34"/>
                <c:pt idx="0">
                  <c:v>4.7399999999997817</c:v>
                </c:pt>
                <c:pt idx="1">
                  <c:v>23.720000000000027</c:v>
                </c:pt>
                <c:pt idx="2">
                  <c:v>-24.759999999999991</c:v>
                </c:pt>
                <c:pt idx="3">
                  <c:v>-52.879999999999882</c:v>
                </c:pt>
                <c:pt idx="4">
                  <c:v>-47.930000000000064</c:v>
                </c:pt>
                <c:pt idx="5">
                  <c:v>-6.0499999999999545</c:v>
                </c:pt>
                <c:pt idx="6">
                  <c:v>11.629999999999882</c:v>
                </c:pt>
                <c:pt idx="7">
                  <c:v>-31.809999999999945</c:v>
                </c:pt>
                <c:pt idx="8">
                  <c:v>4.6400000000001</c:v>
                </c:pt>
                <c:pt idx="9">
                  <c:v>-34.690000000000055</c:v>
                </c:pt>
                <c:pt idx="10">
                  <c:v>19.329999999999927</c:v>
                </c:pt>
                <c:pt idx="11">
                  <c:v>-30.529999999999973</c:v>
                </c:pt>
                <c:pt idx="12">
                  <c:v>63.480000000000018</c:v>
                </c:pt>
                <c:pt idx="13">
                  <c:v>-28.139999999999873</c:v>
                </c:pt>
                <c:pt idx="14">
                  <c:v>-12.050000000000182</c:v>
                </c:pt>
                <c:pt idx="15">
                  <c:v>-38.879999999999882</c:v>
                </c:pt>
                <c:pt idx="16">
                  <c:v>3.2999999999999545</c:v>
                </c:pt>
                <c:pt idx="17">
                  <c:v>7.0399999999999636</c:v>
                </c:pt>
                <c:pt idx="18">
                  <c:v>9.2599999999999909</c:v>
                </c:pt>
                <c:pt idx="19">
                  <c:v>95.420000000000073</c:v>
                </c:pt>
                <c:pt idx="20">
                  <c:v>19.869999999999891</c:v>
                </c:pt>
                <c:pt idx="21">
                  <c:v>21.370000000000118</c:v>
                </c:pt>
                <c:pt idx="22">
                  <c:v>8.75</c:v>
                </c:pt>
                <c:pt idx="23">
                  <c:v>28.220000000000027</c:v>
                </c:pt>
                <c:pt idx="24">
                  <c:v>-15.029999999999973</c:v>
                </c:pt>
                <c:pt idx="25">
                  <c:v>-5.4300000000000637</c:v>
                </c:pt>
                <c:pt idx="26">
                  <c:v>47.200000000000045</c:v>
                </c:pt>
                <c:pt idx="27">
                  <c:v>48.389999999999873</c:v>
                </c:pt>
                <c:pt idx="28">
                  <c:v>5.2400000000000091</c:v>
                </c:pt>
                <c:pt idx="29">
                  <c:v>-29.430000000000064</c:v>
                </c:pt>
                <c:pt idx="30">
                  <c:v>31.550000000000182</c:v>
                </c:pt>
                <c:pt idx="31">
                  <c:v>-26.210000000000036</c:v>
                </c:pt>
                <c:pt idx="32">
                  <c:v>-8.0599999999999454</c:v>
                </c:pt>
                <c:pt idx="33">
                  <c:v>8.03999999999996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1120256"/>
        <c:axId val="640331712"/>
      </c:lineChart>
      <c:catAx>
        <c:axId val="640207872"/>
        <c:scaling>
          <c:orientation val="minMax"/>
        </c:scaling>
        <c:delete val="1"/>
        <c:axPos val="b"/>
        <c:minorGridlines/>
        <c:numFmt formatCode="m/d/yyyy" sourceLinked="1"/>
        <c:majorTickMark val="out"/>
        <c:minorTickMark val="none"/>
        <c:tickLblPos val="low"/>
        <c:crossAx val="640331136"/>
        <c:crosses val="autoZero"/>
        <c:auto val="0"/>
        <c:lblAlgn val="ctr"/>
        <c:lblOffset val="100"/>
        <c:tickLblSkip val="5"/>
        <c:noMultiLvlLbl val="0"/>
      </c:catAx>
      <c:valAx>
        <c:axId val="640331136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640207872"/>
        <c:crosses val="autoZero"/>
        <c:crossBetween val="between"/>
      </c:valAx>
      <c:valAx>
        <c:axId val="64033171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crossAx val="641120256"/>
        <c:crosses val="max"/>
        <c:crossBetween val="between"/>
      </c:valAx>
      <c:dateAx>
        <c:axId val="64112025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640331712"/>
        <c:crosses val="autoZero"/>
        <c:auto val="1"/>
        <c:lblOffset val="100"/>
        <c:baseTimeUnit val="days"/>
      </c:dateAx>
    </c:plotArea>
    <c:legend>
      <c:legendPos val="r"/>
      <c:layout>
        <c:manualLayout>
          <c:xMode val="edge"/>
          <c:yMode val="edge"/>
          <c:x val="0.11672753880707787"/>
          <c:y val="0.91895715290893609"/>
          <c:w val="0.81254111226171166"/>
          <c:h val="8.1042833563330363E-2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txPr>
    <a:bodyPr/>
    <a:lstStyle/>
    <a:p>
      <a:pPr>
        <a:defRPr sz="5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r">
              <a:defRPr sz="1600" b="0">
                <a:latin typeface="+mj-lt"/>
              </a:defRPr>
            </a:pPr>
            <a:r>
              <a:rPr lang="ru-RU" sz="1600" b="0" dirty="0" smtClean="0">
                <a:latin typeface="+mj-lt"/>
              </a:rPr>
              <a:t>Количество</a:t>
            </a:r>
            <a:r>
              <a:rPr lang="ru-RU" sz="1600" b="0" baseline="0" dirty="0" smtClean="0">
                <a:latin typeface="+mj-lt"/>
              </a:rPr>
              <a:t> договоров*</a:t>
            </a:r>
            <a:endParaRPr lang="en-US" sz="1600" b="0" dirty="0">
              <a:latin typeface="+mj-lt"/>
            </a:endParaRPr>
          </a:p>
        </c:rich>
      </c:tx>
      <c:layout>
        <c:manualLayout>
          <c:xMode val="edge"/>
          <c:yMode val="edge"/>
          <c:x val="0.75803988950722645"/>
          <c:y val="5.2910947919425466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Number of trade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effectLst/>
          </c:spPr>
          <c:invertIfNegative val="0"/>
          <c:dLbls>
            <c:dLbl>
              <c:idx val="0"/>
              <c:layout>
                <c:manualLayout>
                  <c:x val="-1.4697271240939746E-17"/>
                  <c:y val="1.431059118499694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6033572027350496E-3"/>
                  <c:y val="1.44198979970333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6033572027350496E-3"/>
                  <c:y val="1.480300941364600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7778511938550761E-3"/>
                  <c:y val="1.835975920739382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2.13112445171882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1.6032309541365267E-3"/>
                  <c:y val="7.72383436828367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AA$1</c:f>
              <c:strCache>
                <c:ptCount val="26"/>
                <c:pt idx="0">
                  <c:v>3 кв. 
2008</c:v>
                </c:pt>
                <c:pt idx="1">
                  <c:v>4 кв.
2008</c:v>
                </c:pt>
                <c:pt idx="2">
                  <c:v>1 кв. 
2009</c:v>
                </c:pt>
                <c:pt idx="3">
                  <c:v>2 кв. 
2009</c:v>
                </c:pt>
                <c:pt idx="4">
                  <c:v>3 кв. 
2009</c:v>
                </c:pt>
                <c:pt idx="5">
                  <c:v>4 кв. 
2009</c:v>
                </c:pt>
                <c:pt idx="6">
                  <c:v>1 кв. 
2010</c:v>
                </c:pt>
                <c:pt idx="7">
                  <c:v>2 кв. 
2010</c:v>
                </c:pt>
                <c:pt idx="8">
                  <c:v>3 кв. 
2010</c:v>
                </c:pt>
                <c:pt idx="9">
                  <c:v>4 кв. 
2010</c:v>
                </c:pt>
                <c:pt idx="10">
                  <c:v>1 кв. 
2011</c:v>
                </c:pt>
                <c:pt idx="11">
                  <c:v>2 кв. 
2011</c:v>
                </c:pt>
                <c:pt idx="12">
                  <c:v>3 кв. 
2011</c:v>
                </c:pt>
                <c:pt idx="13">
                  <c:v>4 кв. 
2011</c:v>
                </c:pt>
                <c:pt idx="14">
                  <c:v>1 кв. 
2012</c:v>
                </c:pt>
                <c:pt idx="15">
                  <c:v>2 кв. 
2012</c:v>
                </c:pt>
                <c:pt idx="16">
                  <c:v>3 кв. 
2012</c:v>
                </c:pt>
                <c:pt idx="17">
                  <c:v>4 кв. 
2012</c:v>
                </c:pt>
                <c:pt idx="18">
                  <c:v>1 кв. 
2013</c:v>
                </c:pt>
                <c:pt idx="19">
                  <c:v>2 кв. 
2013</c:v>
                </c:pt>
                <c:pt idx="20">
                  <c:v>3 кв. 
2013</c:v>
                </c:pt>
                <c:pt idx="21">
                  <c:v>4 кв. 
2013</c:v>
                </c:pt>
                <c:pt idx="22">
                  <c:v>1 кв. 
2014</c:v>
                </c:pt>
                <c:pt idx="23">
                  <c:v>2 кв. 
2014</c:v>
                </c:pt>
                <c:pt idx="24">
                  <c:v>3 кв. 
2014</c:v>
                </c:pt>
                <c:pt idx="25">
                  <c:v>4 кв. 2014</c:v>
                </c:pt>
              </c:strCache>
            </c:strRef>
          </c:cat>
          <c:val>
            <c:numRef>
              <c:f>Лист1!$B$2:$AA$2</c:f>
              <c:numCache>
                <c:formatCode>General</c:formatCode>
                <c:ptCount val="26"/>
                <c:pt idx="0">
                  <c:v>24</c:v>
                </c:pt>
                <c:pt idx="1">
                  <c:v>28</c:v>
                </c:pt>
                <c:pt idx="2">
                  <c:v>42</c:v>
                </c:pt>
                <c:pt idx="3">
                  <c:v>91</c:v>
                </c:pt>
                <c:pt idx="4">
                  <c:v>280</c:v>
                </c:pt>
                <c:pt idx="5">
                  <c:v>779</c:v>
                </c:pt>
                <c:pt idx="6">
                  <c:v>1541</c:v>
                </c:pt>
                <c:pt idx="7">
                  <c:v>1930</c:v>
                </c:pt>
                <c:pt idx="8">
                  <c:v>2673</c:v>
                </c:pt>
                <c:pt idx="9">
                  <c:v>3047</c:v>
                </c:pt>
                <c:pt idx="10">
                  <c:v>4694</c:v>
                </c:pt>
                <c:pt idx="11">
                  <c:v>4792</c:v>
                </c:pt>
                <c:pt idx="12">
                  <c:v>5260</c:v>
                </c:pt>
                <c:pt idx="13">
                  <c:v>4605</c:v>
                </c:pt>
                <c:pt idx="14">
                  <c:v>3409</c:v>
                </c:pt>
                <c:pt idx="15">
                  <c:v>3900</c:v>
                </c:pt>
                <c:pt idx="16">
                  <c:v>4319</c:v>
                </c:pt>
                <c:pt idx="17">
                  <c:v>6585</c:v>
                </c:pt>
                <c:pt idx="18">
                  <c:v>6271</c:v>
                </c:pt>
                <c:pt idx="19" formatCode="0">
                  <c:v>9856</c:v>
                </c:pt>
                <c:pt idx="20" formatCode="0">
                  <c:v>16823</c:v>
                </c:pt>
                <c:pt idx="21">
                  <c:v>24660</c:v>
                </c:pt>
                <c:pt idx="22">
                  <c:v>19835</c:v>
                </c:pt>
                <c:pt idx="23">
                  <c:v>18595</c:v>
                </c:pt>
                <c:pt idx="24">
                  <c:v>23813</c:v>
                </c:pt>
                <c:pt idx="25">
                  <c:v>267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33155072"/>
        <c:axId val="632493696"/>
      </c:barChart>
      <c:catAx>
        <c:axId val="633155072"/>
        <c:scaling>
          <c:orientation val="minMax"/>
        </c:scaling>
        <c:delete val="0"/>
        <c:axPos val="b"/>
        <c:minorGridlines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32493696"/>
        <c:crosses val="autoZero"/>
        <c:auto val="1"/>
        <c:lblAlgn val="ctr"/>
        <c:lblOffset val="100"/>
        <c:noMultiLvlLbl val="0"/>
      </c:catAx>
      <c:valAx>
        <c:axId val="632493696"/>
        <c:scaling>
          <c:orientation val="minMax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33155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 b="0">
                <a:latin typeface="+mj-lt"/>
              </a:defRPr>
            </a:pPr>
            <a:r>
              <a:rPr lang="ru-RU" sz="1600" b="0" dirty="0" smtClean="0">
                <a:latin typeface="+mj-lt"/>
              </a:rPr>
              <a:t>Количество участников</a:t>
            </a:r>
            <a:endParaRPr lang="en-US" sz="1600" b="0" dirty="0">
              <a:latin typeface="+mj-lt"/>
            </a:endParaRPr>
          </a:p>
        </c:rich>
      </c:tx>
      <c:layout>
        <c:manualLayout>
          <c:xMode val="edge"/>
          <c:yMode val="edge"/>
          <c:x val="0.71321881313131308"/>
          <c:y val="5.2910947919425466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Number of participants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effectLst/>
          </c:spPr>
          <c:invertIfNegative val="0"/>
          <c:dLbls>
            <c:dLbl>
              <c:idx val="3"/>
              <c:layout>
                <c:manualLayout>
                  <c:x val="-1.7778511938550761E-3"/>
                  <c:y val="1.835975920739382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AA$1</c:f>
              <c:strCache>
                <c:ptCount val="26"/>
                <c:pt idx="0">
                  <c:v>3 кв. 
2008</c:v>
                </c:pt>
                <c:pt idx="1">
                  <c:v>4 кв.
2008</c:v>
                </c:pt>
                <c:pt idx="2">
                  <c:v>1 кв. 
2009</c:v>
                </c:pt>
                <c:pt idx="3">
                  <c:v>2 кв. 
2009</c:v>
                </c:pt>
                <c:pt idx="4">
                  <c:v>3 кв. 
2009</c:v>
                </c:pt>
                <c:pt idx="5">
                  <c:v>4 кв. 
2009</c:v>
                </c:pt>
                <c:pt idx="6">
                  <c:v>1 кв. 
2010</c:v>
                </c:pt>
                <c:pt idx="7">
                  <c:v>2 кв. 
2010</c:v>
                </c:pt>
                <c:pt idx="8">
                  <c:v>3 кв. 
2010</c:v>
                </c:pt>
                <c:pt idx="9">
                  <c:v>4 кв. 
2010</c:v>
                </c:pt>
                <c:pt idx="10">
                  <c:v>1 кв. 
2011</c:v>
                </c:pt>
                <c:pt idx="11">
                  <c:v>2 кв. 
2011</c:v>
                </c:pt>
                <c:pt idx="12">
                  <c:v>3 кв. 
2011</c:v>
                </c:pt>
                <c:pt idx="13">
                  <c:v>4 кв. 
2011</c:v>
                </c:pt>
                <c:pt idx="14">
                  <c:v>1 кв. 
2012</c:v>
                </c:pt>
                <c:pt idx="15">
                  <c:v>2 кв. 
2012</c:v>
                </c:pt>
                <c:pt idx="16">
                  <c:v>3 кв. 
2012</c:v>
                </c:pt>
                <c:pt idx="17">
                  <c:v>4 кв. 
2012</c:v>
                </c:pt>
                <c:pt idx="18">
                  <c:v>1 кв. 
2013</c:v>
                </c:pt>
                <c:pt idx="19">
                  <c:v>2 кв. 
2013</c:v>
                </c:pt>
                <c:pt idx="20">
                  <c:v>3 кв. 
2013</c:v>
                </c:pt>
                <c:pt idx="21">
                  <c:v>4 кв. 
2013</c:v>
                </c:pt>
                <c:pt idx="22">
                  <c:v>1 кв. 
2014</c:v>
                </c:pt>
                <c:pt idx="23">
                  <c:v>2 кв. 
2014</c:v>
                </c:pt>
                <c:pt idx="24">
                  <c:v>3 кв. 
2014</c:v>
                </c:pt>
                <c:pt idx="25">
                  <c:v>4 кв. 2014</c:v>
                </c:pt>
              </c:strCache>
            </c:strRef>
          </c:cat>
          <c:val>
            <c:numRef>
              <c:f>Лист1!$B$2:$AA$2</c:f>
              <c:numCache>
                <c:formatCode>General</c:formatCode>
                <c:ptCount val="26"/>
                <c:pt idx="0">
                  <c:v>21</c:v>
                </c:pt>
                <c:pt idx="1">
                  <c:v>27</c:v>
                </c:pt>
                <c:pt idx="2">
                  <c:v>60</c:v>
                </c:pt>
                <c:pt idx="3">
                  <c:v>90</c:v>
                </c:pt>
                <c:pt idx="4">
                  <c:v>115</c:v>
                </c:pt>
                <c:pt idx="5">
                  <c:v>175</c:v>
                </c:pt>
                <c:pt idx="6">
                  <c:v>272</c:v>
                </c:pt>
                <c:pt idx="7">
                  <c:v>372</c:v>
                </c:pt>
                <c:pt idx="8">
                  <c:v>473</c:v>
                </c:pt>
                <c:pt idx="9">
                  <c:v>600</c:v>
                </c:pt>
                <c:pt idx="10">
                  <c:v>691</c:v>
                </c:pt>
                <c:pt idx="11">
                  <c:v>786</c:v>
                </c:pt>
                <c:pt idx="12">
                  <c:v>857</c:v>
                </c:pt>
                <c:pt idx="13">
                  <c:v>905</c:v>
                </c:pt>
                <c:pt idx="14">
                  <c:v>963</c:v>
                </c:pt>
                <c:pt idx="15">
                  <c:v>1003</c:v>
                </c:pt>
                <c:pt idx="16">
                  <c:v>1006</c:v>
                </c:pt>
                <c:pt idx="17">
                  <c:v>1051</c:v>
                </c:pt>
                <c:pt idx="18">
                  <c:v>1105</c:v>
                </c:pt>
                <c:pt idx="19">
                  <c:v>1160</c:v>
                </c:pt>
                <c:pt idx="20">
                  <c:v>1256</c:v>
                </c:pt>
                <c:pt idx="21">
                  <c:v>1353</c:v>
                </c:pt>
                <c:pt idx="22">
                  <c:v>1358</c:v>
                </c:pt>
                <c:pt idx="23">
                  <c:v>1459</c:v>
                </c:pt>
                <c:pt idx="24">
                  <c:v>1516</c:v>
                </c:pt>
                <c:pt idx="25">
                  <c:v>15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32763392"/>
        <c:axId val="632494848"/>
      </c:barChart>
      <c:catAx>
        <c:axId val="632763392"/>
        <c:scaling>
          <c:orientation val="minMax"/>
        </c:scaling>
        <c:delete val="0"/>
        <c:axPos val="b"/>
        <c:minorGridlines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32494848"/>
        <c:crosses val="autoZero"/>
        <c:auto val="1"/>
        <c:lblAlgn val="ctr"/>
        <c:lblOffset val="100"/>
        <c:noMultiLvlLbl val="0"/>
      </c:catAx>
      <c:valAx>
        <c:axId val="6324948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632763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r" rtl="0">
              <a:defRPr lang="ru-RU" sz="1600" b="0" i="0" u="none" strike="noStrike" kern="1200" baseline="0" dirty="0">
                <a:solidFill>
                  <a:prstClr val="black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pPr>
            <a:r>
              <a:rPr lang="ru-RU" sz="1200" b="1" i="0" u="none" strike="noStrike" kern="1200" baseline="0" dirty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руктура </a:t>
            </a:r>
            <a:r>
              <a:rPr lang="ru-RU" sz="1200" b="1" i="0" u="none" strike="noStrike" kern="1200" baseline="0" dirty="0" smtClean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а фьючерсного рынка СПбМТСБ за 2014:</a:t>
            </a:r>
            <a:endParaRPr lang="ru-RU" sz="1200" b="1" i="0" u="none" strike="noStrike" kern="1200" baseline="0" dirty="0">
              <a:solidFill>
                <a:schemeClr val="bg2">
                  <a:lumMod val="7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c:rich>
      </c:tx>
      <c:layout>
        <c:manualLayout>
          <c:xMode val="edge"/>
          <c:yMode val="edge"/>
          <c:x val="2.5702927090355879E-2"/>
          <c:y val="8.1747621911741605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753390201224845"/>
          <c:y val="0.26863191671513625"/>
          <c:w val="0.3333088363954505"/>
          <c:h val="0.6224341086284529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2"/>
            <c:bubble3D val="0"/>
            <c:spPr>
              <a:solidFill>
                <a:srgbClr val="89CB41"/>
              </a:solidFill>
              <a:ln>
                <a:solidFill>
                  <a:schemeClr val="accent1">
                    <a:lumMod val="60000"/>
                    <a:lumOff val="40000"/>
                  </a:schemeClr>
                </a:solidFill>
              </a:ln>
            </c:spPr>
          </c:dPt>
          <c:dLbls>
            <c:dLbl>
              <c:idx val="0"/>
              <c:layout>
                <c:manualLayout>
                  <c:x val="1.3734251968503936E-2"/>
                  <c:y val="1.80306763300809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3.2183508311461065E-2"/>
                  <c:y val="7.679375494226131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1.9954068241469815E-2"/>
                  <c:y val="-7.67026702915362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05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53:$C$53</c:f>
              <c:strCache>
                <c:ptCount val="3"/>
                <c:pt idx="0">
                  <c:v>Поставочные фьючерсные контракты</c:v>
                </c:pt>
                <c:pt idx="1">
                  <c:v>Фьючерсные контракты по т.к.Магистраль-карт</c:v>
                </c:pt>
                <c:pt idx="2">
                  <c:v>Фьючерсные контракты на индексы нефтепродуктов</c:v>
                </c:pt>
              </c:strCache>
            </c:strRef>
          </c:cat>
          <c:val>
            <c:numRef>
              <c:f>Лист1!$A$54:$C$54</c:f>
              <c:numCache>
                <c:formatCode>General</c:formatCode>
                <c:ptCount val="3"/>
                <c:pt idx="0">
                  <c:v>174484800</c:v>
                </c:pt>
                <c:pt idx="1">
                  <c:v>40781174</c:v>
                </c:pt>
                <c:pt idx="2">
                  <c:v>34943100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110"/>
      </c:pieChart>
    </c:plotArea>
    <c:legend>
      <c:legendPos val="r"/>
      <c:legendEntry>
        <c:idx val="0"/>
        <c:txPr>
          <a:bodyPr/>
          <a:lstStyle/>
          <a:p>
            <a:pPr algn="just">
              <a:defRPr sz="110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>
                <a:solidFill>
                  <a:schemeClr val="accent1">
                    <a:lumMod val="75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43675908914383788"/>
          <c:y val="0.32427144110424511"/>
          <c:w val="0.54022802498972866"/>
          <c:h val="0.41383476548582721"/>
        </c:manualLayout>
      </c:layout>
      <c:overlay val="0"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full_csv_vli (24).csv]full_csv_vli (24)!СводнаяТаблица1</c:name>
    <c:fmtId val="-1"/>
  </c:pivotSource>
  <c:chart>
    <c:autoTitleDeleted val="0"/>
    <c:pivotFmts>
      <c:pivotFmt>
        <c:idx val="0"/>
        <c:marker>
          <c:symbol val="none"/>
        </c:marker>
      </c:pivotFmt>
      <c:pivotFmt>
        <c:idx val="1"/>
      </c:pivotFmt>
      <c:pivotFmt>
        <c:idx val="2"/>
        <c:marker>
          <c:symbol val="none"/>
        </c:marker>
      </c:pivotFmt>
      <c:pivotFmt>
        <c:idx val="3"/>
      </c:pivotFmt>
      <c:pivotFmt>
        <c:idx val="4"/>
        <c:marker>
          <c:symbol val="none"/>
        </c:marker>
      </c:pivotFmt>
      <c:pivotFmt>
        <c:idx val="5"/>
      </c:pivotFmt>
      <c:pivotFmt>
        <c:idx val="6"/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</c:pivotFmt>
      <c:pivotFmt>
        <c:idx val="10"/>
        <c:marker>
          <c:symbol val="none"/>
        </c:marker>
      </c:pivotFmt>
      <c:pivotFmt>
        <c:idx val="11"/>
        <c:marker>
          <c:symbol val="none"/>
        </c:marker>
      </c:pivotFmt>
      <c:pivotFmt>
        <c:idx val="12"/>
        <c:marker>
          <c:symbol val="none"/>
        </c:marker>
      </c:pivotFmt>
      <c:pivotFmt>
        <c:idx val="13"/>
        <c:marker>
          <c:symbol val="none"/>
        </c:marker>
      </c:pivotFmt>
      <c:pivotFmt>
        <c:idx val="14"/>
        <c:marker>
          <c:symbol val="none"/>
        </c:marker>
      </c:pivotFmt>
      <c:pivotFmt>
        <c:idx val="15"/>
        <c:marker>
          <c:symbol val="none"/>
        </c:marker>
      </c:pivotFmt>
      <c:pivotFmt>
        <c:idx val="16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4.1839946787755523E-2"/>
          <c:y val="7.575757575757576E-2"/>
          <c:w val="0.92979124167969007"/>
          <c:h val="0.83114826321979551"/>
        </c:manualLayout>
      </c:layout>
      <c:lineChart>
        <c:grouping val="standard"/>
        <c:varyColors val="0"/>
        <c:ser>
          <c:idx val="0"/>
          <c:order val="0"/>
          <c:tx>
            <c:strRef>
              <c:f>'full_csv_vli (24)'!$H$3:$H$4</c:f>
              <c:strCache>
                <c:ptCount val="1"/>
                <c:pt idx="0">
                  <c:v>ДТЛ</c:v>
                </c:pt>
              </c:strCache>
            </c:strRef>
          </c:tx>
          <c:spPr>
            <a:ln w="47625">
              <a:solidFill>
                <a:srgbClr val="0070C0"/>
              </a:solidFill>
            </a:ln>
          </c:spPr>
          <c:marker>
            <c:symbol val="none"/>
          </c:marker>
          <c:cat>
            <c:strRef>
              <c:f>'full_csv_vli (24)'!$G$5:$G$241</c:f>
              <c:strCache>
                <c:ptCount val="236"/>
                <c:pt idx="0">
                  <c:v>09.01.2014</c:v>
                </c:pt>
                <c:pt idx="1">
                  <c:v>10.01.2014</c:v>
                </c:pt>
                <c:pt idx="2">
                  <c:v>13.01.2014</c:v>
                </c:pt>
                <c:pt idx="3">
                  <c:v>14.01.2014</c:v>
                </c:pt>
                <c:pt idx="4">
                  <c:v>15.01.2014</c:v>
                </c:pt>
                <c:pt idx="5">
                  <c:v>16.01.2014</c:v>
                </c:pt>
                <c:pt idx="6">
                  <c:v>17.01.2014</c:v>
                </c:pt>
                <c:pt idx="7">
                  <c:v>20.01.2014</c:v>
                </c:pt>
                <c:pt idx="8">
                  <c:v>21.01.2014</c:v>
                </c:pt>
                <c:pt idx="9">
                  <c:v>22.01.2014</c:v>
                </c:pt>
                <c:pt idx="10">
                  <c:v>23.01.2014</c:v>
                </c:pt>
                <c:pt idx="11">
                  <c:v>24.01.2014</c:v>
                </c:pt>
                <c:pt idx="12">
                  <c:v>27.01.2014</c:v>
                </c:pt>
                <c:pt idx="13">
                  <c:v>28.01.2014</c:v>
                </c:pt>
                <c:pt idx="14">
                  <c:v>29.01.2014</c:v>
                </c:pt>
                <c:pt idx="15">
                  <c:v>30.01.2014</c:v>
                </c:pt>
                <c:pt idx="16">
                  <c:v>31.01.2014</c:v>
                </c:pt>
                <c:pt idx="17">
                  <c:v>03.02.2014</c:v>
                </c:pt>
                <c:pt idx="18">
                  <c:v>04.02.2014</c:v>
                </c:pt>
                <c:pt idx="19">
                  <c:v>05.02.2014</c:v>
                </c:pt>
                <c:pt idx="20">
                  <c:v>06.02.2014</c:v>
                </c:pt>
                <c:pt idx="21">
                  <c:v>07.02.2014</c:v>
                </c:pt>
                <c:pt idx="22">
                  <c:v>10.02.2014</c:v>
                </c:pt>
                <c:pt idx="23">
                  <c:v>11.02.2014</c:v>
                </c:pt>
                <c:pt idx="24">
                  <c:v>12.02.2014</c:v>
                </c:pt>
                <c:pt idx="25">
                  <c:v>13.02.2014</c:v>
                </c:pt>
                <c:pt idx="26">
                  <c:v>14.02.2014</c:v>
                </c:pt>
                <c:pt idx="27">
                  <c:v>17.02.2014</c:v>
                </c:pt>
                <c:pt idx="28">
                  <c:v>18.02.2014</c:v>
                </c:pt>
                <c:pt idx="29">
                  <c:v>19.02.2014</c:v>
                </c:pt>
                <c:pt idx="30">
                  <c:v>20.02.2014</c:v>
                </c:pt>
                <c:pt idx="31">
                  <c:v>21.02.2014</c:v>
                </c:pt>
                <c:pt idx="32">
                  <c:v>24.02.2014</c:v>
                </c:pt>
                <c:pt idx="33">
                  <c:v>25.02.2014</c:v>
                </c:pt>
                <c:pt idx="34">
                  <c:v>26.02.2014</c:v>
                </c:pt>
                <c:pt idx="35">
                  <c:v>27.02.2014</c:v>
                </c:pt>
                <c:pt idx="36">
                  <c:v>28.02.2014</c:v>
                </c:pt>
                <c:pt idx="37">
                  <c:v>03.03.2014</c:v>
                </c:pt>
                <c:pt idx="38">
                  <c:v>04.03.2014</c:v>
                </c:pt>
                <c:pt idx="39">
                  <c:v>05.03.2014</c:v>
                </c:pt>
                <c:pt idx="40">
                  <c:v>06.03.2014</c:v>
                </c:pt>
                <c:pt idx="41">
                  <c:v>07.03.2014</c:v>
                </c:pt>
                <c:pt idx="42">
                  <c:v>11.03.2014</c:v>
                </c:pt>
                <c:pt idx="43">
                  <c:v>12.03.2014</c:v>
                </c:pt>
                <c:pt idx="44">
                  <c:v>13.03.2014</c:v>
                </c:pt>
                <c:pt idx="45">
                  <c:v>14.03.2014</c:v>
                </c:pt>
                <c:pt idx="46">
                  <c:v>17.03.2014</c:v>
                </c:pt>
                <c:pt idx="47">
                  <c:v>18.03.2014</c:v>
                </c:pt>
                <c:pt idx="48">
                  <c:v>19.03.2014</c:v>
                </c:pt>
                <c:pt idx="49">
                  <c:v>20.03.2014</c:v>
                </c:pt>
                <c:pt idx="50">
                  <c:v>21.03.2014</c:v>
                </c:pt>
                <c:pt idx="51">
                  <c:v>24.03.2014</c:v>
                </c:pt>
                <c:pt idx="52">
                  <c:v>25.03.2014</c:v>
                </c:pt>
                <c:pt idx="53">
                  <c:v>26.03.2014</c:v>
                </c:pt>
                <c:pt idx="54">
                  <c:v>27.03.2014</c:v>
                </c:pt>
                <c:pt idx="55">
                  <c:v>28.03.2014</c:v>
                </c:pt>
                <c:pt idx="56">
                  <c:v>31.03.2014</c:v>
                </c:pt>
                <c:pt idx="57">
                  <c:v>01.04.2014</c:v>
                </c:pt>
                <c:pt idx="58">
                  <c:v>02.04.2014</c:v>
                </c:pt>
                <c:pt idx="59">
                  <c:v>03.04.2014</c:v>
                </c:pt>
                <c:pt idx="60">
                  <c:v>04.04.2014</c:v>
                </c:pt>
                <c:pt idx="61">
                  <c:v>07.04.2014</c:v>
                </c:pt>
                <c:pt idx="62">
                  <c:v>08.04.2014</c:v>
                </c:pt>
                <c:pt idx="63">
                  <c:v>09.04.2014</c:v>
                </c:pt>
                <c:pt idx="64">
                  <c:v>10.04.2014</c:v>
                </c:pt>
                <c:pt idx="65">
                  <c:v>11.04.2014</c:v>
                </c:pt>
                <c:pt idx="66">
                  <c:v>14.04.2014</c:v>
                </c:pt>
                <c:pt idx="67">
                  <c:v>15.04.2014</c:v>
                </c:pt>
                <c:pt idx="68">
                  <c:v>16.04.2014</c:v>
                </c:pt>
                <c:pt idx="69">
                  <c:v>17.04.2014</c:v>
                </c:pt>
                <c:pt idx="70">
                  <c:v>18.04.2014</c:v>
                </c:pt>
                <c:pt idx="71">
                  <c:v>21.04.2014</c:v>
                </c:pt>
                <c:pt idx="72">
                  <c:v>22.04.2014</c:v>
                </c:pt>
                <c:pt idx="73">
                  <c:v>23.04.2014</c:v>
                </c:pt>
                <c:pt idx="74">
                  <c:v>24.04.2014</c:v>
                </c:pt>
                <c:pt idx="75">
                  <c:v>25.04.2014</c:v>
                </c:pt>
                <c:pt idx="76">
                  <c:v>28.04.2014</c:v>
                </c:pt>
                <c:pt idx="77">
                  <c:v>29.04.2014</c:v>
                </c:pt>
                <c:pt idx="78">
                  <c:v>30.04.2014</c:v>
                </c:pt>
                <c:pt idx="79">
                  <c:v>05.05.2014</c:v>
                </c:pt>
                <c:pt idx="80">
                  <c:v>06.05.2014</c:v>
                </c:pt>
                <c:pt idx="81">
                  <c:v>07.05.2014</c:v>
                </c:pt>
                <c:pt idx="82">
                  <c:v>08.05.2014</c:v>
                </c:pt>
                <c:pt idx="83">
                  <c:v>12.05.2014</c:v>
                </c:pt>
                <c:pt idx="84">
                  <c:v>13.05.2014</c:v>
                </c:pt>
                <c:pt idx="85">
                  <c:v>14.05.2014</c:v>
                </c:pt>
                <c:pt idx="86">
                  <c:v>15.05.2014</c:v>
                </c:pt>
                <c:pt idx="87">
                  <c:v>16.05.2014</c:v>
                </c:pt>
                <c:pt idx="88">
                  <c:v>19.05.2014</c:v>
                </c:pt>
                <c:pt idx="89">
                  <c:v>20.05.2014</c:v>
                </c:pt>
                <c:pt idx="90">
                  <c:v>21.05.2014</c:v>
                </c:pt>
                <c:pt idx="91">
                  <c:v>22.05.2014</c:v>
                </c:pt>
                <c:pt idx="92">
                  <c:v>23.05.2014</c:v>
                </c:pt>
                <c:pt idx="93">
                  <c:v>26.05.2014</c:v>
                </c:pt>
                <c:pt idx="94">
                  <c:v>27.05.2014</c:v>
                </c:pt>
                <c:pt idx="95">
                  <c:v>28.05.2014</c:v>
                </c:pt>
                <c:pt idx="96">
                  <c:v>29.05.2014</c:v>
                </c:pt>
                <c:pt idx="97">
                  <c:v>30.05.2014</c:v>
                </c:pt>
                <c:pt idx="98">
                  <c:v>02.06.2014</c:v>
                </c:pt>
                <c:pt idx="99">
                  <c:v>03.06.2014</c:v>
                </c:pt>
                <c:pt idx="100">
                  <c:v>04.06.2014</c:v>
                </c:pt>
                <c:pt idx="101">
                  <c:v>05.06.2014</c:v>
                </c:pt>
                <c:pt idx="102">
                  <c:v>06.06.2014</c:v>
                </c:pt>
                <c:pt idx="103">
                  <c:v>09.06.2014</c:v>
                </c:pt>
                <c:pt idx="104">
                  <c:v>10.06.2014</c:v>
                </c:pt>
                <c:pt idx="105">
                  <c:v>11.06.2014</c:v>
                </c:pt>
                <c:pt idx="106">
                  <c:v>16.06.2014</c:v>
                </c:pt>
                <c:pt idx="107">
                  <c:v>17.06.2014</c:v>
                </c:pt>
                <c:pt idx="108">
                  <c:v>18.06.2014</c:v>
                </c:pt>
                <c:pt idx="109">
                  <c:v>19.06.2014</c:v>
                </c:pt>
                <c:pt idx="110">
                  <c:v>20.06.2014</c:v>
                </c:pt>
                <c:pt idx="111">
                  <c:v>23.06.2014</c:v>
                </c:pt>
                <c:pt idx="112">
                  <c:v>24.06.2014</c:v>
                </c:pt>
                <c:pt idx="113">
                  <c:v>25.06.2014</c:v>
                </c:pt>
                <c:pt idx="114">
                  <c:v>26.06.2014</c:v>
                </c:pt>
                <c:pt idx="115">
                  <c:v>27.06.2014</c:v>
                </c:pt>
                <c:pt idx="116">
                  <c:v>30.06.2014</c:v>
                </c:pt>
                <c:pt idx="117">
                  <c:v>01.07.2014</c:v>
                </c:pt>
                <c:pt idx="118">
                  <c:v>02.07.2014</c:v>
                </c:pt>
                <c:pt idx="119">
                  <c:v>03.07.2014</c:v>
                </c:pt>
                <c:pt idx="120">
                  <c:v>04.07.2014</c:v>
                </c:pt>
                <c:pt idx="121">
                  <c:v>07.07.2014</c:v>
                </c:pt>
                <c:pt idx="122">
                  <c:v>08.07.2014</c:v>
                </c:pt>
                <c:pt idx="123">
                  <c:v>09.07.2014</c:v>
                </c:pt>
                <c:pt idx="124">
                  <c:v>10.07.2014</c:v>
                </c:pt>
                <c:pt idx="125">
                  <c:v>11.07.2014</c:v>
                </c:pt>
                <c:pt idx="126">
                  <c:v>14.07.2014</c:v>
                </c:pt>
                <c:pt idx="127">
                  <c:v>15.07.2014</c:v>
                </c:pt>
                <c:pt idx="128">
                  <c:v>16.07.2014</c:v>
                </c:pt>
                <c:pt idx="129">
                  <c:v>17.07.2014</c:v>
                </c:pt>
                <c:pt idx="130">
                  <c:v>18.07.2014</c:v>
                </c:pt>
                <c:pt idx="131">
                  <c:v>21.07.2014</c:v>
                </c:pt>
                <c:pt idx="132">
                  <c:v>22.07.2014</c:v>
                </c:pt>
                <c:pt idx="133">
                  <c:v>23.07.2014</c:v>
                </c:pt>
                <c:pt idx="134">
                  <c:v>24.07.2014</c:v>
                </c:pt>
                <c:pt idx="135">
                  <c:v>25.07.2014</c:v>
                </c:pt>
                <c:pt idx="136">
                  <c:v>28.07.2014</c:v>
                </c:pt>
                <c:pt idx="137">
                  <c:v>29.07.2014</c:v>
                </c:pt>
                <c:pt idx="138">
                  <c:v>30.07.2014</c:v>
                </c:pt>
                <c:pt idx="139">
                  <c:v>31.07.2014</c:v>
                </c:pt>
                <c:pt idx="140">
                  <c:v>01.08.2014</c:v>
                </c:pt>
                <c:pt idx="141">
                  <c:v>04.08.2014</c:v>
                </c:pt>
                <c:pt idx="142">
                  <c:v>05.08.2014</c:v>
                </c:pt>
                <c:pt idx="143">
                  <c:v>06.08.2014</c:v>
                </c:pt>
                <c:pt idx="144">
                  <c:v>07.08.2014</c:v>
                </c:pt>
                <c:pt idx="145">
                  <c:v>08.08.2014</c:v>
                </c:pt>
                <c:pt idx="146">
                  <c:v>11.08.2014</c:v>
                </c:pt>
                <c:pt idx="147">
                  <c:v>12.08.2014</c:v>
                </c:pt>
                <c:pt idx="148">
                  <c:v>13.08.2014</c:v>
                </c:pt>
                <c:pt idx="149">
                  <c:v>14.08.2014</c:v>
                </c:pt>
                <c:pt idx="150">
                  <c:v>15.08.2014</c:v>
                </c:pt>
                <c:pt idx="151">
                  <c:v>18.08.2014</c:v>
                </c:pt>
                <c:pt idx="152">
                  <c:v>19.08.2014</c:v>
                </c:pt>
                <c:pt idx="153">
                  <c:v>20.08.2014</c:v>
                </c:pt>
                <c:pt idx="154">
                  <c:v>21.08.2014</c:v>
                </c:pt>
                <c:pt idx="155">
                  <c:v>22.08.2014</c:v>
                </c:pt>
                <c:pt idx="156">
                  <c:v>25.08.2014</c:v>
                </c:pt>
                <c:pt idx="157">
                  <c:v>26.08.2014</c:v>
                </c:pt>
                <c:pt idx="158">
                  <c:v>27.08.2014</c:v>
                </c:pt>
                <c:pt idx="159">
                  <c:v>28.08.2014</c:v>
                </c:pt>
                <c:pt idx="160">
                  <c:v>29.08.2014</c:v>
                </c:pt>
                <c:pt idx="161">
                  <c:v>01.09.2014</c:v>
                </c:pt>
                <c:pt idx="162">
                  <c:v>02.09.2014</c:v>
                </c:pt>
                <c:pt idx="163">
                  <c:v>03.09.2014</c:v>
                </c:pt>
                <c:pt idx="164">
                  <c:v>04.09.2014</c:v>
                </c:pt>
                <c:pt idx="165">
                  <c:v>05.09.2014</c:v>
                </c:pt>
                <c:pt idx="166">
                  <c:v>08.09.2014</c:v>
                </c:pt>
                <c:pt idx="167">
                  <c:v>09.09.2014</c:v>
                </c:pt>
                <c:pt idx="168">
                  <c:v>10.09.2014</c:v>
                </c:pt>
                <c:pt idx="169">
                  <c:v>11.09.2014</c:v>
                </c:pt>
                <c:pt idx="170">
                  <c:v>12.09.2014</c:v>
                </c:pt>
                <c:pt idx="171">
                  <c:v>15.09.2014</c:v>
                </c:pt>
                <c:pt idx="172">
                  <c:v>16.09.2014</c:v>
                </c:pt>
                <c:pt idx="173">
                  <c:v>17.09.2014</c:v>
                </c:pt>
                <c:pt idx="174">
                  <c:v>18.09.2014</c:v>
                </c:pt>
                <c:pt idx="175">
                  <c:v>19.09.2014</c:v>
                </c:pt>
                <c:pt idx="176">
                  <c:v>22.09.2014</c:v>
                </c:pt>
                <c:pt idx="177">
                  <c:v>23.09.2014</c:v>
                </c:pt>
                <c:pt idx="178">
                  <c:v>24.09.2014</c:v>
                </c:pt>
                <c:pt idx="179">
                  <c:v>25.09.2014</c:v>
                </c:pt>
                <c:pt idx="180">
                  <c:v>26.09.2014</c:v>
                </c:pt>
                <c:pt idx="181">
                  <c:v>29.09.2014</c:v>
                </c:pt>
                <c:pt idx="182">
                  <c:v>30.09.2014</c:v>
                </c:pt>
                <c:pt idx="183">
                  <c:v>01.10.2014</c:v>
                </c:pt>
                <c:pt idx="184">
                  <c:v>02.10.2014</c:v>
                </c:pt>
                <c:pt idx="185">
                  <c:v>03.10.2014</c:v>
                </c:pt>
                <c:pt idx="186">
                  <c:v>06.10.2014</c:v>
                </c:pt>
                <c:pt idx="187">
                  <c:v>07.10.2014</c:v>
                </c:pt>
                <c:pt idx="188">
                  <c:v>08.10.2014</c:v>
                </c:pt>
                <c:pt idx="189">
                  <c:v>09.10.2014</c:v>
                </c:pt>
                <c:pt idx="190">
                  <c:v>10.10.2014</c:v>
                </c:pt>
                <c:pt idx="191">
                  <c:v>13.10.2014</c:v>
                </c:pt>
                <c:pt idx="192">
                  <c:v>14.10.2014</c:v>
                </c:pt>
                <c:pt idx="193">
                  <c:v>15.10.2014</c:v>
                </c:pt>
                <c:pt idx="194">
                  <c:v>16.10.2014</c:v>
                </c:pt>
                <c:pt idx="195">
                  <c:v>17.10.2014</c:v>
                </c:pt>
                <c:pt idx="196">
                  <c:v>20.10.2014</c:v>
                </c:pt>
                <c:pt idx="197">
                  <c:v>21.10.2014</c:v>
                </c:pt>
                <c:pt idx="198">
                  <c:v>22.10.2014</c:v>
                </c:pt>
                <c:pt idx="199">
                  <c:v>23.10.2014</c:v>
                </c:pt>
                <c:pt idx="200">
                  <c:v>24.10.2014</c:v>
                </c:pt>
                <c:pt idx="201">
                  <c:v>27.10.2014</c:v>
                </c:pt>
                <c:pt idx="202">
                  <c:v>28.10.2014</c:v>
                </c:pt>
                <c:pt idx="203">
                  <c:v>29.10.2014</c:v>
                </c:pt>
                <c:pt idx="204">
                  <c:v>30.10.2014</c:v>
                </c:pt>
                <c:pt idx="205">
                  <c:v>31.10.2014</c:v>
                </c:pt>
                <c:pt idx="206">
                  <c:v>05.11.2014</c:v>
                </c:pt>
                <c:pt idx="207">
                  <c:v>06.11.2014</c:v>
                </c:pt>
                <c:pt idx="208">
                  <c:v>07.11.2014</c:v>
                </c:pt>
                <c:pt idx="209">
                  <c:v>10.11.2014</c:v>
                </c:pt>
                <c:pt idx="210">
                  <c:v>11.11.2014</c:v>
                </c:pt>
                <c:pt idx="211">
                  <c:v>12.11.2014</c:v>
                </c:pt>
                <c:pt idx="212">
                  <c:v>13.11.2014</c:v>
                </c:pt>
                <c:pt idx="213">
                  <c:v>14.11.2014</c:v>
                </c:pt>
                <c:pt idx="214">
                  <c:v>17.11.2014</c:v>
                </c:pt>
                <c:pt idx="215">
                  <c:v>18.11.2014</c:v>
                </c:pt>
                <c:pt idx="216">
                  <c:v>19.11.2014</c:v>
                </c:pt>
                <c:pt idx="217">
                  <c:v>20.11.2014</c:v>
                </c:pt>
                <c:pt idx="218">
                  <c:v>21.11.2014</c:v>
                </c:pt>
                <c:pt idx="219">
                  <c:v>24.11.2014</c:v>
                </c:pt>
                <c:pt idx="220">
                  <c:v>25.11.2014</c:v>
                </c:pt>
                <c:pt idx="221">
                  <c:v>26.11.2014</c:v>
                </c:pt>
                <c:pt idx="222">
                  <c:v>27.11.2014</c:v>
                </c:pt>
                <c:pt idx="223">
                  <c:v>28.11.2014</c:v>
                </c:pt>
                <c:pt idx="224">
                  <c:v>01.12.2014</c:v>
                </c:pt>
                <c:pt idx="225">
                  <c:v>02.12.2014</c:v>
                </c:pt>
                <c:pt idx="226">
                  <c:v>03.12.2014</c:v>
                </c:pt>
                <c:pt idx="227">
                  <c:v>04.12.2014</c:v>
                </c:pt>
                <c:pt idx="228">
                  <c:v>05.12.2014</c:v>
                </c:pt>
                <c:pt idx="229">
                  <c:v>08.12.2014</c:v>
                </c:pt>
                <c:pt idx="230">
                  <c:v>09.12.2014</c:v>
                </c:pt>
                <c:pt idx="231">
                  <c:v>10.12.2014</c:v>
                </c:pt>
                <c:pt idx="232">
                  <c:v>11.12.2014</c:v>
                </c:pt>
                <c:pt idx="233">
                  <c:v>12.12.2014</c:v>
                </c:pt>
                <c:pt idx="234">
                  <c:v>15.12.2014</c:v>
                </c:pt>
                <c:pt idx="235">
                  <c:v>16.12.2014</c:v>
                </c:pt>
              </c:strCache>
            </c:strRef>
          </c:cat>
          <c:val>
            <c:numRef>
              <c:f>'full_csv_vli (24)'!$H$5:$H$241</c:f>
              <c:numCache>
                <c:formatCode>General</c:formatCode>
                <c:ptCount val="236"/>
                <c:pt idx="0">
                  <c:v>30666</c:v>
                </c:pt>
                <c:pt idx="1">
                  <c:v>30676</c:v>
                </c:pt>
                <c:pt idx="2">
                  <c:v>30700</c:v>
                </c:pt>
                <c:pt idx="3">
                  <c:v>29985</c:v>
                </c:pt>
                <c:pt idx="4">
                  <c:v>29853</c:v>
                </c:pt>
                <c:pt idx="5">
                  <c:v>30412</c:v>
                </c:pt>
                <c:pt idx="6">
                  <c:v>30135</c:v>
                </c:pt>
                <c:pt idx="7">
                  <c:v>30535</c:v>
                </c:pt>
                <c:pt idx="8">
                  <c:v>30262</c:v>
                </c:pt>
                <c:pt idx="9">
                  <c:v>30634</c:v>
                </c:pt>
                <c:pt idx="10">
                  <c:v>30152</c:v>
                </c:pt>
                <c:pt idx="11">
                  <c:v>30331</c:v>
                </c:pt>
                <c:pt idx="12">
                  <c:v>31525</c:v>
                </c:pt>
                <c:pt idx="13">
                  <c:v>30557</c:v>
                </c:pt>
                <c:pt idx="14">
                  <c:v>30625</c:v>
                </c:pt>
                <c:pt idx="15">
                  <c:v>30713</c:v>
                </c:pt>
                <c:pt idx="16">
                  <c:v>31242</c:v>
                </c:pt>
                <c:pt idx="17">
                  <c:v>30848</c:v>
                </c:pt>
                <c:pt idx="18">
                  <c:v>31246</c:v>
                </c:pt>
                <c:pt idx="19">
                  <c:v>31519</c:v>
                </c:pt>
                <c:pt idx="20">
                  <c:v>30977</c:v>
                </c:pt>
                <c:pt idx="21">
                  <c:v>30842</c:v>
                </c:pt>
                <c:pt idx="22">
                  <c:v>30855</c:v>
                </c:pt>
                <c:pt idx="23">
                  <c:v>30627</c:v>
                </c:pt>
                <c:pt idx="24">
                  <c:v>30546</c:v>
                </c:pt>
                <c:pt idx="25">
                  <c:v>30678</c:v>
                </c:pt>
                <c:pt idx="26">
                  <c:v>30703</c:v>
                </c:pt>
                <c:pt idx="27">
                  <c:v>30854</c:v>
                </c:pt>
                <c:pt idx="28">
                  <c:v>30912</c:v>
                </c:pt>
                <c:pt idx="29">
                  <c:v>31055</c:v>
                </c:pt>
                <c:pt idx="30">
                  <c:v>31252</c:v>
                </c:pt>
                <c:pt idx="31">
                  <c:v>31537</c:v>
                </c:pt>
                <c:pt idx="32">
                  <c:v>31543</c:v>
                </c:pt>
                <c:pt idx="33">
                  <c:v>31792</c:v>
                </c:pt>
                <c:pt idx="34">
                  <c:v>31766</c:v>
                </c:pt>
                <c:pt idx="35">
                  <c:v>32387</c:v>
                </c:pt>
                <c:pt idx="36">
                  <c:v>32510</c:v>
                </c:pt>
                <c:pt idx="37">
                  <c:v>32826</c:v>
                </c:pt>
                <c:pt idx="38">
                  <c:v>33266</c:v>
                </c:pt>
                <c:pt idx="39">
                  <c:v>33210</c:v>
                </c:pt>
                <c:pt idx="40">
                  <c:v>33075</c:v>
                </c:pt>
                <c:pt idx="41">
                  <c:v>33025</c:v>
                </c:pt>
                <c:pt idx="42">
                  <c:v>32797</c:v>
                </c:pt>
                <c:pt idx="43">
                  <c:v>32685</c:v>
                </c:pt>
                <c:pt idx="44">
                  <c:v>32741</c:v>
                </c:pt>
                <c:pt idx="45">
                  <c:v>32630</c:v>
                </c:pt>
                <c:pt idx="46">
                  <c:v>32760</c:v>
                </c:pt>
                <c:pt idx="47">
                  <c:v>32578</c:v>
                </c:pt>
                <c:pt idx="48">
                  <c:v>32517</c:v>
                </c:pt>
                <c:pt idx="49">
                  <c:v>32560</c:v>
                </c:pt>
                <c:pt idx="50">
                  <c:v>32601</c:v>
                </c:pt>
                <c:pt idx="51">
                  <c:v>32552</c:v>
                </c:pt>
                <c:pt idx="52">
                  <c:v>32664</c:v>
                </c:pt>
                <c:pt idx="53">
                  <c:v>32724</c:v>
                </c:pt>
                <c:pt idx="54">
                  <c:v>33029</c:v>
                </c:pt>
                <c:pt idx="55">
                  <c:v>33008</c:v>
                </c:pt>
                <c:pt idx="56">
                  <c:v>33036</c:v>
                </c:pt>
                <c:pt idx="57">
                  <c:v>32641</c:v>
                </c:pt>
                <c:pt idx="58">
                  <c:v>32766</c:v>
                </c:pt>
                <c:pt idx="59">
                  <c:v>32918</c:v>
                </c:pt>
                <c:pt idx="60">
                  <c:v>32998</c:v>
                </c:pt>
                <c:pt idx="61">
                  <c:v>32966</c:v>
                </c:pt>
                <c:pt idx="62">
                  <c:v>32949</c:v>
                </c:pt>
                <c:pt idx="63">
                  <c:v>32852</c:v>
                </c:pt>
                <c:pt idx="64">
                  <c:v>32814</c:v>
                </c:pt>
                <c:pt idx="65">
                  <c:v>32862</c:v>
                </c:pt>
                <c:pt idx="66">
                  <c:v>32780</c:v>
                </c:pt>
                <c:pt idx="67">
                  <c:v>32806</c:v>
                </c:pt>
                <c:pt idx="68">
                  <c:v>32765</c:v>
                </c:pt>
                <c:pt idx="69">
                  <c:v>32786</c:v>
                </c:pt>
                <c:pt idx="70">
                  <c:v>32738</c:v>
                </c:pt>
                <c:pt idx="71">
                  <c:v>32727</c:v>
                </c:pt>
                <c:pt idx="72">
                  <c:v>32756</c:v>
                </c:pt>
                <c:pt idx="73">
                  <c:v>32833</c:v>
                </c:pt>
                <c:pt idx="74">
                  <c:v>32937</c:v>
                </c:pt>
                <c:pt idx="75">
                  <c:v>33075</c:v>
                </c:pt>
                <c:pt idx="76">
                  <c:v>33132</c:v>
                </c:pt>
                <c:pt idx="77">
                  <c:v>33172</c:v>
                </c:pt>
                <c:pt idx="78">
                  <c:v>33064</c:v>
                </c:pt>
                <c:pt idx="79">
                  <c:v>33186</c:v>
                </c:pt>
                <c:pt idx="80">
                  <c:v>33156</c:v>
                </c:pt>
                <c:pt idx="81">
                  <c:v>33246</c:v>
                </c:pt>
                <c:pt idx="82">
                  <c:v>33242</c:v>
                </c:pt>
                <c:pt idx="83">
                  <c:v>33180</c:v>
                </c:pt>
                <c:pt idx="84">
                  <c:v>33233</c:v>
                </c:pt>
                <c:pt idx="85">
                  <c:v>33265</c:v>
                </c:pt>
                <c:pt idx="86">
                  <c:v>33398</c:v>
                </c:pt>
                <c:pt idx="87">
                  <c:v>33427</c:v>
                </c:pt>
                <c:pt idx="88">
                  <c:v>33278</c:v>
                </c:pt>
                <c:pt idx="89">
                  <c:v>33194</c:v>
                </c:pt>
                <c:pt idx="90">
                  <c:v>33123</c:v>
                </c:pt>
                <c:pt idx="91">
                  <c:v>33193</c:v>
                </c:pt>
                <c:pt idx="92">
                  <c:v>33089</c:v>
                </c:pt>
                <c:pt idx="93">
                  <c:v>32927</c:v>
                </c:pt>
                <c:pt idx="94">
                  <c:v>32948</c:v>
                </c:pt>
                <c:pt idx="95">
                  <c:v>33020</c:v>
                </c:pt>
                <c:pt idx="96">
                  <c:v>32881</c:v>
                </c:pt>
                <c:pt idx="97">
                  <c:v>32832</c:v>
                </c:pt>
                <c:pt idx="98">
                  <c:v>32769</c:v>
                </c:pt>
                <c:pt idx="99">
                  <c:v>32779</c:v>
                </c:pt>
                <c:pt idx="100">
                  <c:v>32262</c:v>
                </c:pt>
                <c:pt idx="101">
                  <c:v>32120</c:v>
                </c:pt>
                <c:pt idx="102">
                  <c:v>32523</c:v>
                </c:pt>
                <c:pt idx="103">
                  <c:v>32428</c:v>
                </c:pt>
                <c:pt idx="104">
                  <c:v>32393</c:v>
                </c:pt>
                <c:pt idx="105">
                  <c:v>32240</c:v>
                </c:pt>
                <c:pt idx="106">
                  <c:v>32299</c:v>
                </c:pt>
                <c:pt idx="107">
                  <c:v>32460</c:v>
                </c:pt>
                <c:pt idx="108">
                  <c:v>32681</c:v>
                </c:pt>
                <c:pt idx="109">
                  <c:v>32940</c:v>
                </c:pt>
                <c:pt idx="110">
                  <c:v>32962</c:v>
                </c:pt>
                <c:pt idx="111">
                  <c:v>32936</c:v>
                </c:pt>
                <c:pt idx="112">
                  <c:v>32752</c:v>
                </c:pt>
                <c:pt idx="113">
                  <c:v>32754</c:v>
                </c:pt>
                <c:pt idx="114">
                  <c:v>32853</c:v>
                </c:pt>
                <c:pt idx="115">
                  <c:v>33006</c:v>
                </c:pt>
                <c:pt idx="116">
                  <c:v>32871</c:v>
                </c:pt>
                <c:pt idx="117">
                  <c:v>32894</c:v>
                </c:pt>
                <c:pt idx="118">
                  <c:v>32732</c:v>
                </c:pt>
                <c:pt idx="119">
                  <c:v>32521</c:v>
                </c:pt>
                <c:pt idx="120">
                  <c:v>32667</c:v>
                </c:pt>
                <c:pt idx="121">
                  <c:v>32733</c:v>
                </c:pt>
                <c:pt idx="122">
                  <c:v>32735</c:v>
                </c:pt>
                <c:pt idx="123">
                  <c:v>32437</c:v>
                </c:pt>
                <c:pt idx="124">
                  <c:v>32168</c:v>
                </c:pt>
                <c:pt idx="125">
                  <c:v>31916</c:v>
                </c:pt>
                <c:pt idx="126">
                  <c:v>31746</c:v>
                </c:pt>
                <c:pt idx="127">
                  <c:v>31771</c:v>
                </c:pt>
                <c:pt idx="128">
                  <c:v>31911</c:v>
                </c:pt>
                <c:pt idx="129">
                  <c:v>31862</c:v>
                </c:pt>
                <c:pt idx="130">
                  <c:v>31922</c:v>
                </c:pt>
                <c:pt idx="131">
                  <c:v>31887</c:v>
                </c:pt>
                <c:pt idx="132">
                  <c:v>31895</c:v>
                </c:pt>
                <c:pt idx="133">
                  <c:v>31889</c:v>
                </c:pt>
                <c:pt idx="134">
                  <c:v>31845</c:v>
                </c:pt>
                <c:pt idx="135">
                  <c:v>31974</c:v>
                </c:pt>
                <c:pt idx="136">
                  <c:v>31935</c:v>
                </c:pt>
                <c:pt idx="137">
                  <c:v>32105</c:v>
                </c:pt>
                <c:pt idx="138">
                  <c:v>32070</c:v>
                </c:pt>
                <c:pt idx="139">
                  <c:v>32132</c:v>
                </c:pt>
                <c:pt idx="140">
                  <c:v>32207</c:v>
                </c:pt>
                <c:pt idx="141">
                  <c:v>32192</c:v>
                </c:pt>
                <c:pt idx="142">
                  <c:v>31959</c:v>
                </c:pt>
                <c:pt idx="143">
                  <c:v>32185</c:v>
                </c:pt>
                <c:pt idx="144">
                  <c:v>32077</c:v>
                </c:pt>
                <c:pt idx="145">
                  <c:v>31973</c:v>
                </c:pt>
                <c:pt idx="146">
                  <c:v>32003</c:v>
                </c:pt>
                <c:pt idx="147">
                  <c:v>32041</c:v>
                </c:pt>
                <c:pt idx="148">
                  <c:v>31958</c:v>
                </c:pt>
                <c:pt idx="149">
                  <c:v>32060</c:v>
                </c:pt>
                <c:pt idx="150">
                  <c:v>32002</c:v>
                </c:pt>
                <c:pt idx="151">
                  <c:v>31995</c:v>
                </c:pt>
                <c:pt idx="152">
                  <c:v>32122</c:v>
                </c:pt>
                <c:pt idx="153">
                  <c:v>32167</c:v>
                </c:pt>
                <c:pt idx="154">
                  <c:v>32159</c:v>
                </c:pt>
                <c:pt idx="155">
                  <c:v>32070</c:v>
                </c:pt>
                <c:pt idx="156">
                  <c:v>32065</c:v>
                </c:pt>
                <c:pt idx="157">
                  <c:v>32129</c:v>
                </c:pt>
                <c:pt idx="158">
                  <c:v>32193</c:v>
                </c:pt>
                <c:pt idx="159">
                  <c:v>32505</c:v>
                </c:pt>
                <c:pt idx="160">
                  <c:v>32577</c:v>
                </c:pt>
                <c:pt idx="161">
                  <c:v>32663</c:v>
                </c:pt>
                <c:pt idx="162">
                  <c:v>32648</c:v>
                </c:pt>
                <c:pt idx="163">
                  <c:v>32722</c:v>
                </c:pt>
                <c:pt idx="164">
                  <c:v>32653</c:v>
                </c:pt>
                <c:pt idx="165">
                  <c:v>32835</c:v>
                </c:pt>
                <c:pt idx="166">
                  <c:v>32771</c:v>
                </c:pt>
                <c:pt idx="167">
                  <c:v>32766</c:v>
                </c:pt>
                <c:pt idx="168">
                  <c:v>32752</c:v>
                </c:pt>
                <c:pt idx="169">
                  <c:v>32617</c:v>
                </c:pt>
                <c:pt idx="170">
                  <c:v>32640</c:v>
                </c:pt>
                <c:pt idx="171">
                  <c:v>32596</c:v>
                </c:pt>
                <c:pt idx="172">
                  <c:v>32610</c:v>
                </c:pt>
                <c:pt idx="173">
                  <c:v>32637</c:v>
                </c:pt>
                <c:pt idx="174">
                  <c:v>32578</c:v>
                </c:pt>
                <c:pt idx="175">
                  <c:v>32609</c:v>
                </c:pt>
                <c:pt idx="176">
                  <c:v>32605</c:v>
                </c:pt>
                <c:pt idx="177">
                  <c:v>32802</c:v>
                </c:pt>
                <c:pt idx="178">
                  <c:v>32834</c:v>
                </c:pt>
                <c:pt idx="179">
                  <c:v>32942</c:v>
                </c:pt>
                <c:pt idx="180">
                  <c:v>32930</c:v>
                </c:pt>
                <c:pt idx="181">
                  <c:v>33208</c:v>
                </c:pt>
                <c:pt idx="182">
                  <c:v>33226</c:v>
                </c:pt>
                <c:pt idx="183">
                  <c:v>32880</c:v>
                </c:pt>
                <c:pt idx="184">
                  <c:v>32866</c:v>
                </c:pt>
                <c:pt idx="185">
                  <c:v>32944</c:v>
                </c:pt>
                <c:pt idx="186">
                  <c:v>32982</c:v>
                </c:pt>
                <c:pt idx="187">
                  <c:v>32759</c:v>
                </c:pt>
                <c:pt idx="188">
                  <c:v>32624</c:v>
                </c:pt>
                <c:pt idx="189">
                  <c:v>32548</c:v>
                </c:pt>
                <c:pt idx="190">
                  <c:v>32628</c:v>
                </c:pt>
                <c:pt idx="191">
                  <c:v>32463</c:v>
                </c:pt>
                <c:pt idx="192">
                  <c:v>32427</c:v>
                </c:pt>
                <c:pt idx="193">
                  <c:v>32466</c:v>
                </c:pt>
                <c:pt idx="194">
                  <c:v>32482</c:v>
                </c:pt>
                <c:pt idx="195">
                  <c:v>32660</c:v>
                </c:pt>
                <c:pt idx="196">
                  <c:v>32539</c:v>
                </c:pt>
                <c:pt idx="197">
                  <c:v>32313</c:v>
                </c:pt>
                <c:pt idx="198">
                  <c:v>32097</c:v>
                </c:pt>
                <c:pt idx="199">
                  <c:v>31969</c:v>
                </c:pt>
                <c:pt idx="200">
                  <c:v>31597</c:v>
                </c:pt>
                <c:pt idx="201">
                  <c:v>31504</c:v>
                </c:pt>
                <c:pt idx="202">
                  <c:v>31615</c:v>
                </c:pt>
                <c:pt idx="203">
                  <c:v>31829</c:v>
                </c:pt>
                <c:pt idx="204">
                  <c:v>31812</c:v>
                </c:pt>
                <c:pt idx="205">
                  <c:v>31745</c:v>
                </c:pt>
                <c:pt idx="206">
                  <c:v>31727</c:v>
                </c:pt>
                <c:pt idx="207">
                  <c:v>31978</c:v>
                </c:pt>
                <c:pt idx="208">
                  <c:v>31922</c:v>
                </c:pt>
                <c:pt idx="209">
                  <c:v>31687</c:v>
                </c:pt>
                <c:pt idx="210">
                  <c:v>31687</c:v>
                </c:pt>
                <c:pt idx="211">
                  <c:v>31763</c:v>
                </c:pt>
                <c:pt idx="212">
                  <c:v>31565</c:v>
                </c:pt>
                <c:pt idx="213">
                  <c:v>31416</c:v>
                </c:pt>
                <c:pt idx="214">
                  <c:v>31207</c:v>
                </c:pt>
                <c:pt idx="215">
                  <c:v>31176</c:v>
                </c:pt>
                <c:pt idx="216">
                  <c:v>31743</c:v>
                </c:pt>
                <c:pt idx="217">
                  <c:v>31021</c:v>
                </c:pt>
                <c:pt idx="218">
                  <c:v>31569</c:v>
                </c:pt>
                <c:pt idx="219">
                  <c:v>30948</c:v>
                </c:pt>
                <c:pt idx="220">
                  <c:v>31076</c:v>
                </c:pt>
                <c:pt idx="221">
                  <c:v>31054</c:v>
                </c:pt>
                <c:pt idx="222">
                  <c:v>29407</c:v>
                </c:pt>
                <c:pt idx="223">
                  <c:v>28649</c:v>
                </c:pt>
                <c:pt idx="224">
                  <c:v>27853</c:v>
                </c:pt>
                <c:pt idx="225">
                  <c:v>27982</c:v>
                </c:pt>
                <c:pt idx="226">
                  <c:v>27963</c:v>
                </c:pt>
                <c:pt idx="227">
                  <c:v>28689</c:v>
                </c:pt>
                <c:pt idx="228">
                  <c:v>29430</c:v>
                </c:pt>
                <c:pt idx="229">
                  <c:v>29576</c:v>
                </c:pt>
                <c:pt idx="230">
                  <c:v>29663</c:v>
                </c:pt>
                <c:pt idx="231">
                  <c:v>29746</c:v>
                </c:pt>
                <c:pt idx="232">
                  <c:v>30159</c:v>
                </c:pt>
                <c:pt idx="233">
                  <c:v>30357</c:v>
                </c:pt>
                <c:pt idx="234">
                  <c:v>30149</c:v>
                </c:pt>
                <c:pt idx="235">
                  <c:v>3021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full_csv_vli (24)'!$I$3:$I$4</c:f>
              <c:strCache>
                <c:ptCount val="1"/>
                <c:pt idx="0">
                  <c:v>ДТЗ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'full_csv_vli (24)'!$G$5:$G$241</c:f>
              <c:strCache>
                <c:ptCount val="236"/>
                <c:pt idx="0">
                  <c:v>09.01.2014</c:v>
                </c:pt>
                <c:pt idx="1">
                  <c:v>10.01.2014</c:v>
                </c:pt>
                <c:pt idx="2">
                  <c:v>13.01.2014</c:v>
                </c:pt>
                <c:pt idx="3">
                  <c:v>14.01.2014</c:v>
                </c:pt>
                <c:pt idx="4">
                  <c:v>15.01.2014</c:v>
                </c:pt>
                <c:pt idx="5">
                  <c:v>16.01.2014</c:v>
                </c:pt>
                <c:pt idx="6">
                  <c:v>17.01.2014</c:v>
                </c:pt>
                <c:pt idx="7">
                  <c:v>20.01.2014</c:v>
                </c:pt>
                <c:pt idx="8">
                  <c:v>21.01.2014</c:v>
                </c:pt>
                <c:pt idx="9">
                  <c:v>22.01.2014</c:v>
                </c:pt>
                <c:pt idx="10">
                  <c:v>23.01.2014</c:v>
                </c:pt>
                <c:pt idx="11">
                  <c:v>24.01.2014</c:v>
                </c:pt>
                <c:pt idx="12">
                  <c:v>27.01.2014</c:v>
                </c:pt>
                <c:pt idx="13">
                  <c:v>28.01.2014</c:v>
                </c:pt>
                <c:pt idx="14">
                  <c:v>29.01.2014</c:v>
                </c:pt>
                <c:pt idx="15">
                  <c:v>30.01.2014</c:v>
                </c:pt>
                <c:pt idx="16">
                  <c:v>31.01.2014</c:v>
                </c:pt>
                <c:pt idx="17">
                  <c:v>03.02.2014</c:v>
                </c:pt>
                <c:pt idx="18">
                  <c:v>04.02.2014</c:v>
                </c:pt>
                <c:pt idx="19">
                  <c:v>05.02.2014</c:v>
                </c:pt>
                <c:pt idx="20">
                  <c:v>06.02.2014</c:v>
                </c:pt>
                <c:pt idx="21">
                  <c:v>07.02.2014</c:v>
                </c:pt>
                <c:pt idx="22">
                  <c:v>10.02.2014</c:v>
                </c:pt>
                <c:pt idx="23">
                  <c:v>11.02.2014</c:v>
                </c:pt>
                <c:pt idx="24">
                  <c:v>12.02.2014</c:v>
                </c:pt>
                <c:pt idx="25">
                  <c:v>13.02.2014</c:v>
                </c:pt>
                <c:pt idx="26">
                  <c:v>14.02.2014</c:v>
                </c:pt>
                <c:pt idx="27">
                  <c:v>17.02.2014</c:v>
                </c:pt>
                <c:pt idx="28">
                  <c:v>18.02.2014</c:v>
                </c:pt>
                <c:pt idx="29">
                  <c:v>19.02.2014</c:v>
                </c:pt>
                <c:pt idx="30">
                  <c:v>20.02.2014</c:v>
                </c:pt>
                <c:pt idx="31">
                  <c:v>21.02.2014</c:v>
                </c:pt>
                <c:pt idx="32">
                  <c:v>24.02.2014</c:v>
                </c:pt>
                <c:pt idx="33">
                  <c:v>25.02.2014</c:v>
                </c:pt>
                <c:pt idx="34">
                  <c:v>26.02.2014</c:v>
                </c:pt>
                <c:pt idx="35">
                  <c:v>27.02.2014</c:v>
                </c:pt>
                <c:pt idx="36">
                  <c:v>28.02.2014</c:v>
                </c:pt>
                <c:pt idx="37">
                  <c:v>03.03.2014</c:v>
                </c:pt>
                <c:pt idx="38">
                  <c:v>04.03.2014</c:v>
                </c:pt>
                <c:pt idx="39">
                  <c:v>05.03.2014</c:v>
                </c:pt>
                <c:pt idx="40">
                  <c:v>06.03.2014</c:v>
                </c:pt>
                <c:pt idx="41">
                  <c:v>07.03.2014</c:v>
                </c:pt>
                <c:pt idx="42">
                  <c:v>11.03.2014</c:v>
                </c:pt>
                <c:pt idx="43">
                  <c:v>12.03.2014</c:v>
                </c:pt>
                <c:pt idx="44">
                  <c:v>13.03.2014</c:v>
                </c:pt>
                <c:pt idx="45">
                  <c:v>14.03.2014</c:v>
                </c:pt>
                <c:pt idx="46">
                  <c:v>17.03.2014</c:v>
                </c:pt>
                <c:pt idx="47">
                  <c:v>18.03.2014</c:v>
                </c:pt>
                <c:pt idx="48">
                  <c:v>19.03.2014</c:v>
                </c:pt>
                <c:pt idx="49">
                  <c:v>20.03.2014</c:v>
                </c:pt>
                <c:pt idx="50">
                  <c:v>21.03.2014</c:v>
                </c:pt>
                <c:pt idx="51">
                  <c:v>24.03.2014</c:v>
                </c:pt>
                <c:pt idx="52">
                  <c:v>25.03.2014</c:v>
                </c:pt>
                <c:pt idx="53">
                  <c:v>26.03.2014</c:v>
                </c:pt>
                <c:pt idx="54">
                  <c:v>27.03.2014</c:v>
                </c:pt>
                <c:pt idx="55">
                  <c:v>28.03.2014</c:v>
                </c:pt>
                <c:pt idx="56">
                  <c:v>31.03.2014</c:v>
                </c:pt>
                <c:pt idx="57">
                  <c:v>01.04.2014</c:v>
                </c:pt>
                <c:pt idx="58">
                  <c:v>02.04.2014</c:v>
                </c:pt>
                <c:pt idx="59">
                  <c:v>03.04.2014</c:v>
                </c:pt>
                <c:pt idx="60">
                  <c:v>04.04.2014</c:v>
                </c:pt>
                <c:pt idx="61">
                  <c:v>07.04.2014</c:v>
                </c:pt>
                <c:pt idx="62">
                  <c:v>08.04.2014</c:v>
                </c:pt>
                <c:pt idx="63">
                  <c:v>09.04.2014</c:v>
                </c:pt>
                <c:pt idx="64">
                  <c:v>10.04.2014</c:v>
                </c:pt>
                <c:pt idx="65">
                  <c:v>11.04.2014</c:v>
                </c:pt>
                <c:pt idx="66">
                  <c:v>14.04.2014</c:v>
                </c:pt>
                <c:pt idx="67">
                  <c:v>15.04.2014</c:v>
                </c:pt>
                <c:pt idx="68">
                  <c:v>16.04.2014</c:v>
                </c:pt>
                <c:pt idx="69">
                  <c:v>17.04.2014</c:v>
                </c:pt>
                <c:pt idx="70">
                  <c:v>18.04.2014</c:v>
                </c:pt>
                <c:pt idx="71">
                  <c:v>21.04.2014</c:v>
                </c:pt>
                <c:pt idx="72">
                  <c:v>22.04.2014</c:v>
                </c:pt>
                <c:pt idx="73">
                  <c:v>23.04.2014</c:v>
                </c:pt>
                <c:pt idx="74">
                  <c:v>24.04.2014</c:v>
                </c:pt>
                <c:pt idx="75">
                  <c:v>25.04.2014</c:v>
                </c:pt>
                <c:pt idx="76">
                  <c:v>28.04.2014</c:v>
                </c:pt>
                <c:pt idx="77">
                  <c:v>29.04.2014</c:v>
                </c:pt>
                <c:pt idx="78">
                  <c:v>30.04.2014</c:v>
                </c:pt>
                <c:pt idx="79">
                  <c:v>05.05.2014</c:v>
                </c:pt>
                <c:pt idx="80">
                  <c:v>06.05.2014</c:v>
                </c:pt>
                <c:pt idx="81">
                  <c:v>07.05.2014</c:v>
                </c:pt>
                <c:pt idx="82">
                  <c:v>08.05.2014</c:v>
                </c:pt>
                <c:pt idx="83">
                  <c:v>12.05.2014</c:v>
                </c:pt>
                <c:pt idx="84">
                  <c:v>13.05.2014</c:v>
                </c:pt>
                <c:pt idx="85">
                  <c:v>14.05.2014</c:v>
                </c:pt>
                <c:pt idx="86">
                  <c:v>15.05.2014</c:v>
                </c:pt>
                <c:pt idx="87">
                  <c:v>16.05.2014</c:v>
                </c:pt>
                <c:pt idx="88">
                  <c:v>19.05.2014</c:v>
                </c:pt>
                <c:pt idx="89">
                  <c:v>20.05.2014</c:v>
                </c:pt>
                <c:pt idx="90">
                  <c:v>21.05.2014</c:v>
                </c:pt>
                <c:pt idx="91">
                  <c:v>22.05.2014</c:v>
                </c:pt>
                <c:pt idx="92">
                  <c:v>23.05.2014</c:v>
                </c:pt>
                <c:pt idx="93">
                  <c:v>26.05.2014</c:v>
                </c:pt>
                <c:pt idx="94">
                  <c:v>27.05.2014</c:v>
                </c:pt>
                <c:pt idx="95">
                  <c:v>28.05.2014</c:v>
                </c:pt>
                <c:pt idx="96">
                  <c:v>29.05.2014</c:v>
                </c:pt>
                <c:pt idx="97">
                  <c:v>30.05.2014</c:v>
                </c:pt>
                <c:pt idx="98">
                  <c:v>02.06.2014</c:v>
                </c:pt>
                <c:pt idx="99">
                  <c:v>03.06.2014</c:v>
                </c:pt>
                <c:pt idx="100">
                  <c:v>04.06.2014</c:v>
                </c:pt>
                <c:pt idx="101">
                  <c:v>05.06.2014</c:v>
                </c:pt>
                <c:pt idx="102">
                  <c:v>06.06.2014</c:v>
                </c:pt>
                <c:pt idx="103">
                  <c:v>09.06.2014</c:v>
                </c:pt>
                <c:pt idx="104">
                  <c:v>10.06.2014</c:v>
                </c:pt>
                <c:pt idx="105">
                  <c:v>11.06.2014</c:v>
                </c:pt>
                <c:pt idx="106">
                  <c:v>16.06.2014</c:v>
                </c:pt>
                <c:pt idx="107">
                  <c:v>17.06.2014</c:v>
                </c:pt>
                <c:pt idx="108">
                  <c:v>18.06.2014</c:v>
                </c:pt>
                <c:pt idx="109">
                  <c:v>19.06.2014</c:v>
                </c:pt>
                <c:pt idx="110">
                  <c:v>20.06.2014</c:v>
                </c:pt>
                <c:pt idx="111">
                  <c:v>23.06.2014</c:v>
                </c:pt>
                <c:pt idx="112">
                  <c:v>24.06.2014</c:v>
                </c:pt>
                <c:pt idx="113">
                  <c:v>25.06.2014</c:v>
                </c:pt>
                <c:pt idx="114">
                  <c:v>26.06.2014</c:v>
                </c:pt>
                <c:pt idx="115">
                  <c:v>27.06.2014</c:v>
                </c:pt>
                <c:pt idx="116">
                  <c:v>30.06.2014</c:v>
                </c:pt>
                <c:pt idx="117">
                  <c:v>01.07.2014</c:v>
                </c:pt>
                <c:pt idx="118">
                  <c:v>02.07.2014</c:v>
                </c:pt>
                <c:pt idx="119">
                  <c:v>03.07.2014</c:v>
                </c:pt>
                <c:pt idx="120">
                  <c:v>04.07.2014</c:v>
                </c:pt>
                <c:pt idx="121">
                  <c:v>07.07.2014</c:v>
                </c:pt>
                <c:pt idx="122">
                  <c:v>08.07.2014</c:v>
                </c:pt>
                <c:pt idx="123">
                  <c:v>09.07.2014</c:v>
                </c:pt>
                <c:pt idx="124">
                  <c:v>10.07.2014</c:v>
                </c:pt>
                <c:pt idx="125">
                  <c:v>11.07.2014</c:v>
                </c:pt>
                <c:pt idx="126">
                  <c:v>14.07.2014</c:v>
                </c:pt>
                <c:pt idx="127">
                  <c:v>15.07.2014</c:v>
                </c:pt>
                <c:pt idx="128">
                  <c:v>16.07.2014</c:v>
                </c:pt>
                <c:pt idx="129">
                  <c:v>17.07.2014</c:v>
                </c:pt>
                <c:pt idx="130">
                  <c:v>18.07.2014</c:v>
                </c:pt>
                <c:pt idx="131">
                  <c:v>21.07.2014</c:v>
                </c:pt>
                <c:pt idx="132">
                  <c:v>22.07.2014</c:v>
                </c:pt>
                <c:pt idx="133">
                  <c:v>23.07.2014</c:v>
                </c:pt>
                <c:pt idx="134">
                  <c:v>24.07.2014</c:v>
                </c:pt>
                <c:pt idx="135">
                  <c:v>25.07.2014</c:v>
                </c:pt>
                <c:pt idx="136">
                  <c:v>28.07.2014</c:v>
                </c:pt>
                <c:pt idx="137">
                  <c:v>29.07.2014</c:v>
                </c:pt>
                <c:pt idx="138">
                  <c:v>30.07.2014</c:v>
                </c:pt>
                <c:pt idx="139">
                  <c:v>31.07.2014</c:v>
                </c:pt>
                <c:pt idx="140">
                  <c:v>01.08.2014</c:v>
                </c:pt>
                <c:pt idx="141">
                  <c:v>04.08.2014</c:v>
                </c:pt>
                <c:pt idx="142">
                  <c:v>05.08.2014</c:v>
                </c:pt>
                <c:pt idx="143">
                  <c:v>06.08.2014</c:v>
                </c:pt>
                <c:pt idx="144">
                  <c:v>07.08.2014</c:v>
                </c:pt>
                <c:pt idx="145">
                  <c:v>08.08.2014</c:v>
                </c:pt>
                <c:pt idx="146">
                  <c:v>11.08.2014</c:v>
                </c:pt>
                <c:pt idx="147">
                  <c:v>12.08.2014</c:v>
                </c:pt>
                <c:pt idx="148">
                  <c:v>13.08.2014</c:v>
                </c:pt>
                <c:pt idx="149">
                  <c:v>14.08.2014</c:v>
                </c:pt>
                <c:pt idx="150">
                  <c:v>15.08.2014</c:v>
                </c:pt>
                <c:pt idx="151">
                  <c:v>18.08.2014</c:v>
                </c:pt>
                <c:pt idx="152">
                  <c:v>19.08.2014</c:v>
                </c:pt>
                <c:pt idx="153">
                  <c:v>20.08.2014</c:v>
                </c:pt>
                <c:pt idx="154">
                  <c:v>21.08.2014</c:v>
                </c:pt>
                <c:pt idx="155">
                  <c:v>22.08.2014</c:v>
                </c:pt>
                <c:pt idx="156">
                  <c:v>25.08.2014</c:v>
                </c:pt>
                <c:pt idx="157">
                  <c:v>26.08.2014</c:v>
                </c:pt>
                <c:pt idx="158">
                  <c:v>27.08.2014</c:v>
                </c:pt>
                <c:pt idx="159">
                  <c:v>28.08.2014</c:v>
                </c:pt>
                <c:pt idx="160">
                  <c:v>29.08.2014</c:v>
                </c:pt>
                <c:pt idx="161">
                  <c:v>01.09.2014</c:v>
                </c:pt>
                <c:pt idx="162">
                  <c:v>02.09.2014</c:v>
                </c:pt>
                <c:pt idx="163">
                  <c:v>03.09.2014</c:v>
                </c:pt>
                <c:pt idx="164">
                  <c:v>04.09.2014</c:v>
                </c:pt>
                <c:pt idx="165">
                  <c:v>05.09.2014</c:v>
                </c:pt>
                <c:pt idx="166">
                  <c:v>08.09.2014</c:v>
                </c:pt>
                <c:pt idx="167">
                  <c:v>09.09.2014</c:v>
                </c:pt>
                <c:pt idx="168">
                  <c:v>10.09.2014</c:v>
                </c:pt>
                <c:pt idx="169">
                  <c:v>11.09.2014</c:v>
                </c:pt>
                <c:pt idx="170">
                  <c:v>12.09.2014</c:v>
                </c:pt>
                <c:pt idx="171">
                  <c:v>15.09.2014</c:v>
                </c:pt>
                <c:pt idx="172">
                  <c:v>16.09.2014</c:v>
                </c:pt>
                <c:pt idx="173">
                  <c:v>17.09.2014</c:v>
                </c:pt>
                <c:pt idx="174">
                  <c:v>18.09.2014</c:v>
                </c:pt>
                <c:pt idx="175">
                  <c:v>19.09.2014</c:v>
                </c:pt>
                <c:pt idx="176">
                  <c:v>22.09.2014</c:v>
                </c:pt>
                <c:pt idx="177">
                  <c:v>23.09.2014</c:v>
                </c:pt>
                <c:pt idx="178">
                  <c:v>24.09.2014</c:v>
                </c:pt>
                <c:pt idx="179">
                  <c:v>25.09.2014</c:v>
                </c:pt>
                <c:pt idx="180">
                  <c:v>26.09.2014</c:v>
                </c:pt>
                <c:pt idx="181">
                  <c:v>29.09.2014</c:v>
                </c:pt>
                <c:pt idx="182">
                  <c:v>30.09.2014</c:v>
                </c:pt>
                <c:pt idx="183">
                  <c:v>01.10.2014</c:v>
                </c:pt>
                <c:pt idx="184">
                  <c:v>02.10.2014</c:v>
                </c:pt>
                <c:pt idx="185">
                  <c:v>03.10.2014</c:v>
                </c:pt>
                <c:pt idx="186">
                  <c:v>06.10.2014</c:v>
                </c:pt>
                <c:pt idx="187">
                  <c:v>07.10.2014</c:v>
                </c:pt>
                <c:pt idx="188">
                  <c:v>08.10.2014</c:v>
                </c:pt>
                <c:pt idx="189">
                  <c:v>09.10.2014</c:v>
                </c:pt>
                <c:pt idx="190">
                  <c:v>10.10.2014</c:v>
                </c:pt>
                <c:pt idx="191">
                  <c:v>13.10.2014</c:v>
                </c:pt>
                <c:pt idx="192">
                  <c:v>14.10.2014</c:v>
                </c:pt>
                <c:pt idx="193">
                  <c:v>15.10.2014</c:v>
                </c:pt>
                <c:pt idx="194">
                  <c:v>16.10.2014</c:v>
                </c:pt>
                <c:pt idx="195">
                  <c:v>17.10.2014</c:v>
                </c:pt>
                <c:pt idx="196">
                  <c:v>20.10.2014</c:v>
                </c:pt>
                <c:pt idx="197">
                  <c:v>21.10.2014</c:v>
                </c:pt>
                <c:pt idx="198">
                  <c:v>22.10.2014</c:v>
                </c:pt>
                <c:pt idx="199">
                  <c:v>23.10.2014</c:v>
                </c:pt>
                <c:pt idx="200">
                  <c:v>24.10.2014</c:v>
                </c:pt>
                <c:pt idx="201">
                  <c:v>27.10.2014</c:v>
                </c:pt>
                <c:pt idx="202">
                  <c:v>28.10.2014</c:v>
                </c:pt>
                <c:pt idx="203">
                  <c:v>29.10.2014</c:v>
                </c:pt>
                <c:pt idx="204">
                  <c:v>30.10.2014</c:v>
                </c:pt>
                <c:pt idx="205">
                  <c:v>31.10.2014</c:v>
                </c:pt>
                <c:pt idx="206">
                  <c:v>05.11.2014</c:v>
                </c:pt>
                <c:pt idx="207">
                  <c:v>06.11.2014</c:v>
                </c:pt>
                <c:pt idx="208">
                  <c:v>07.11.2014</c:v>
                </c:pt>
                <c:pt idx="209">
                  <c:v>10.11.2014</c:v>
                </c:pt>
                <c:pt idx="210">
                  <c:v>11.11.2014</c:v>
                </c:pt>
                <c:pt idx="211">
                  <c:v>12.11.2014</c:v>
                </c:pt>
                <c:pt idx="212">
                  <c:v>13.11.2014</c:v>
                </c:pt>
                <c:pt idx="213">
                  <c:v>14.11.2014</c:v>
                </c:pt>
                <c:pt idx="214">
                  <c:v>17.11.2014</c:v>
                </c:pt>
                <c:pt idx="215">
                  <c:v>18.11.2014</c:v>
                </c:pt>
                <c:pt idx="216">
                  <c:v>19.11.2014</c:v>
                </c:pt>
                <c:pt idx="217">
                  <c:v>20.11.2014</c:v>
                </c:pt>
                <c:pt idx="218">
                  <c:v>21.11.2014</c:v>
                </c:pt>
                <c:pt idx="219">
                  <c:v>24.11.2014</c:v>
                </c:pt>
                <c:pt idx="220">
                  <c:v>25.11.2014</c:v>
                </c:pt>
                <c:pt idx="221">
                  <c:v>26.11.2014</c:v>
                </c:pt>
                <c:pt idx="222">
                  <c:v>27.11.2014</c:v>
                </c:pt>
                <c:pt idx="223">
                  <c:v>28.11.2014</c:v>
                </c:pt>
                <c:pt idx="224">
                  <c:v>01.12.2014</c:v>
                </c:pt>
                <c:pt idx="225">
                  <c:v>02.12.2014</c:v>
                </c:pt>
                <c:pt idx="226">
                  <c:v>03.12.2014</c:v>
                </c:pt>
                <c:pt idx="227">
                  <c:v>04.12.2014</c:v>
                </c:pt>
                <c:pt idx="228">
                  <c:v>05.12.2014</c:v>
                </c:pt>
                <c:pt idx="229">
                  <c:v>08.12.2014</c:v>
                </c:pt>
                <c:pt idx="230">
                  <c:v>09.12.2014</c:v>
                </c:pt>
                <c:pt idx="231">
                  <c:v>10.12.2014</c:v>
                </c:pt>
                <c:pt idx="232">
                  <c:v>11.12.2014</c:v>
                </c:pt>
                <c:pt idx="233">
                  <c:v>12.12.2014</c:v>
                </c:pt>
                <c:pt idx="234">
                  <c:v>15.12.2014</c:v>
                </c:pt>
                <c:pt idx="235">
                  <c:v>16.12.2014</c:v>
                </c:pt>
              </c:strCache>
            </c:strRef>
          </c:cat>
          <c:val>
            <c:numRef>
              <c:f>'full_csv_vli (24)'!$I$5:$I$241</c:f>
              <c:numCache>
                <c:formatCode>General</c:formatCode>
                <c:ptCount val="236"/>
                <c:pt idx="0">
                  <c:v>36470</c:v>
                </c:pt>
                <c:pt idx="1">
                  <c:v>36556</c:v>
                </c:pt>
                <c:pt idx="2">
                  <c:v>36236</c:v>
                </c:pt>
                <c:pt idx="3">
                  <c:v>36002</c:v>
                </c:pt>
                <c:pt idx="4">
                  <c:v>35799</c:v>
                </c:pt>
                <c:pt idx="5">
                  <c:v>35162</c:v>
                </c:pt>
                <c:pt idx="6">
                  <c:v>34791</c:v>
                </c:pt>
                <c:pt idx="7">
                  <c:v>34109</c:v>
                </c:pt>
                <c:pt idx="8">
                  <c:v>33952</c:v>
                </c:pt>
                <c:pt idx="9">
                  <c:v>33862</c:v>
                </c:pt>
                <c:pt idx="10">
                  <c:v>33682</c:v>
                </c:pt>
                <c:pt idx="11">
                  <c:v>33526</c:v>
                </c:pt>
                <c:pt idx="12">
                  <c:v>33449</c:v>
                </c:pt>
                <c:pt idx="13">
                  <c:v>33420</c:v>
                </c:pt>
                <c:pt idx="14">
                  <c:v>33454</c:v>
                </c:pt>
                <c:pt idx="15">
                  <c:v>34072</c:v>
                </c:pt>
                <c:pt idx="16">
                  <c:v>33559</c:v>
                </c:pt>
                <c:pt idx="17">
                  <c:v>34092</c:v>
                </c:pt>
                <c:pt idx="18">
                  <c:v>33881</c:v>
                </c:pt>
                <c:pt idx="19">
                  <c:v>33434</c:v>
                </c:pt>
                <c:pt idx="20">
                  <c:v>32734</c:v>
                </c:pt>
                <c:pt idx="21">
                  <c:v>32167</c:v>
                </c:pt>
                <c:pt idx="22">
                  <c:v>32435</c:v>
                </c:pt>
                <c:pt idx="23">
                  <c:v>32582</c:v>
                </c:pt>
                <c:pt idx="24">
                  <c:v>32585</c:v>
                </c:pt>
                <c:pt idx="25">
                  <c:v>32743</c:v>
                </c:pt>
                <c:pt idx="26">
                  <c:v>32194</c:v>
                </c:pt>
                <c:pt idx="27">
                  <c:v>32956</c:v>
                </c:pt>
                <c:pt idx="28">
                  <c:v>33460</c:v>
                </c:pt>
                <c:pt idx="29">
                  <c:v>32705</c:v>
                </c:pt>
                <c:pt idx="30">
                  <c:v>31599</c:v>
                </c:pt>
                <c:pt idx="31">
                  <c:v>32124</c:v>
                </c:pt>
                <c:pt idx="32">
                  <c:v>32361</c:v>
                </c:pt>
                <c:pt idx="33">
                  <c:v>32274</c:v>
                </c:pt>
                <c:pt idx="34">
                  <c:v>32840</c:v>
                </c:pt>
                <c:pt idx="35">
                  <c:v>32529</c:v>
                </c:pt>
                <c:pt idx="36">
                  <c:v>32213</c:v>
                </c:pt>
                <c:pt idx="37">
                  <c:v>32511</c:v>
                </c:pt>
                <c:pt idx="38">
                  <c:v>32994</c:v>
                </c:pt>
                <c:pt idx="39">
                  <c:v>33037</c:v>
                </c:pt>
                <c:pt idx="40">
                  <c:v>32732</c:v>
                </c:pt>
                <c:pt idx="41">
                  <c:v>32842</c:v>
                </c:pt>
                <c:pt idx="42">
                  <c:v>32749</c:v>
                </c:pt>
                <c:pt idx="43">
                  <c:v>32593</c:v>
                </c:pt>
                <c:pt idx="44">
                  <c:v>32593</c:v>
                </c:pt>
                <c:pt idx="45">
                  <c:v>32593</c:v>
                </c:pt>
                <c:pt idx="46">
                  <c:v>32719</c:v>
                </c:pt>
                <c:pt idx="47">
                  <c:v>32719</c:v>
                </c:pt>
                <c:pt idx="48">
                  <c:v>33207</c:v>
                </c:pt>
                <c:pt idx="49">
                  <c:v>33207</c:v>
                </c:pt>
                <c:pt idx="50">
                  <c:v>33207</c:v>
                </c:pt>
                <c:pt idx="51">
                  <c:v>33207</c:v>
                </c:pt>
                <c:pt idx="52">
                  <c:v>32343</c:v>
                </c:pt>
                <c:pt idx="53">
                  <c:v>32203</c:v>
                </c:pt>
                <c:pt idx="54">
                  <c:v>32201</c:v>
                </c:pt>
                <c:pt idx="55">
                  <c:v>32204</c:v>
                </c:pt>
                <c:pt idx="56">
                  <c:v>32201</c:v>
                </c:pt>
                <c:pt idx="57">
                  <c:v>32655</c:v>
                </c:pt>
                <c:pt idx="58">
                  <c:v>32655</c:v>
                </c:pt>
                <c:pt idx="59">
                  <c:v>32655</c:v>
                </c:pt>
                <c:pt idx="60">
                  <c:v>32655</c:v>
                </c:pt>
                <c:pt idx="61">
                  <c:v>32655</c:v>
                </c:pt>
                <c:pt idx="62">
                  <c:v>32655</c:v>
                </c:pt>
                <c:pt idx="63">
                  <c:v>32655</c:v>
                </c:pt>
                <c:pt idx="64">
                  <c:v>32655</c:v>
                </c:pt>
                <c:pt idx="65">
                  <c:v>32655</c:v>
                </c:pt>
                <c:pt idx="66">
                  <c:v>32655</c:v>
                </c:pt>
                <c:pt idx="67">
                  <c:v>32655</c:v>
                </c:pt>
                <c:pt idx="68">
                  <c:v>32655</c:v>
                </c:pt>
                <c:pt idx="69">
                  <c:v>32655</c:v>
                </c:pt>
                <c:pt idx="70">
                  <c:v>32655</c:v>
                </c:pt>
                <c:pt idx="71">
                  <c:v>32655</c:v>
                </c:pt>
                <c:pt idx="72">
                  <c:v>32655</c:v>
                </c:pt>
                <c:pt idx="73">
                  <c:v>32655</c:v>
                </c:pt>
                <c:pt idx="74">
                  <c:v>32655</c:v>
                </c:pt>
                <c:pt idx="75">
                  <c:v>32655</c:v>
                </c:pt>
                <c:pt idx="76">
                  <c:v>32655</c:v>
                </c:pt>
                <c:pt idx="77">
                  <c:v>32833</c:v>
                </c:pt>
                <c:pt idx="78">
                  <c:v>32833</c:v>
                </c:pt>
                <c:pt idx="79">
                  <c:v>33165</c:v>
                </c:pt>
                <c:pt idx="80">
                  <c:v>33165</c:v>
                </c:pt>
                <c:pt idx="81">
                  <c:v>33165</c:v>
                </c:pt>
                <c:pt idx="82">
                  <c:v>33165</c:v>
                </c:pt>
                <c:pt idx="83">
                  <c:v>33165</c:v>
                </c:pt>
                <c:pt idx="84">
                  <c:v>33165</c:v>
                </c:pt>
                <c:pt idx="85">
                  <c:v>33165</c:v>
                </c:pt>
                <c:pt idx="86">
                  <c:v>33165</c:v>
                </c:pt>
                <c:pt idx="87">
                  <c:v>33165</c:v>
                </c:pt>
                <c:pt idx="88">
                  <c:v>33165</c:v>
                </c:pt>
                <c:pt idx="89">
                  <c:v>33165</c:v>
                </c:pt>
                <c:pt idx="90">
                  <c:v>33165</c:v>
                </c:pt>
                <c:pt idx="91">
                  <c:v>33165</c:v>
                </c:pt>
                <c:pt idx="92">
                  <c:v>33165</c:v>
                </c:pt>
                <c:pt idx="93">
                  <c:v>33165</c:v>
                </c:pt>
                <c:pt idx="94">
                  <c:v>33472</c:v>
                </c:pt>
                <c:pt idx="95">
                  <c:v>33038</c:v>
                </c:pt>
                <c:pt idx="96">
                  <c:v>33038</c:v>
                </c:pt>
                <c:pt idx="97">
                  <c:v>33066</c:v>
                </c:pt>
                <c:pt idx="98">
                  <c:v>33066</c:v>
                </c:pt>
                <c:pt idx="99">
                  <c:v>33106</c:v>
                </c:pt>
                <c:pt idx="100">
                  <c:v>33106</c:v>
                </c:pt>
                <c:pt idx="101">
                  <c:v>33106</c:v>
                </c:pt>
                <c:pt idx="102">
                  <c:v>33106</c:v>
                </c:pt>
                <c:pt idx="103">
                  <c:v>33106</c:v>
                </c:pt>
                <c:pt idx="104">
                  <c:v>33106</c:v>
                </c:pt>
                <c:pt idx="105">
                  <c:v>33106</c:v>
                </c:pt>
                <c:pt idx="106">
                  <c:v>32938</c:v>
                </c:pt>
                <c:pt idx="107">
                  <c:v>33038</c:v>
                </c:pt>
                <c:pt idx="108">
                  <c:v>33026</c:v>
                </c:pt>
                <c:pt idx="109">
                  <c:v>32776</c:v>
                </c:pt>
                <c:pt idx="110">
                  <c:v>32896</c:v>
                </c:pt>
                <c:pt idx="111">
                  <c:v>33078</c:v>
                </c:pt>
                <c:pt idx="112">
                  <c:v>32731</c:v>
                </c:pt>
                <c:pt idx="113">
                  <c:v>33449</c:v>
                </c:pt>
                <c:pt idx="114">
                  <c:v>33399</c:v>
                </c:pt>
                <c:pt idx="115">
                  <c:v>33757</c:v>
                </c:pt>
                <c:pt idx="116">
                  <c:v>33757</c:v>
                </c:pt>
                <c:pt idx="117">
                  <c:v>33849</c:v>
                </c:pt>
                <c:pt idx="118">
                  <c:v>33582</c:v>
                </c:pt>
                <c:pt idx="119">
                  <c:v>33860</c:v>
                </c:pt>
                <c:pt idx="120">
                  <c:v>33982</c:v>
                </c:pt>
                <c:pt idx="121">
                  <c:v>33686</c:v>
                </c:pt>
                <c:pt idx="122">
                  <c:v>33697</c:v>
                </c:pt>
                <c:pt idx="123">
                  <c:v>33742</c:v>
                </c:pt>
                <c:pt idx="124">
                  <c:v>34030</c:v>
                </c:pt>
                <c:pt idx="125">
                  <c:v>34065</c:v>
                </c:pt>
                <c:pt idx="126">
                  <c:v>33986</c:v>
                </c:pt>
                <c:pt idx="127">
                  <c:v>33934</c:v>
                </c:pt>
                <c:pt idx="128">
                  <c:v>34270</c:v>
                </c:pt>
                <c:pt idx="129">
                  <c:v>34076</c:v>
                </c:pt>
                <c:pt idx="130">
                  <c:v>33963</c:v>
                </c:pt>
                <c:pt idx="131">
                  <c:v>33886</c:v>
                </c:pt>
                <c:pt idx="132">
                  <c:v>33947</c:v>
                </c:pt>
                <c:pt idx="133">
                  <c:v>33942</c:v>
                </c:pt>
                <c:pt idx="134">
                  <c:v>33861</c:v>
                </c:pt>
                <c:pt idx="135">
                  <c:v>34126</c:v>
                </c:pt>
                <c:pt idx="136">
                  <c:v>34044</c:v>
                </c:pt>
                <c:pt idx="137">
                  <c:v>34270</c:v>
                </c:pt>
                <c:pt idx="138">
                  <c:v>34017</c:v>
                </c:pt>
                <c:pt idx="139">
                  <c:v>34011</c:v>
                </c:pt>
                <c:pt idx="140">
                  <c:v>34060</c:v>
                </c:pt>
                <c:pt idx="141">
                  <c:v>34121</c:v>
                </c:pt>
                <c:pt idx="142">
                  <c:v>34030</c:v>
                </c:pt>
                <c:pt idx="143">
                  <c:v>33980</c:v>
                </c:pt>
                <c:pt idx="144">
                  <c:v>33757</c:v>
                </c:pt>
                <c:pt idx="145">
                  <c:v>33757</c:v>
                </c:pt>
                <c:pt idx="146">
                  <c:v>33757</c:v>
                </c:pt>
                <c:pt idx="147">
                  <c:v>33757</c:v>
                </c:pt>
                <c:pt idx="148">
                  <c:v>33754</c:v>
                </c:pt>
                <c:pt idx="149">
                  <c:v>33275</c:v>
                </c:pt>
                <c:pt idx="150">
                  <c:v>33275</c:v>
                </c:pt>
                <c:pt idx="151">
                  <c:v>33634</c:v>
                </c:pt>
                <c:pt idx="152">
                  <c:v>33778</c:v>
                </c:pt>
                <c:pt idx="153">
                  <c:v>33344</c:v>
                </c:pt>
                <c:pt idx="154">
                  <c:v>33345</c:v>
                </c:pt>
                <c:pt idx="155">
                  <c:v>33679</c:v>
                </c:pt>
                <c:pt idx="156">
                  <c:v>33441</c:v>
                </c:pt>
                <c:pt idx="157">
                  <c:v>33346</c:v>
                </c:pt>
                <c:pt idx="158">
                  <c:v>33408</c:v>
                </c:pt>
                <c:pt idx="159">
                  <c:v>34205</c:v>
                </c:pt>
                <c:pt idx="160">
                  <c:v>33346</c:v>
                </c:pt>
                <c:pt idx="161">
                  <c:v>33757</c:v>
                </c:pt>
                <c:pt idx="162">
                  <c:v>34584</c:v>
                </c:pt>
                <c:pt idx="163">
                  <c:v>34681</c:v>
                </c:pt>
                <c:pt idx="164">
                  <c:v>34704</c:v>
                </c:pt>
                <c:pt idx="165">
                  <c:v>34883</c:v>
                </c:pt>
                <c:pt idx="166">
                  <c:v>35086</c:v>
                </c:pt>
                <c:pt idx="167">
                  <c:v>35213</c:v>
                </c:pt>
                <c:pt idx="168">
                  <c:v>36004</c:v>
                </c:pt>
                <c:pt idx="169">
                  <c:v>35457</c:v>
                </c:pt>
                <c:pt idx="170">
                  <c:v>34704</c:v>
                </c:pt>
                <c:pt idx="171">
                  <c:v>35929</c:v>
                </c:pt>
                <c:pt idx="172">
                  <c:v>36060</c:v>
                </c:pt>
                <c:pt idx="173">
                  <c:v>36015</c:v>
                </c:pt>
                <c:pt idx="174">
                  <c:v>34823</c:v>
                </c:pt>
                <c:pt idx="175">
                  <c:v>35015</c:v>
                </c:pt>
                <c:pt idx="176">
                  <c:v>34904</c:v>
                </c:pt>
                <c:pt idx="177">
                  <c:v>34780</c:v>
                </c:pt>
                <c:pt idx="178">
                  <c:v>35017</c:v>
                </c:pt>
                <c:pt idx="179">
                  <c:v>34944</c:v>
                </c:pt>
                <c:pt idx="180">
                  <c:v>34992</c:v>
                </c:pt>
                <c:pt idx="181">
                  <c:v>35023</c:v>
                </c:pt>
                <c:pt idx="182">
                  <c:v>35020</c:v>
                </c:pt>
                <c:pt idx="183">
                  <c:v>35322</c:v>
                </c:pt>
                <c:pt idx="184">
                  <c:v>35696</c:v>
                </c:pt>
                <c:pt idx="185">
                  <c:v>36130</c:v>
                </c:pt>
                <c:pt idx="186">
                  <c:v>35275</c:v>
                </c:pt>
                <c:pt idx="187">
                  <c:v>35710</c:v>
                </c:pt>
                <c:pt idx="188">
                  <c:v>35771</c:v>
                </c:pt>
                <c:pt idx="189">
                  <c:v>36088</c:v>
                </c:pt>
                <c:pt idx="190">
                  <c:v>36016</c:v>
                </c:pt>
                <c:pt idx="191">
                  <c:v>35846</c:v>
                </c:pt>
                <c:pt idx="192">
                  <c:v>35948</c:v>
                </c:pt>
                <c:pt idx="193">
                  <c:v>36142</c:v>
                </c:pt>
                <c:pt idx="194">
                  <c:v>36381</c:v>
                </c:pt>
                <c:pt idx="195">
                  <c:v>36635</c:v>
                </c:pt>
                <c:pt idx="196">
                  <c:v>36793</c:v>
                </c:pt>
                <c:pt idx="197">
                  <c:v>36726</c:v>
                </c:pt>
                <c:pt idx="198">
                  <c:v>36915</c:v>
                </c:pt>
                <c:pt idx="199">
                  <c:v>36877</c:v>
                </c:pt>
                <c:pt idx="200">
                  <c:v>36952</c:v>
                </c:pt>
                <c:pt idx="201">
                  <c:v>36989</c:v>
                </c:pt>
                <c:pt idx="202">
                  <c:v>37060</c:v>
                </c:pt>
                <c:pt idx="203">
                  <c:v>37192</c:v>
                </c:pt>
                <c:pt idx="204">
                  <c:v>37528</c:v>
                </c:pt>
                <c:pt idx="205">
                  <c:v>37657</c:v>
                </c:pt>
                <c:pt idx="206">
                  <c:v>37598</c:v>
                </c:pt>
                <c:pt idx="207">
                  <c:v>37625</c:v>
                </c:pt>
                <c:pt idx="208">
                  <c:v>37478</c:v>
                </c:pt>
                <c:pt idx="209">
                  <c:v>37485</c:v>
                </c:pt>
                <c:pt idx="210">
                  <c:v>37485</c:v>
                </c:pt>
                <c:pt idx="211">
                  <c:v>37555</c:v>
                </c:pt>
                <c:pt idx="212">
                  <c:v>37281</c:v>
                </c:pt>
                <c:pt idx="213">
                  <c:v>37012</c:v>
                </c:pt>
                <c:pt idx="214">
                  <c:v>36856</c:v>
                </c:pt>
                <c:pt idx="215">
                  <c:v>37001</c:v>
                </c:pt>
                <c:pt idx="216">
                  <c:v>36990</c:v>
                </c:pt>
                <c:pt idx="217">
                  <c:v>37122</c:v>
                </c:pt>
                <c:pt idx="218">
                  <c:v>37110</c:v>
                </c:pt>
                <c:pt idx="219">
                  <c:v>37021</c:v>
                </c:pt>
                <c:pt idx="220">
                  <c:v>36472</c:v>
                </c:pt>
                <c:pt idx="221">
                  <c:v>36467</c:v>
                </c:pt>
                <c:pt idx="222">
                  <c:v>36399</c:v>
                </c:pt>
                <c:pt idx="223">
                  <c:v>36472</c:v>
                </c:pt>
                <c:pt idx="224">
                  <c:v>37202</c:v>
                </c:pt>
                <c:pt idx="225">
                  <c:v>36991</c:v>
                </c:pt>
                <c:pt idx="226">
                  <c:v>37350</c:v>
                </c:pt>
                <c:pt idx="227">
                  <c:v>37460</c:v>
                </c:pt>
                <c:pt idx="228">
                  <c:v>37249</c:v>
                </c:pt>
                <c:pt idx="229">
                  <c:v>37177</c:v>
                </c:pt>
                <c:pt idx="230">
                  <c:v>37161</c:v>
                </c:pt>
                <c:pt idx="231">
                  <c:v>37065</c:v>
                </c:pt>
                <c:pt idx="232">
                  <c:v>36967</c:v>
                </c:pt>
                <c:pt idx="233">
                  <c:v>36965</c:v>
                </c:pt>
                <c:pt idx="234">
                  <c:v>36515</c:v>
                </c:pt>
                <c:pt idx="235">
                  <c:v>3668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full_csv_vli (24)'!$J$3:$J$4</c:f>
              <c:strCache>
                <c:ptCount val="1"/>
                <c:pt idx="0">
                  <c:v>Регуляр-92</c:v>
                </c:pt>
              </c:strCache>
            </c:strRef>
          </c:tx>
          <c:spPr>
            <a:ln w="47625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full_csv_vli (24)'!$G$5:$G$241</c:f>
              <c:strCache>
                <c:ptCount val="236"/>
                <c:pt idx="0">
                  <c:v>09.01.2014</c:v>
                </c:pt>
                <c:pt idx="1">
                  <c:v>10.01.2014</c:v>
                </c:pt>
                <c:pt idx="2">
                  <c:v>13.01.2014</c:v>
                </c:pt>
                <c:pt idx="3">
                  <c:v>14.01.2014</c:v>
                </c:pt>
                <c:pt idx="4">
                  <c:v>15.01.2014</c:v>
                </c:pt>
                <c:pt idx="5">
                  <c:v>16.01.2014</c:v>
                </c:pt>
                <c:pt idx="6">
                  <c:v>17.01.2014</c:v>
                </c:pt>
                <c:pt idx="7">
                  <c:v>20.01.2014</c:v>
                </c:pt>
                <c:pt idx="8">
                  <c:v>21.01.2014</c:v>
                </c:pt>
                <c:pt idx="9">
                  <c:v>22.01.2014</c:v>
                </c:pt>
                <c:pt idx="10">
                  <c:v>23.01.2014</c:v>
                </c:pt>
                <c:pt idx="11">
                  <c:v>24.01.2014</c:v>
                </c:pt>
                <c:pt idx="12">
                  <c:v>27.01.2014</c:v>
                </c:pt>
                <c:pt idx="13">
                  <c:v>28.01.2014</c:v>
                </c:pt>
                <c:pt idx="14">
                  <c:v>29.01.2014</c:v>
                </c:pt>
                <c:pt idx="15">
                  <c:v>30.01.2014</c:v>
                </c:pt>
                <c:pt idx="16">
                  <c:v>31.01.2014</c:v>
                </c:pt>
                <c:pt idx="17">
                  <c:v>03.02.2014</c:v>
                </c:pt>
                <c:pt idx="18">
                  <c:v>04.02.2014</c:v>
                </c:pt>
                <c:pt idx="19">
                  <c:v>05.02.2014</c:v>
                </c:pt>
                <c:pt idx="20">
                  <c:v>06.02.2014</c:v>
                </c:pt>
                <c:pt idx="21">
                  <c:v>07.02.2014</c:v>
                </c:pt>
                <c:pt idx="22">
                  <c:v>10.02.2014</c:v>
                </c:pt>
                <c:pt idx="23">
                  <c:v>11.02.2014</c:v>
                </c:pt>
                <c:pt idx="24">
                  <c:v>12.02.2014</c:v>
                </c:pt>
                <c:pt idx="25">
                  <c:v>13.02.2014</c:v>
                </c:pt>
                <c:pt idx="26">
                  <c:v>14.02.2014</c:v>
                </c:pt>
                <c:pt idx="27">
                  <c:v>17.02.2014</c:v>
                </c:pt>
                <c:pt idx="28">
                  <c:v>18.02.2014</c:v>
                </c:pt>
                <c:pt idx="29">
                  <c:v>19.02.2014</c:v>
                </c:pt>
                <c:pt idx="30">
                  <c:v>20.02.2014</c:v>
                </c:pt>
                <c:pt idx="31">
                  <c:v>21.02.2014</c:v>
                </c:pt>
                <c:pt idx="32">
                  <c:v>24.02.2014</c:v>
                </c:pt>
                <c:pt idx="33">
                  <c:v>25.02.2014</c:v>
                </c:pt>
                <c:pt idx="34">
                  <c:v>26.02.2014</c:v>
                </c:pt>
                <c:pt idx="35">
                  <c:v>27.02.2014</c:v>
                </c:pt>
                <c:pt idx="36">
                  <c:v>28.02.2014</c:v>
                </c:pt>
                <c:pt idx="37">
                  <c:v>03.03.2014</c:v>
                </c:pt>
                <c:pt idx="38">
                  <c:v>04.03.2014</c:v>
                </c:pt>
                <c:pt idx="39">
                  <c:v>05.03.2014</c:v>
                </c:pt>
                <c:pt idx="40">
                  <c:v>06.03.2014</c:v>
                </c:pt>
                <c:pt idx="41">
                  <c:v>07.03.2014</c:v>
                </c:pt>
                <c:pt idx="42">
                  <c:v>11.03.2014</c:v>
                </c:pt>
                <c:pt idx="43">
                  <c:v>12.03.2014</c:v>
                </c:pt>
                <c:pt idx="44">
                  <c:v>13.03.2014</c:v>
                </c:pt>
                <c:pt idx="45">
                  <c:v>14.03.2014</c:v>
                </c:pt>
                <c:pt idx="46">
                  <c:v>17.03.2014</c:v>
                </c:pt>
                <c:pt idx="47">
                  <c:v>18.03.2014</c:v>
                </c:pt>
                <c:pt idx="48">
                  <c:v>19.03.2014</c:v>
                </c:pt>
                <c:pt idx="49">
                  <c:v>20.03.2014</c:v>
                </c:pt>
                <c:pt idx="50">
                  <c:v>21.03.2014</c:v>
                </c:pt>
                <c:pt idx="51">
                  <c:v>24.03.2014</c:v>
                </c:pt>
                <c:pt idx="52">
                  <c:v>25.03.2014</c:v>
                </c:pt>
                <c:pt idx="53">
                  <c:v>26.03.2014</c:v>
                </c:pt>
                <c:pt idx="54">
                  <c:v>27.03.2014</c:v>
                </c:pt>
                <c:pt idx="55">
                  <c:v>28.03.2014</c:v>
                </c:pt>
                <c:pt idx="56">
                  <c:v>31.03.2014</c:v>
                </c:pt>
                <c:pt idx="57">
                  <c:v>01.04.2014</c:v>
                </c:pt>
                <c:pt idx="58">
                  <c:v>02.04.2014</c:v>
                </c:pt>
                <c:pt idx="59">
                  <c:v>03.04.2014</c:v>
                </c:pt>
                <c:pt idx="60">
                  <c:v>04.04.2014</c:v>
                </c:pt>
                <c:pt idx="61">
                  <c:v>07.04.2014</c:v>
                </c:pt>
                <c:pt idx="62">
                  <c:v>08.04.2014</c:v>
                </c:pt>
                <c:pt idx="63">
                  <c:v>09.04.2014</c:v>
                </c:pt>
                <c:pt idx="64">
                  <c:v>10.04.2014</c:v>
                </c:pt>
                <c:pt idx="65">
                  <c:v>11.04.2014</c:v>
                </c:pt>
                <c:pt idx="66">
                  <c:v>14.04.2014</c:v>
                </c:pt>
                <c:pt idx="67">
                  <c:v>15.04.2014</c:v>
                </c:pt>
                <c:pt idx="68">
                  <c:v>16.04.2014</c:v>
                </c:pt>
                <c:pt idx="69">
                  <c:v>17.04.2014</c:v>
                </c:pt>
                <c:pt idx="70">
                  <c:v>18.04.2014</c:v>
                </c:pt>
                <c:pt idx="71">
                  <c:v>21.04.2014</c:v>
                </c:pt>
                <c:pt idx="72">
                  <c:v>22.04.2014</c:v>
                </c:pt>
                <c:pt idx="73">
                  <c:v>23.04.2014</c:v>
                </c:pt>
                <c:pt idx="74">
                  <c:v>24.04.2014</c:v>
                </c:pt>
                <c:pt idx="75">
                  <c:v>25.04.2014</c:v>
                </c:pt>
                <c:pt idx="76">
                  <c:v>28.04.2014</c:v>
                </c:pt>
                <c:pt idx="77">
                  <c:v>29.04.2014</c:v>
                </c:pt>
                <c:pt idx="78">
                  <c:v>30.04.2014</c:v>
                </c:pt>
                <c:pt idx="79">
                  <c:v>05.05.2014</c:v>
                </c:pt>
                <c:pt idx="80">
                  <c:v>06.05.2014</c:v>
                </c:pt>
                <c:pt idx="81">
                  <c:v>07.05.2014</c:v>
                </c:pt>
                <c:pt idx="82">
                  <c:v>08.05.2014</c:v>
                </c:pt>
                <c:pt idx="83">
                  <c:v>12.05.2014</c:v>
                </c:pt>
                <c:pt idx="84">
                  <c:v>13.05.2014</c:v>
                </c:pt>
                <c:pt idx="85">
                  <c:v>14.05.2014</c:v>
                </c:pt>
                <c:pt idx="86">
                  <c:v>15.05.2014</c:v>
                </c:pt>
                <c:pt idx="87">
                  <c:v>16.05.2014</c:v>
                </c:pt>
                <c:pt idx="88">
                  <c:v>19.05.2014</c:v>
                </c:pt>
                <c:pt idx="89">
                  <c:v>20.05.2014</c:v>
                </c:pt>
                <c:pt idx="90">
                  <c:v>21.05.2014</c:v>
                </c:pt>
                <c:pt idx="91">
                  <c:v>22.05.2014</c:v>
                </c:pt>
                <c:pt idx="92">
                  <c:v>23.05.2014</c:v>
                </c:pt>
                <c:pt idx="93">
                  <c:v>26.05.2014</c:v>
                </c:pt>
                <c:pt idx="94">
                  <c:v>27.05.2014</c:v>
                </c:pt>
                <c:pt idx="95">
                  <c:v>28.05.2014</c:v>
                </c:pt>
                <c:pt idx="96">
                  <c:v>29.05.2014</c:v>
                </c:pt>
                <c:pt idx="97">
                  <c:v>30.05.2014</c:v>
                </c:pt>
                <c:pt idx="98">
                  <c:v>02.06.2014</c:v>
                </c:pt>
                <c:pt idx="99">
                  <c:v>03.06.2014</c:v>
                </c:pt>
                <c:pt idx="100">
                  <c:v>04.06.2014</c:v>
                </c:pt>
                <c:pt idx="101">
                  <c:v>05.06.2014</c:v>
                </c:pt>
                <c:pt idx="102">
                  <c:v>06.06.2014</c:v>
                </c:pt>
                <c:pt idx="103">
                  <c:v>09.06.2014</c:v>
                </c:pt>
                <c:pt idx="104">
                  <c:v>10.06.2014</c:v>
                </c:pt>
                <c:pt idx="105">
                  <c:v>11.06.2014</c:v>
                </c:pt>
                <c:pt idx="106">
                  <c:v>16.06.2014</c:v>
                </c:pt>
                <c:pt idx="107">
                  <c:v>17.06.2014</c:v>
                </c:pt>
                <c:pt idx="108">
                  <c:v>18.06.2014</c:v>
                </c:pt>
                <c:pt idx="109">
                  <c:v>19.06.2014</c:v>
                </c:pt>
                <c:pt idx="110">
                  <c:v>20.06.2014</c:v>
                </c:pt>
                <c:pt idx="111">
                  <c:v>23.06.2014</c:v>
                </c:pt>
                <c:pt idx="112">
                  <c:v>24.06.2014</c:v>
                </c:pt>
                <c:pt idx="113">
                  <c:v>25.06.2014</c:v>
                </c:pt>
                <c:pt idx="114">
                  <c:v>26.06.2014</c:v>
                </c:pt>
                <c:pt idx="115">
                  <c:v>27.06.2014</c:v>
                </c:pt>
                <c:pt idx="116">
                  <c:v>30.06.2014</c:v>
                </c:pt>
                <c:pt idx="117">
                  <c:v>01.07.2014</c:v>
                </c:pt>
                <c:pt idx="118">
                  <c:v>02.07.2014</c:v>
                </c:pt>
                <c:pt idx="119">
                  <c:v>03.07.2014</c:v>
                </c:pt>
                <c:pt idx="120">
                  <c:v>04.07.2014</c:v>
                </c:pt>
                <c:pt idx="121">
                  <c:v>07.07.2014</c:v>
                </c:pt>
                <c:pt idx="122">
                  <c:v>08.07.2014</c:v>
                </c:pt>
                <c:pt idx="123">
                  <c:v>09.07.2014</c:v>
                </c:pt>
                <c:pt idx="124">
                  <c:v>10.07.2014</c:v>
                </c:pt>
                <c:pt idx="125">
                  <c:v>11.07.2014</c:v>
                </c:pt>
                <c:pt idx="126">
                  <c:v>14.07.2014</c:v>
                </c:pt>
                <c:pt idx="127">
                  <c:v>15.07.2014</c:v>
                </c:pt>
                <c:pt idx="128">
                  <c:v>16.07.2014</c:v>
                </c:pt>
                <c:pt idx="129">
                  <c:v>17.07.2014</c:v>
                </c:pt>
                <c:pt idx="130">
                  <c:v>18.07.2014</c:v>
                </c:pt>
                <c:pt idx="131">
                  <c:v>21.07.2014</c:v>
                </c:pt>
                <c:pt idx="132">
                  <c:v>22.07.2014</c:v>
                </c:pt>
                <c:pt idx="133">
                  <c:v>23.07.2014</c:v>
                </c:pt>
                <c:pt idx="134">
                  <c:v>24.07.2014</c:v>
                </c:pt>
                <c:pt idx="135">
                  <c:v>25.07.2014</c:v>
                </c:pt>
                <c:pt idx="136">
                  <c:v>28.07.2014</c:v>
                </c:pt>
                <c:pt idx="137">
                  <c:v>29.07.2014</c:v>
                </c:pt>
                <c:pt idx="138">
                  <c:v>30.07.2014</c:v>
                </c:pt>
                <c:pt idx="139">
                  <c:v>31.07.2014</c:v>
                </c:pt>
                <c:pt idx="140">
                  <c:v>01.08.2014</c:v>
                </c:pt>
                <c:pt idx="141">
                  <c:v>04.08.2014</c:v>
                </c:pt>
                <c:pt idx="142">
                  <c:v>05.08.2014</c:v>
                </c:pt>
                <c:pt idx="143">
                  <c:v>06.08.2014</c:v>
                </c:pt>
                <c:pt idx="144">
                  <c:v>07.08.2014</c:v>
                </c:pt>
                <c:pt idx="145">
                  <c:v>08.08.2014</c:v>
                </c:pt>
                <c:pt idx="146">
                  <c:v>11.08.2014</c:v>
                </c:pt>
                <c:pt idx="147">
                  <c:v>12.08.2014</c:v>
                </c:pt>
                <c:pt idx="148">
                  <c:v>13.08.2014</c:v>
                </c:pt>
                <c:pt idx="149">
                  <c:v>14.08.2014</c:v>
                </c:pt>
                <c:pt idx="150">
                  <c:v>15.08.2014</c:v>
                </c:pt>
                <c:pt idx="151">
                  <c:v>18.08.2014</c:v>
                </c:pt>
                <c:pt idx="152">
                  <c:v>19.08.2014</c:v>
                </c:pt>
                <c:pt idx="153">
                  <c:v>20.08.2014</c:v>
                </c:pt>
                <c:pt idx="154">
                  <c:v>21.08.2014</c:v>
                </c:pt>
                <c:pt idx="155">
                  <c:v>22.08.2014</c:v>
                </c:pt>
                <c:pt idx="156">
                  <c:v>25.08.2014</c:v>
                </c:pt>
                <c:pt idx="157">
                  <c:v>26.08.2014</c:v>
                </c:pt>
                <c:pt idx="158">
                  <c:v>27.08.2014</c:v>
                </c:pt>
                <c:pt idx="159">
                  <c:v>28.08.2014</c:v>
                </c:pt>
                <c:pt idx="160">
                  <c:v>29.08.2014</c:v>
                </c:pt>
                <c:pt idx="161">
                  <c:v>01.09.2014</c:v>
                </c:pt>
                <c:pt idx="162">
                  <c:v>02.09.2014</c:v>
                </c:pt>
                <c:pt idx="163">
                  <c:v>03.09.2014</c:v>
                </c:pt>
                <c:pt idx="164">
                  <c:v>04.09.2014</c:v>
                </c:pt>
                <c:pt idx="165">
                  <c:v>05.09.2014</c:v>
                </c:pt>
                <c:pt idx="166">
                  <c:v>08.09.2014</c:v>
                </c:pt>
                <c:pt idx="167">
                  <c:v>09.09.2014</c:v>
                </c:pt>
                <c:pt idx="168">
                  <c:v>10.09.2014</c:v>
                </c:pt>
                <c:pt idx="169">
                  <c:v>11.09.2014</c:v>
                </c:pt>
                <c:pt idx="170">
                  <c:v>12.09.2014</c:v>
                </c:pt>
                <c:pt idx="171">
                  <c:v>15.09.2014</c:v>
                </c:pt>
                <c:pt idx="172">
                  <c:v>16.09.2014</c:v>
                </c:pt>
                <c:pt idx="173">
                  <c:v>17.09.2014</c:v>
                </c:pt>
                <c:pt idx="174">
                  <c:v>18.09.2014</c:v>
                </c:pt>
                <c:pt idx="175">
                  <c:v>19.09.2014</c:v>
                </c:pt>
                <c:pt idx="176">
                  <c:v>22.09.2014</c:v>
                </c:pt>
                <c:pt idx="177">
                  <c:v>23.09.2014</c:v>
                </c:pt>
                <c:pt idx="178">
                  <c:v>24.09.2014</c:v>
                </c:pt>
                <c:pt idx="179">
                  <c:v>25.09.2014</c:v>
                </c:pt>
                <c:pt idx="180">
                  <c:v>26.09.2014</c:v>
                </c:pt>
                <c:pt idx="181">
                  <c:v>29.09.2014</c:v>
                </c:pt>
                <c:pt idx="182">
                  <c:v>30.09.2014</c:v>
                </c:pt>
                <c:pt idx="183">
                  <c:v>01.10.2014</c:v>
                </c:pt>
                <c:pt idx="184">
                  <c:v>02.10.2014</c:v>
                </c:pt>
                <c:pt idx="185">
                  <c:v>03.10.2014</c:v>
                </c:pt>
                <c:pt idx="186">
                  <c:v>06.10.2014</c:v>
                </c:pt>
                <c:pt idx="187">
                  <c:v>07.10.2014</c:v>
                </c:pt>
                <c:pt idx="188">
                  <c:v>08.10.2014</c:v>
                </c:pt>
                <c:pt idx="189">
                  <c:v>09.10.2014</c:v>
                </c:pt>
                <c:pt idx="190">
                  <c:v>10.10.2014</c:v>
                </c:pt>
                <c:pt idx="191">
                  <c:v>13.10.2014</c:v>
                </c:pt>
                <c:pt idx="192">
                  <c:v>14.10.2014</c:v>
                </c:pt>
                <c:pt idx="193">
                  <c:v>15.10.2014</c:v>
                </c:pt>
                <c:pt idx="194">
                  <c:v>16.10.2014</c:v>
                </c:pt>
                <c:pt idx="195">
                  <c:v>17.10.2014</c:v>
                </c:pt>
                <c:pt idx="196">
                  <c:v>20.10.2014</c:v>
                </c:pt>
                <c:pt idx="197">
                  <c:v>21.10.2014</c:v>
                </c:pt>
                <c:pt idx="198">
                  <c:v>22.10.2014</c:v>
                </c:pt>
                <c:pt idx="199">
                  <c:v>23.10.2014</c:v>
                </c:pt>
                <c:pt idx="200">
                  <c:v>24.10.2014</c:v>
                </c:pt>
                <c:pt idx="201">
                  <c:v>27.10.2014</c:v>
                </c:pt>
                <c:pt idx="202">
                  <c:v>28.10.2014</c:v>
                </c:pt>
                <c:pt idx="203">
                  <c:v>29.10.2014</c:v>
                </c:pt>
                <c:pt idx="204">
                  <c:v>30.10.2014</c:v>
                </c:pt>
                <c:pt idx="205">
                  <c:v>31.10.2014</c:v>
                </c:pt>
                <c:pt idx="206">
                  <c:v>05.11.2014</c:v>
                </c:pt>
                <c:pt idx="207">
                  <c:v>06.11.2014</c:v>
                </c:pt>
                <c:pt idx="208">
                  <c:v>07.11.2014</c:v>
                </c:pt>
                <c:pt idx="209">
                  <c:v>10.11.2014</c:v>
                </c:pt>
                <c:pt idx="210">
                  <c:v>11.11.2014</c:v>
                </c:pt>
                <c:pt idx="211">
                  <c:v>12.11.2014</c:v>
                </c:pt>
                <c:pt idx="212">
                  <c:v>13.11.2014</c:v>
                </c:pt>
                <c:pt idx="213">
                  <c:v>14.11.2014</c:v>
                </c:pt>
                <c:pt idx="214">
                  <c:v>17.11.2014</c:v>
                </c:pt>
                <c:pt idx="215">
                  <c:v>18.11.2014</c:v>
                </c:pt>
                <c:pt idx="216">
                  <c:v>19.11.2014</c:v>
                </c:pt>
                <c:pt idx="217">
                  <c:v>20.11.2014</c:v>
                </c:pt>
                <c:pt idx="218">
                  <c:v>21.11.2014</c:v>
                </c:pt>
                <c:pt idx="219">
                  <c:v>24.11.2014</c:v>
                </c:pt>
                <c:pt idx="220">
                  <c:v>25.11.2014</c:v>
                </c:pt>
                <c:pt idx="221">
                  <c:v>26.11.2014</c:v>
                </c:pt>
                <c:pt idx="222">
                  <c:v>27.11.2014</c:v>
                </c:pt>
                <c:pt idx="223">
                  <c:v>28.11.2014</c:v>
                </c:pt>
                <c:pt idx="224">
                  <c:v>01.12.2014</c:v>
                </c:pt>
                <c:pt idx="225">
                  <c:v>02.12.2014</c:v>
                </c:pt>
                <c:pt idx="226">
                  <c:v>03.12.2014</c:v>
                </c:pt>
                <c:pt idx="227">
                  <c:v>04.12.2014</c:v>
                </c:pt>
                <c:pt idx="228">
                  <c:v>05.12.2014</c:v>
                </c:pt>
                <c:pt idx="229">
                  <c:v>08.12.2014</c:v>
                </c:pt>
                <c:pt idx="230">
                  <c:v>09.12.2014</c:v>
                </c:pt>
                <c:pt idx="231">
                  <c:v>10.12.2014</c:v>
                </c:pt>
                <c:pt idx="232">
                  <c:v>11.12.2014</c:v>
                </c:pt>
                <c:pt idx="233">
                  <c:v>12.12.2014</c:v>
                </c:pt>
                <c:pt idx="234">
                  <c:v>15.12.2014</c:v>
                </c:pt>
                <c:pt idx="235">
                  <c:v>16.12.2014</c:v>
                </c:pt>
              </c:strCache>
            </c:strRef>
          </c:cat>
          <c:val>
            <c:numRef>
              <c:f>'full_csv_vli (24)'!$J$5:$J$241</c:f>
              <c:numCache>
                <c:formatCode>General</c:formatCode>
                <c:ptCount val="236"/>
                <c:pt idx="0">
                  <c:v>30864</c:v>
                </c:pt>
                <c:pt idx="1">
                  <c:v>30991</c:v>
                </c:pt>
                <c:pt idx="2">
                  <c:v>31071</c:v>
                </c:pt>
                <c:pt idx="3">
                  <c:v>31261</c:v>
                </c:pt>
                <c:pt idx="4">
                  <c:v>31280</c:v>
                </c:pt>
                <c:pt idx="5">
                  <c:v>31435</c:v>
                </c:pt>
                <c:pt idx="6">
                  <c:v>31469</c:v>
                </c:pt>
                <c:pt idx="7">
                  <c:v>31529</c:v>
                </c:pt>
                <c:pt idx="8">
                  <c:v>32071</c:v>
                </c:pt>
                <c:pt idx="9">
                  <c:v>32628</c:v>
                </c:pt>
                <c:pt idx="10">
                  <c:v>32964</c:v>
                </c:pt>
                <c:pt idx="11">
                  <c:v>32539</c:v>
                </c:pt>
                <c:pt idx="12">
                  <c:v>32482</c:v>
                </c:pt>
                <c:pt idx="13">
                  <c:v>32710</c:v>
                </c:pt>
                <c:pt idx="14">
                  <c:v>32911</c:v>
                </c:pt>
                <c:pt idx="15">
                  <c:v>33207</c:v>
                </c:pt>
                <c:pt idx="16">
                  <c:v>33247</c:v>
                </c:pt>
                <c:pt idx="17">
                  <c:v>33128</c:v>
                </c:pt>
                <c:pt idx="18">
                  <c:v>32967</c:v>
                </c:pt>
                <c:pt idx="19">
                  <c:v>33024</c:v>
                </c:pt>
                <c:pt idx="20">
                  <c:v>32957</c:v>
                </c:pt>
                <c:pt idx="21">
                  <c:v>32878</c:v>
                </c:pt>
                <c:pt idx="22">
                  <c:v>32788</c:v>
                </c:pt>
                <c:pt idx="23">
                  <c:v>32752</c:v>
                </c:pt>
                <c:pt idx="24">
                  <c:v>32727</c:v>
                </c:pt>
                <c:pt idx="25">
                  <c:v>32859</c:v>
                </c:pt>
                <c:pt idx="26">
                  <c:v>33150</c:v>
                </c:pt>
                <c:pt idx="27">
                  <c:v>33369</c:v>
                </c:pt>
                <c:pt idx="28">
                  <c:v>33448</c:v>
                </c:pt>
                <c:pt idx="29">
                  <c:v>33857</c:v>
                </c:pt>
                <c:pt idx="30">
                  <c:v>34151</c:v>
                </c:pt>
                <c:pt idx="31">
                  <c:v>34188</c:v>
                </c:pt>
                <c:pt idx="32">
                  <c:v>34219</c:v>
                </c:pt>
                <c:pt idx="33">
                  <c:v>34035</c:v>
                </c:pt>
                <c:pt idx="34">
                  <c:v>33634</c:v>
                </c:pt>
                <c:pt idx="35">
                  <c:v>33955</c:v>
                </c:pt>
                <c:pt idx="36">
                  <c:v>34206</c:v>
                </c:pt>
                <c:pt idx="37">
                  <c:v>34587</c:v>
                </c:pt>
                <c:pt idx="38">
                  <c:v>35311</c:v>
                </c:pt>
                <c:pt idx="39">
                  <c:v>35868</c:v>
                </c:pt>
                <c:pt idx="40">
                  <c:v>35467</c:v>
                </c:pt>
                <c:pt idx="41">
                  <c:v>35479</c:v>
                </c:pt>
                <c:pt idx="42">
                  <c:v>35583</c:v>
                </c:pt>
                <c:pt idx="43">
                  <c:v>35534</c:v>
                </c:pt>
                <c:pt idx="44">
                  <c:v>35446</c:v>
                </c:pt>
                <c:pt idx="45">
                  <c:v>35476</c:v>
                </c:pt>
                <c:pt idx="46">
                  <c:v>35365</c:v>
                </c:pt>
                <c:pt idx="47">
                  <c:v>34818</c:v>
                </c:pt>
                <c:pt idx="48">
                  <c:v>34668</c:v>
                </c:pt>
                <c:pt idx="49">
                  <c:v>34689</c:v>
                </c:pt>
                <c:pt idx="50">
                  <c:v>34702</c:v>
                </c:pt>
                <c:pt idx="51">
                  <c:v>34667</c:v>
                </c:pt>
                <c:pt idx="52">
                  <c:v>34706</c:v>
                </c:pt>
                <c:pt idx="53">
                  <c:v>34833</c:v>
                </c:pt>
                <c:pt idx="54">
                  <c:v>34935</c:v>
                </c:pt>
                <c:pt idx="55">
                  <c:v>34921</c:v>
                </c:pt>
                <c:pt idx="56">
                  <c:v>35000</c:v>
                </c:pt>
                <c:pt idx="57">
                  <c:v>35270</c:v>
                </c:pt>
                <c:pt idx="58">
                  <c:v>35352</c:v>
                </c:pt>
                <c:pt idx="59">
                  <c:v>35338</c:v>
                </c:pt>
                <c:pt idx="60">
                  <c:v>35457</c:v>
                </c:pt>
                <c:pt idx="61">
                  <c:v>35229</c:v>
                </c:pt>
                <c:pt idx="62">
                  <c:v>35158</c:v>
                </c:pt>
                <c:pt idx="63">
                  <c:v>35269</c:v>
                </c:pt>
                <c:pt idx="64">
                  <c:v>35241</c:v>
                </c:pt>
                <c:pt idx="65">
                  <c:v>35200</c:v>
                </c:pt>
                <c:pt idx="66">
                  <c:v>35145</c:v>
                </c:pt>
                <c:pt idx="67">
                  <c:v>35010</c:v>
                </c:pt>
                <c:pt idx="68">
                  <c:v>34811</c:v>
                </c:pt>
                <c:pt idx="69">
                  <c:v>34686</c:v>
                </c:pt>
                <c:pt idx="70">
                  <c:v>34824</c:v>
                </c:pt>
                <c:pt idx="71">
                  <c:v>34750</c:v>
                </c:pt>
                <c:pt idx="72">
                  <c:v>34534</c:v>
                </c:pt>
                <c:pt idx="73">
                  <c:v>34553</c:v>
                </c:pt>
                <c:pt idx="74">
                  <c:v>34534</c:v>
                </c:pt>
                <c:pt idx="75">
                  <c:v>34570</c:v>
                </c:pt>
                <c:pt idx="76">
                  <c:v>34550</c:v>
                </c:pt>
                <c:pt idx="77">
                  <c:v>34600</c:v>
                </c:pt>
                <c:pt idx="78">
                  <c:v>34554</c:v>
                </c:pt>
                <c:pt idx="79">
                  <c:v>34259</c:v>
                </c:pt>
                <c:pt idx="80">
                  <c:v>34601</c:v>
                </c:pt>
                <c:pt idx="81">
                  <c:v>34424</c:v>
                </c:pt>
                <c:pt idx="82">
                  <c:v>34427</c:v>
                </c:pt>
                <c:pt idx="83">
                  <c:v>34841</c:v>
                </c:pt>
                <c:pt idx="84">
                  <c:v>35048</c:v>
                </c:pt>
                <c:pt idx="85">
                  <c:v>35165</c:v>
                </c:pt>
                <c:pt idx="86">
                  <c:v>35406</c:v>
                </c:pt>
                <c:pt idx="87">
                  <c:v>35446</c:v>
                </c:pt>
                <c:pt idx="88">
                  <c:v>35567</c:v>
                </c:pt>
                <c:pt idx="89">
                  <c:v>35393</c:v>
                </c:pt>
                <c:pt idx="90">
                  <c:v>35425</c:v>
                </c:pt>
                <c:pt idx="91">
                  <c:v>35674</c:v>
                </c:pt>
                <c:pt idx="92">
                  <c:v>35736</c:v>
                </c:pt>
                <c:pt idx="93">
                  <c:v>35678</c:v>
                </c:pt>
                <c:pt idx="94">
                  <c:v>35652</c:v>
                </c:pt>
                <c:pt idx="95">
                  <c:v>35672</c:v>
                </c:pt>
                <c:pt idx="96">
                  <c:v>35775</c:v>
                </c:pt>
                <c:pt idx="97">
                  <c:v>35915</c:v>
                </c:pt>
                <c:pt idx="98">
                  <c:v>36059</c:v>
                </c:pt>
                <c:pt idx="99">
                  <c:v>36105</c:v>
                </c:pt>
                <c:pt idx="100">
                  <c:v>36133</c:v>
                </c:pt>
                <c:pt idx="101">
                  <c:v>36219</c:v>
                </c:pt>
                <c:pt idx="102">
                  <c:v>36262</c:v>
                </c:pt>
                <c:pt idx="103">
                  <c:v>36069</c:v>
                </c:pt>
                <c:pt idx="104">
                  <c:v>36308</c:v>
                </c:pt>
                <c:pt idx="105">
                  <c:v>36326</c:v>
                </c:pt>
                <c:pt idx="106">
                  <c:v>36461</c:v>
                </c:pt>
                <c:pt idx="107">
                  <c:v>36952</c:v>
                </c:pt>
                <c:pt idx="108">
                  <c:v>37461</c:v>
                </c:pt>
                <c:pt idx="109">
                  <c:v>37846</c:v>
                </c:pt>
                <c:pt idx="110">
                  <c:v>38259</c:v>
                </c:pt>
                <c:pt idx="111">
                  <c:v>37914</c:v>
                </c:pt>
                <c:pt idx="112">
                  <c:v>37861</c:v>
                </c:pt>
                <c:pt idx="113">
                  <c:v>38002</c:v>
                </c:pt>
                <c:pt idx="114">
                  <c:v>38190</c:v>
                </c:pt>
                <c:pt idx="115">
                  <c:v>38315</c:v>
                </c:pt>
                <c:pt idx="116">
                  <c:v>38454</c:v>
                </c:pt>
                <c:pt idx="117">
                  <c:v>38314</c:v>
                </c:pt>
                <c:pt idx="118">
                  <c:v>38426</c:v>
                </c:pt>
                <c:pt idx="119">
                  <c:v>38651</c:v>
                </c:pt>
                <c:pt idx="120">
                  <c:v>38760</c:v>
                </c:pt>
                <c:pt idx="121">
                  <c:v>39003</c:v>
                </c:pt>
                <c:pt idx="122">
                  <c:v>39256</c:v>
                </c:pt>
                <c:pt idx="123">
                  <c:v>39500</c:v>
                </c:pt>
                <c:pt idx="124">
                  <c:v>39759</c:v>
                </c:pt>
                <c:pt idx="125">
                  <c:v>39371</c:v>
                </c:pt>
                <c:pt idx="126">
                  <c:v>39016</c:v>
                </c:pt>
                <c:pt idx="127">
                  <c:v>38912</c:v>
                </c:pt>
                <c:pt idx="128">
                  <c:v>38729</c:v>
                </c:pt>
                <c:pt idx="129">
                  <c:v>38650</c:v>
                </c:pt>
                <c:pt idx="130">
                  <c:v>38735</c:v>
                </c:pt>
                <c:pt idx="131">
                  <c:v>38705</c:v>
                </c:pt>
                <c:pt idx="132">
                  <c:v>38787</c:v>
                </c:pt>
                <c:pt idx="133">
                  <c:v>39071</c:v>
                </c:pt>
                <c:pt idx="134">
                  <c:v>39157</c:v>
                </c:pt>
                <c:pt idx="135">
                  <c:v>39344</c:v>
                </c:pt>
                <c:pt idx="136">
                  <c:v>39400</c:v>
                </c:pt>
                <c:pt idx="137">
                  <c:v>39686</c:v>
                </c:pt>
                <c:pt idx="138">
                  <c:v>39834</c:v>
                </c:pt>
                <c:pt idx="139">
                  <c:v>40114</c:v>
                </c:pt>
                <c:pt idx="140">
                  <c:v>40011</c:v>
                </c:pt>
                <c:pt idx="141">
                  <c:v>39864</c:v>
                </c:pt>
                <c:pt idx="142">
                  <c:v>39732</c:v>
                </c:pt>
                <c:pt idx="143">
                  <c:v>39888</c:v>
                </c:pt>
                <c:pt idx="144">
                  <c:v>39837</c:v>
                </c:pt>
                <c:pt idx="145">
                  <c:v>39862</c:v>
                </c:pt>
                <c:pt idx="146">
                  <c:v>39970</c:v>
                </c:pt>
                <c:pt idx="147">
                  <c:v>39977</c:v>
                </c:pt>
                <c:pt idx="148">
                  <c:v>39917</c:v>
                </c:pt>
                <c:pt idx="149">
                  <c:v>39926</c:v>
                </c:pt>
                <c:pt idx="150">
                  <c:v>40027</c:v>
                </c:pt>
                <c:pt idx="151">
                  <c:v>40158</c:v>
                </c:pt>
                <c:pt idx="152">
                  <c:v>40325</c:v>
                </c:pt>
                <c:pt idx="153">
                  <c:v>40568</c:v>
                </c:pt>
                <c:pt idx="154">
                  <c:v>40675</c:v>
                </c:pt>
                <c:pt idx="155">
                  <c:v>40828</c:v>
                </c:pt>
                <c:pt idx="156">
                  <c:v>40815</c:v>
                </c:pt>
                <c:pt idx="157">
                  <c:v>40975</c:v>
                </c:pt>
                <c:pt idx="158">
                  <c:v>41088</c:v>
                </c:pt>
                <c:pt idx="159">
                  <c:v>40990</c:v>
                </c:pt>
                <c:pt idx="160">
                  <c:v>41005</c:v>
                </c:pt>
                <c:pt idx="161">
                  <c:v>41177</c:v>
                </c:pt>
                <c:pt idx="162">
                  <c:v>41382</c:v>
                </c:pt>
                <c:pt idx="163">
                  <c:v>41804</c:v>
                </c:pt>
                <c:pt idx="164">
                  <c:v>41846</c:v>
                </c:pt>
                <c:pt idx="165">
                  <c:v>41870</c:v>
                </c:pt>
                <c:pt idx="166">
                  <c:v>41815</c:v>
                </c:pt>
                <c:pt idx="167">
                  <c:v>41771</c:v>
                </c:pt>
                <c:pt idx="168">
                  <c:v>41545</c:v>
                </c:pt>
                <c:pt idx="169">
                  <c:v>41224</c:v>
                </c:pt>
                <c:pt idx="170">
                  <c:v>41001</c:v>
                </c:pt>
                <c:pt idx="171">
                  <c:v>41147</c:v>
                </c:pt>
                <c:pt idx="172">
                  <c:v>41407</c:v>
                </c:pt>
                <c:pt idx="173">
                  <c:v>41579</c:v>
                </c:pt>
                <c:pt idx="174">
                  <c:v>41293</c:v>
                </c:pt>
                <c:pt idx="175">
                  <c:v>41332</c:v>
                </c:pt>
                <c:pt idx="176">
                  <c:v>41291</c:v>
                </c:pt>
                <c:pt idx="177">
                  <c:v>41366</c:v>
                </c:pt>
                <c:pt idx="178">
                  <c:v>41278</c:v>
                </c:pt>
                <c:pt idx="179">
                  <c:v>41369</c:v>
                </c:pt>
                <c:pt idx="180">
                  <c:v>41499</c:v>
                </c:pt>
                <c:pt idx="181">
                  <c:v>41589</c:v>
                </c:pt>
                <c:pt idx="182">
                  <c:v>41695</c:v>
                </c:pt>
                <c:pt idx="183">
                  <c:v>41630</c:v>
                </c:pt>
                <c:pt idx="184">
                  <c:v>41644</c:v>
                </c:pt>
                <c:pt idx="185">
                  <c:v>41652</c:v>
                </c:pt>
                <c:pt idx="186">
                  <c:v>41646</c:v>
                </c:pt>
                <c:pt idx="187">
                  <c:v>41534</c:v>
                </c:pt>
                <c:pt idx="188">
                  <c:v>41313</c:v>
                </c:pt>
                <c:pt idx="189">
                  <c:v>41639</c:v>
                </c:pt>
                <c:pt idx="190">
                  <c:v>41573</c:v>
                </c:pt>
                <c:pt idx="191">
                  <c:v>41600</c:v>
                </c:pt>
                <c:pt idx="192">
                  <c:v>41672</c:v>
                </c:pt>
                <c:pt idx="193">
                  <c:v>41608</c:v>
                </c:pt>
                <c:pt idx="194">
                  <c:v>41694</c:v>
                </c:pt>
                <c:pt idx="195">
                  <c:v>41792</c:v>
                </c:pt>
                <c:pt idx="196">
                  <c:v>41690</c:v>
                </c:pt>
                <c:pt idx="197">
                  <c:v>41491</c:v>
                </c:pt>
                <c:pt idx="198">
                  <c:v>41153</c:v>
                </c:pt>
                <c:pt idx="199">
                  <c:v>40722</c:v>
                </c:pt>
                <c:pt idx="200">
                  <c:v>40569</c:v>
                </c:pt>
                <c:pt idx="201">
                  <c:v>40484</c:v>
                </c:pt>
                <c:pt idx="202">
                  <c:v>40449</c:v>
                </c:pt>
                <c:pt idx="203">
                  <c:v>40283</c:v>
                </c:pt>
                <c:pt idx="204">
                  <c:v>40066</c:v>
                </c:pt>
                <c:pt idx="205">
                  <c:v>39953</c:v>
                </c:pt>
                <c:pt idx="206">
                  <c:v>40015</c:v>
                </c:pt>
                <c:pt idx="207">
                  <c:v>40048</c:v>
                </c:pt>
                <c:pt idx="208">
                  <c:v>39840</c:v>
                </c:pt>
                <c:pt idx="209">
                  <c:v>39680</c:v>
                </c:pt>
                <c:pt idx="210">
                  <c:v>39564</c:v>
                </c:pt>
                <c:pt idx="211">
                  <c:v>39842</c:v>
                </c:pt>
                <c:pt idx="212">
                  <c:v>39571</c:v>
                </c:pt>
                <c:pt idx="213">
                  <c:v>38991</c:v>
                </c:pt>
                <c:pt idx="214">
                  <c:v>38764</c:v>
                </c:pt>
                <c:pt idx="215">
                  <c:v>38504</c:v>
                </c:pt>
                <c:pt idx="216">
                  <c:v>38196</c:v>
                </c:pt>
                <c:pt idx="217">
                  <c:v>37862</c:v>
                </c:pt>
                <c:pt idx="218">
                  <c:v>37698</c:v>
                </c:pt>
                <c:pt idx="219">
                  <c:v>37447</c:v>
                </c:pt>
                <c:pt idx="220">
                  <c:v>36704</c:v>
                </c:pt>
                <c:pt idx="221">
                  <c:v>35700</c:v>
                </c:pt>
                <c:pt idx="222">
                  <c:v>35091</c:v>
                </c:pt>
                <c:pt idx="223">
                  <c:v>34611</c:v>
                </c:pt>
                <c:pt idx="224">
                  <c:v>34563</c:v>
                </c:pt>
                <c:pt idx="225">
                  <c:v>34240</c:v>
                </c:pt>
                <c:pt idx="226">
                  <c:v>34565</c:v>
                </c:pt>
                <c:pt idx="227">
                  <c:v>34508</c:v>
                </c:pt>
                <c:pt idx="228">
                  <c:v>33685</c:v>
                </c:pt>
                <c:pt idx="229">
                  <c:v>33237</c:v>
                </c:pt>
                <c:pt idx="230">
                  <c:v>32966</c:v>
                </c:pt>
                <c:pt idx="231">
                  <c:v>32914</c:v>
                </c:pt>
                <c:pt idx="232">
                  <c:v>32530</c:v>
                </c:pt>
                <c:pt idx="233">
                  <c:v>32874</c:v>
                </c:pt>
                <c:pt idx="234">
                  <c:v>32638</c:v>
                </c:pt>
                <c:pt idx="235">
                  <c:v>3209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full_csv_vli (24)'!$K$3:$K$4</c:f>
              <c:strCache>
                <c:ptCount val="1"/>
                <c:pt idx="0">
                  <c:v>Авиатопливо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'full_csv_vli (24)'!$G$5:$G$241</c:f>
              <c:strCache>
                <c:ptCount val="236"/>
                <c:pt idx="0">
                  <c:v>09.01.2014</c:v>
                </c:pt>
                <c:pt idx="1">
                  <c:v>10.01.2014</c:v>
                </c:pt>
                <c:pt idx="2">
                  <c:v>13.01.2014</c:v>
                </c:pt>
                <c:pt idx="3">
                  <c:v>14.01.2014</c:v>
                </c:pt>
                <c:pt idx="4">
                  <c:v>15.01.2014</c:v>
                </c:pt>
                <c:pt idx="5">
                  <c:v>16.01.2014</c:v>
                </c:pt>
                <c:pt idx="6">
                  <c:v>17.01.2014</c:v>
                </c:pt>
                <c:pt idx="7">
                  <c:v>20.01.2014</c:v>
                </c:pt>
                <c:pt idx="8">
                  <c:v>21.01.2014</c:v>
                </c:pt>
                <c:pt idx="9">
                  <c:v>22.01.2014</c:v>
                </c:pt>
                <c:pt idx="10">
                  <c:v>23.01.2014</c:v>
                </c:pt>
                <c:pt idx="11">
                  <c:v>24.01.2014</c:v>
                </c:pt>
                <c:pt idx="12">
                  <c:v>27.01.2014</c:v>
                </c:pt>
                <c:pt idx="13">
                  <c:v>28.01.2014</c:v>
                </c:pt>
                <c:pt idx="14">
                  <c:v>29.01.2014</c:v>
                </c:pt>
                <c:pt idx="15">
                  <c:v>30.01.2014</c:v>
                </c:pt>
                <c:pt idx="16">
                  <c:v>31.01.2014</c:v>
                </c:pt>
                <c:pt idx="17">
                  <c:v>03.02.2014</c:v>
                </c:pt>
                <c:pt idx="18">
                  <c:v>04.02.2014</c:v>
                </c:pt>
                <c:pt idx="19">
                  <c:v>05.02.2014</c:v>
                </c:pt>
                <c:pt idx="20">
                  <c:v>06.02.2014</c:v>
                </c:pt>
                <c:pt idx="21">
                  <c:v>07.02.2014</c:v>
                </c:pt>
                <c:pt idx="22">
                  <c:v>10.02.2014</c:v>
                </c:pt>
                <c:pt idx="23">
                  <c:v>11.02.2014</c:v>
                </c:pt>
                <c:pt idx="24">
                  <c:v>12.02.2014</c:v>
                </c:pt>
                <c:pt idx="25">
                  <c:v>13.02.2014</c:v>
                </c:pt>
                <c:pt idx="26">
                  <c:v>14.02.2014</c:v>
                </c:pt>
                <c:pt idx="27">
                  <c:v>17.02.2014</c:v>
                </c:pt>
                <c:pt idx="28">
                  <c:v>18.02.2014</c:v>
                </c:pt>
                <c:pt idx="29">
                  <c:v>19.02.2014</c:v>
                </c:pt>
                <c:pt idx="30">
                  <c:v>20.02.2014</c:v>
                </c:pt>
                <c:pt idx="31">
                  <c:v>21.02.2014</c:v>
                </c:pt>
                <c:pt idx="32">
                  <c:v>24.02.2014</c:v>
                </c:pt>
                <c:pt idx="33">
                  <c:v>25.02.2014</c:v>
                </c:pt>
                <c:pt idx="34">
                  <c:v>26.02.2014</c:v>
                </c:pt>
                <c:pt idx="35">
                  <c:v>27.02.2014</c:v>
                </c:pt>
                <c:pt idx="36">
                  <c:v>28.02.2014</c:v>
                </c:pt>
                <c:pt idx="37">
                  <c:v>03.03.2014</c:v>
                </c:pt>
                <c:pt idx="38">
                  <c:v>04.03.2014</c:v>
                </c:pt>
                <c:pt idx="39">
                  <c:v>05.03.2014</c:v>
                </c:pt>
                <c:pt idx="40">
                  <c:v>06.03.2014</c:v>
                </c:pt>
                <c:pt idx="41">
                  <c:v>07.03.2014</c:v>
                </c:pt>
                <c:pt idx="42">
                  <c:v>11.03.2014</c:v>
                </c:pt>
                <c:pt idx="43">
                  <c:v>12.03.2014</c:v>
                </c:pt>
                <c:pt idx="44">
                  <c:v>13.03.2014</c:v>
                </c:pt>
                <c:pt idx="45">
                  <c:v>14.03.2014</c:v>
                </c:pt>
                <c:pt idx="46">
                  <c:v>17.03.2014</c:v>
                </c:pt>
                <c:pt idx="47">
                  <c:v>18.03.2014</c:v>
                </c:pt>
                <c:pt idx="48">
                  <c:v>19.03.2014</c:v>
                </c:pt>
                <c:pt idx="49">
                  <c:v>20.03.2014</c:v>
                </c:pt>
                <c:pt idx="50">
                  <c:v>21.03.2014</c:v>
                </c:pt>
                <c:pt idx="51">
                  <c:v>24.03.2014</c:v>
                </c:pt>
                <c:pt idx="52">
                  <c:v>25.03.2014</c:v>
                </c:pt>
                <c:pt idx="53">
                  <c:v>26.03.2014</c:v>
                </c:pt>
                <c:pt idx="54">
                  <c:v>27.03.2014</c:v>
                </c:pt>
                <c:pt idx="55">
                  <c:v>28.03.2014</c:v>
                </c:pt>
                <c:pt idx="56">
                  <c:v>31.03.2014</c:v>
                </c:pt>
                <c:pt idx="57">
                  <c:v>01.04.2014</c:v>
                </c:pt>
                <c:pt idx="58">
                  <c:v>02.04.2014</c:v>
                </c:pt>
                <c:pt idx="59">
                  <c:v>03.04.2014</c:v>
                </c:pt>
                <c:pt idx="60">
                  <c:v>04.04.2014</c:v>
                </c:pt>
                <c:pt idx="61">
                  <c:v>07.04.2014</c:v>
                </c:pt>
                <c:pt idx="62">
                  <c:v>08.04.2014</c:v>
                </c:pt>
                <c:pt idx="63">
                  <c:v>09.04.2014</c:v>
                </c:pt>
                <c:pt idx="64">
                  <c:v>10.04.2014</c:v>
                </c:pt>
                <c:pt idx="65">
                  <c:v>11.04.2014</c:v>
                </c:pt>
                <c:pt idx="66">
                  <c:v>14.04.2014</c:v>
                </c:pt>
                <c:pt idx="67">
                  <c:v>15.04.2014</c:v>
                </c:pt>
                <c:pt idx="68">
                  <c:v>16.04.2014</c:v>
                </c:pt>
                <c:pt idx="69">
                  <c:v>17.04.2014</c:v>
                </c:pt>
                <c:pt idx="70">
                  <c:v>18.04.2014</c:v>
                </c:pt>
                <c:pt idx="71">
                  <c:v>21.04.2014</c:v>
                </c:pt>
                <c:pt idx="72">
                  <c:v>22.04.2014</c:v>
                </c:pt>
                <c:pt idx="73">
                  <c:v>23.04.2014</c:v>
                </c:pt>
                <c:pt idx="74">
                  <c:v>24.04.2014</c:v>
                </c:pt>
                <c:pt idx="75">
                  <c:v>25.04.2014</c:v>
                </c:pt>
                <c:pt idx="76">
                  <c:v>28.04.2014</c:v>
                </c:pt>
                <c:pt idx="77">
                  <c:v>29.04.2014</c:v>
                </c:pt>
                <c:pt idx="78">
                  <c:v>30.04.2014</c:v>
                </c:pt>
                <c:pt idx="79">
                  <c:v>05.05.2014</c:v>
                </c:pt>
                <c:pt idx="80">
                  <c:v>06.05.2014</c:v>
                </c:pt>
                <c:pt idx="81">
                  <c:v>07.05.2014</c:v>
                </c:pt>
                <c:pt idx="82">
                  <c:v>08.05.2014</c:v>
                </c:pt>
                <c:pt idx="83">
                  <c:v>12.05.2014</c:v>
                </c:pt>
                <c:pt idx="84">
                  <c:v>13.05.2014</c:v>
                </c:pt>
                <c:pt idx="85">
                  <c:v>14.05.2014</c:v>
                </c:pt>
                <c:pt idx="86">
                  <c:v>15.05.2014</c:v>
                </c:pt>
                <c:pt idx="87">
                  <c:v>16.05.2014</c:v>
                </c:pt>
                <c:pt idx="88">
                  <c:v>19.05.2014</c:v>
                </c:pt>
                <c:pt idx="89">
                  <c:v>20.05.2014</c:v>
                </c:pt>
                <c:pt idx="90">
                  <c:v>21.05.2014</c:v>
                </c:pt>
                <c:pt idx="91">
                  <c:v>22.05.2014</c:v>
                </c:pt>
                <c:pt idx="92">
                  <c:v>23.05.2014</c:v>
                </c:pt>
                <c:pt idx="93">
                  <c:v>26.05.2014</c:v>
                </c:pt>
                <c:pt idx="94">
                  <c:v>27.05.2014</c:v>
                </c:pt>
                <c:pt idx="95">
                  <c:v>28.05.2014</c:v>
                </c:pt>
                <c:pt idx="96">
                  <c:v>29.05.2014</c:v>
                </c:pt>
                <c:pt idx="97">
                  <c:v>30.05.2014</c:v>
                </c:pt>
                <c:pt idx="98">
                  <c:v>02.06.2014</c:v>
                </c:pt>
                <c:pt idx="99">
                  <c:v>03.06.2014</c:v>
                </c:pt>
                <c:pt idx="100">
                  <c:v>04.06.2014</c:v>
                </c:pt>
                <c:pt idx="101">
                  <c:v>05.06.2014</c:v>
                </c:pt>
                <c:pt idx="102">
                  <c:v>06.06.2014</c:v>
                </c:pt>
                <c:pt idx="103">
                  <c:v>09.06.2014</c:v>
                </c:pt>
                <c:pt idx="104">
                  <c:v>10.06.2014</c:v>
                </c:pt>
                <c:pt idx="105">
                  <c:v>11.06.2014</c:v>
                </c:pt>
                <c:pt idx="106">
                  <c:v>16.06.2014</c:v>
                </c:pt>
                <c:pt idx="107">
                  <c:v>17.06.2014</c:v>
                </c:pt>
                <c:pt idx="108">
                  <c:v>18.06.2014</c:v>
                </c:pt>
                <c:pt idx="109">
                  <c:v>19.06.2014</c:v>
                </c:pt>
                <c:pt idx="110">
                  <c:v>20.06.2014</c:v>
                </c:pt>
                <c:pt idx="111">
                  <c:v>23.06.2014</c:v>
                </c:pt>
                <c:pt idx="112">
                  <c:v>24.06.2014</c:v>
                </c:pt>
                <c:pt idx="113">
                  <c:v>25.06.2014</c:v>
                </c:pt>
                <c:pt idx="114">
                  <c:v>26.06.2014</c:v>
                </c:pt>
                <c:pt idx="115">
                  <c:v>27.06.2014</c:v>
                </c:pt>
                <c:pt idx="116">
                  <c:v>30.06.2014</c:v>
                </c:pt>
                <c:pt idx="117">
                  <c:v>01.07.2014</c:v>
                </c:pt>
                <c:pt idx="118">
                  <c:v>02.07.2014</c:v>
                </c:pt>
                <c:pt idx="119">
                  <c:v>03.07.2014</c:v>
                </c:pt>
                <c:pt idx="120">
                  <c:v>04.07.2014</c:v>
                </c:pt>
                <c:pt idx="121">
                  <c:v>07.07.2014</c:v>
                </c:pt>
                <c:pt idx="122">
                  <c:v>08.07.2014</c:v>
                </c:pt>
                <c:pt idx="123">
                  <c:v>09.07.2014</c:v>
                </c:pt>
                <c:pt idx="124">
                  <c:v>10.07.2014</c:v>
                </c:pt>
                <c:pt idx="125">
                  <c:v>11.07.2014</c:v>
                </c:pt>
                <c:pt idx="126">
                  <c:v>14.07.2014</c:v>
                </c:pt>
                <c:pt idx="127">
                  <c:v>15.07.2014</c:v>
                </c:pt>
                <c:pt idx="128">
                  <c:v>16.07.2014</c:v>
                </c:pt>
                <c:pt idx="129">
                  <c:v>17.07.2014</c:v>
                </c:pt>
                <c:pt idx="130">
                  <c:v>18.07.2014</c:v>
                </c:pt>
                <c:pt idx="131">
                  <c:v>21.07.2014</c:v>
                </c:pt>
                <c:pt idx="132">
                  <c:v>22.07.2014</c:v>
                </c:pt>
                <c:pt idx="133">
                  <c:v>23.07.2014</c:v>
                </c:pt>
                <c:pt idx="134">
                  <c:v>24.07.2014</c:v>
                </c:pt>
                <c:pt idx="135">
                  <c:v>25.07.2014</c:v>
                </c:pt>
                <c:pt idx="136">
                  <c:v>28.07.2014</c:v>
                </c:pt>
                <c:pt idx="137">
                  <c:v>29.07.2014</c:v>
                </c:pt>
                <c:pt idx="138">
                  <c:v>30.07.2014</c:v>
                </c:pt>
                <c:pt idx="139">
                  <c:v>31.07.2014</c:v>
                </c:pt>
                <c:pt idx="140">
                  <c:v>01.08.2014</c:v>
                </c:pt>
                <c:pt idx="141">
                  <c:v>04.08.2014</c:v>
                </c:pt>
                <c:pt idx="142">
                  <c:v>05.08.2014</c:v>
                </c:pt>
                <c:pt idx="143">
                  <c:v>06.08.2014</c:v>
                </c:pt>
                <c:pt idx="144">
                  <c:v>07.08.2014</c:v>
                </c:pt>
                <c:pt idx="145">
                  <c:v>08.08.2014</c:v>
                </c:pt>
                <c:pt idx="146">
                  <c:v>11.08.2014</c:v>
                </c:pt>
                <c:pt idx="147">
                  <c:v>12.08.2014</c:v>
                </c:pt>
                <c:pt idx="148">
                  <c:v>13.08.2014</c:v>
                </c:pt>
                <c:pt idx="149">
                  <c:v>14.08.2014</c:v>
                </c:pt>
                <c:pt idx="150">
                  <c:v>15.08.2014</c:v>
                </c:pt>
                <c:pt idx="151">
                  <c:v>18.08.2014</c:v>
                </c:pt>
                <c:pt idx="152">
                  <c:v>19.08.2014</c:v>
                </c:pt>
                <c:pt idx="153">
                  <c:v>20.08.2014</c:v>
                </c:pt>
                <c:pt idx="154">
                  <c:v>21.08.2014</c:v>
                </c:pt>
                <c:pt idx="155">
                  <c:v>22.08.2014</c:v>
                </c:pt>
                <c:pt idx="156">
                  <c:v>25.08.2014</c:v>
                </c:pt>
                <c:pt idx="157">
                  <c:v>26.08.2014</c:v>
                </c:pt>
                <c:pt idx="158">
                  <c:v>27.08.2014</c:v>
                </c:pt>
                <c:pt idx="159">
                  <c:v>28.08.2014</c:v>
                </c:pt>
                <c:pt idx="160">
                  <c:v>29.08.2014</c:v>
                </c:pt>
                <c:pt idx="161">
                  <c:v>01.09.2014</c:v>
                </c:pt>
                <c:pt idx="162">
                  <c:v>02.09.2014</c:v>
                </c:pt>
                <c:pt idx="163">
                  <c:v>03.09.2014</c:v>
                </c:pt>
                <c:pt idx="164">
                  <c:v>04.09.2014</c:v>
                </c:pt>
                <c:pt idx="165">
                  <c:v>05.09.2014</c:v>
                </c:pt>
                <c:pt idx="166">
                  <c:v>08.09.2014</c:v>
                </c:pt>
                <c:pt idx="167">
                  <c:v>09.09.2014</c:v>
                </c:pt>
                <c:pt idx="168">
                  <c:v>10.09.2014</c:v>
                </c:pt>
                <c:pt idx="169">
                  <c:v>11.09.2014</c:v>
                </c:pt>
                <c:pt idx="170">
                  <c:v>12.09.2014</c:v>
                </c:pt>
                <c:pt idx="171">
                  <c:v>15.09.2014</c:v>
                </c:pt>
                <c:pt idx="172">
                  <c:v>16.09.2014</c:v>
                </c:pt>
                <c:pt idx="173">
                  <c:v>17.09.2014</c:v>
                </c:pt>
                <c:pt idx="174">
                  <c:v>18.09.2014</c:v>
                </c:pt>
                <c:pt idx="175">
                  <c:v>19.09.2014</c:v>
                </c:pt>
                <c:pt idx="176">
                  <c:v>22.09.2014</c:v>
                </c:pt>
                <c:pt idx="177">
                  <c:v>23.09.2014</c:v>
                </c:pt>
                <c:pt idx="178">
                  <c:v>24.09.2014</c:v>
                </c:pt>
                <c:pt idx="179">
                  <c:v>25.09.2014</c:v>
                </c:pt>
                <c:pt idx="180">
                  <c:v>26.09.2014</c:v>
                </c:pt>
                <c:pt idx="181">
                  <c:v>29.09.2014</c:v>
                </c:pt>
                <c:pt idx="182">
                  <c:v>30.09.2014</c:v>
                </c:pt>
                <c:pt idx="183">
                  <c:v>01.10.2014</c:v>
                </c:pt>
                <c:pt idx="184">
                  <c:v>02.10.2014</c:v>
                </c:pt>
                <c:pt idx="185">
                  <c:v>03.10.2014</c:v>
                </c:pt>
                <c:pt idx="186">
                  <c:v>06.10.2014</c:v>
                </c:pt>
                <c:pt idx="187">
                  <c:v>07.10.2014</c:v>
                </c:pt>
                <c:pt idx="188">
                  <c:v>08.10.2014</c:v>
                </c:pt>
                <c:pt idx="189">
                  <c:v>09.10.2014</c:v>
                </c:pt>
                <c:pt idx="190">
                  <c:v>10.10.2014</c:v>
                </c:pt>
                <c:pt idx="191">
                  <c:v>13.10.2014</c:v>
                </c:pt>
                <c:pt idx="192">
                  <c:v>14.10.2014</c:v>
                </c:pt>
                <c:pt idx="193">
                  <c:v>15.10.2014</c:v>
                </c:pt>
                <c:pt idx="194">
                  <c:v>16.10.2014</c:v>
                </c:pt>
                <c:pt idx="195">
                  <c:v>17.10.2014</c:v>
                </c:pt>
                <c:pt idx="196">
                  <c:v>20.10.2014</c:v>
                </c:pt>
                <c:pt idx="197">
                  <c:v>21.10.2014</c:v>
                </c:pt>
                <c:pt idx="198">
                  <c:v>22.10.2014</c:v>
                </c:pt>
                <c:pt idx="199">
                  <c:v>23.10.2014</c:v>
                </c:pt>
                <c:pt idx="200">
                  <c:v>24.10.2014</c:v>
                </c:pt>
                <c:pt idx="201">
                  <c:v>27.10.2014</c:v>
                </c:pt>
                <c:pt idx="202">
                  <c:v>28.10.2014</c:v>
                </c:pt>
                <c:pt idx="203">
                  <c:v>29.10.2014</c:v>
                </c:pt>
                <c:pt idx="204">
                  <c:v>30.10.2014</c:v>
                </c:pt>
                <c:pt idx="205">
                  <c:v>31.10.2014</c:v>
                </c:pt>
                <c:pt idx="206">
                  <c:v>05.11.2014</c:v>
                </c:pt>
                <c:pt idx="207">
                  <c:v>06.11.2014</c:v>
                </c:pt>
                <c:pt idx="208">
                  <c:v>07.11.2014</c:v>
                </c:pt>
                <c:pt idx="209">
                  <c:v>10.11.2014</c:v>
                </c:pt>
                <c:pt idx="210">
                  <c:v>11.11.2014</c:v>
                </c:pt>
                <c:pt idx="211">
                  <c:v>12.11.2014</c:v>
                </c:pt>
                <c:pt idx="212">
                  <c:v>13.11.2014</c:v>
                </c:pt>
                <c:pt idx="213">
                  <c:v>14.11.2014</c:v>
                </c:pt>
                <c:pt idx="214">
                  <c:v>17.11.2014</c:v>
                </c:pt>
                <c:pt idx="215">
                  <c:v>18.11.2014</c:v>
                </c:pt>
                <c:pt idx="216">
                  <c:v>19.11.2014</c:v>
                </c:pt>
                <c:pt idx="217">
                  <c:v>20.11.2014</c:v>
                </c:pt>
                <c:pt idx="218">
                  <c:v>21.11.2014</c:v>
                </c:pt>
                <c:pt idx="219">
                  <c:v>24.11.2014</c:v>
                </c:pt>
                <c:pt idx="220">
                  <c:v>25.11.2014</c:v>
                </c:pt>
                <c:pt idx="221">
                  <c:v>26.11.2014</c:v>
                </c:pt>
                <c:pt idx="222">
                  <c:v>27.11.2014</c:v>
                </c:pt>
                <c:pt idx="223">
                  <c:v>28.11.2014</c:v>
                </c:pt>
                <c:pt idx="224">
                  <c:v>01.12.2014</c:v>
                </c:pt>
                <c:pt idx="225">
                  <c:v>02.12.2014</c:v>
                </c:pt>
                <c:pt idx="226">
                  <c:v>03.12.2014</c:v>
                </c:pt>
                <c:pt idx="227">
                  <c:v>04.12.2014</c:v>
                </c:pt>
                <c:pt idx="228">
                  <c:v>05.12.2014</c:v>
                </c:pt>
                <c:pt idx="229">
                  <c:v>08.12.2014</c:v>
                </c:pt>
                <c:pt idx="230">
                  <c:v>09.12.2014</c:v>
                </c:pt>
                <c:pt idx="231">
                  <c:v>10.12.2014</c:v>
                </c:pt>
                <c:pt idx="232">
                  <c:v>11.12.2014</c:v>
                </c:pt>
                <c:pt idx="233">
                  <c:v>12.12.2014</c:v>
                </c:pt>
                <c:pt idx="234">
                  <c:v>15.12.2014</c:v>
                </c:pt>
                <c:pt idx="235">
                  <c:v>16.12.2014</c:v>
                </c:pt>
              </c:strCache>
            </c:strRef>
          </c:cat>
          <c:val>
            <c:numRef>
              <c:f>'full_csv_vli (24)'!$K$5:$K$241</c:f>
              <c:numCache>
                <c:formatCode>General</c:formatCode>
                <c:ptCount val="236"/>
                <c:pt idx="0">
                  <c:v>34118</c:v>
                </c:pt>
                <c:pt idx="1">
                  <c:v>34148</c:v>
                </c:pt>
                <c:pt idx="2">
                  <c:v>34024</c:v>
                </c:pt>
                <c:pt idx="3">
                  <c:v>33789</c:v>
                </c:pt>
                <c:pt idx="4">
                  <c:v>33303</c:v>
                </c:pt>
                <c:pt idx="5">
                  <c:v>32984</c:v>
                </c:pt>
                <c:pt idx="6">
                  <c:v>33157</c:v>
                </c:pt>
                <c:pt idx="7">
                  <c:v>33369</c:v>
                </c:pt>
                <c:pt idx="8">
                  <c:v>32565</c:v>
                </c:pt>
                <c:pt idx="9">
                  <c:v>32838</c:v>
                </c:pt>
                <c:pt idx="10">
                  <c:v>33284</c:v>
                </c:pt>
                <c:pt idx="11">
                  <c:v>32492</c:v>
                </c:pt>
                <c:pt idx="12">
                  <c:v>32488</c:v>
                </c:pt>
                <c:pt idx="13">
                  <c:v>32409</c:v>
                </c:pt>
                <c:pt idx="14">
                  <c:v>32360</c:v>
                </c:pt>
                <c:pt idx="15">
                  <c:v>32266</c:v>
                </c:pt>
                <c:pt idx="16">
                  <c:v>32566</c:v>
                </c:pt>
                <c:pt idx="17">
                  <c:v>32700</c:v>
                </c:pt>
                <c:pt idx="18">
                  <c:v>32168</c:v>
                </c:pt>
                <c:pt idx="19">
                  <c:v>31657</c:v>
                </c:pt>
                <c:pt idx="20">
                  <c:v>31354</c:v>
                </c:pt>
                <c:pt idx="21">
                  <c:v>31387</c:v>
                </c:pt>
                <c:pt idx="22">
                  <c:v>30112</c:v>
                </c:pt>
                <c:pt idx="23">
                  <c:v>28572</c:v>
                </c:pt>
                <c:pt idx="24">
                  <c:v>30442</c:v>
                </c:pt>
                <c:pt idx="25">
                  <c:v>29553</c:v>
                </c:pt>
                <c:pt idx="26">
                  <c:v>29786</c:v>
                </c:pt>
                <c:pt idx="27">
                  <c:v>29572</c:v>
                </c:pt>
                <c:pt idx="28">
                  <c:v>29881</c:v>
                </c:pt>
                <c:pt idx="29">
                  <c:v>30085</c:v>
                </c:pt>
                <c:pt idx="30">
                  <c:v>30075</c:v>
                </c:pt>
                <c:pt idx="31">
                  <c:v>29967</c:v>
                </c:pt>
                <c:pt idx="32">
                  <c:v>29685</c:v>
                </c:pt>
                <c:pt idx="33">
                  <c:v>28872</c:v>
                </c:pt>
                <c:pt idx="34">
                  <c:v>28572</c:v>
                </c:pt>
                <c:pt idx="35">
                  <c:v>29026</c:v>
                </c:pt>
                <c:pt idx="36">
                  <c:v>28672</c:v>
                </c:pt>
                <c:pt idx="37">
                  <c:v>29173</c:v>
                </c:pt>
                <c:pt idx="38">
                  <c:v>29335</c:v>
                </c:pt>
                <c:pt idx="39">
                  <c:v>29332</c:v>
                </c:pt>
                <c:pt idx="40">
                  <c:v>28384</c:v>
                </c:pt>
                <c:pt idx="41">
                  <c:v>26928</c:v>
                </c:pt>
                <c:pt idx="42">
                  <c:v>26972</c:v>
                </c:pt>
                <c:pt idx="43">
                  <c:v>28175</c:v>
                </c:pt>
                <c:pt idx="44">
                  <c:v>27329</c:v>
                </c:pt>
                <c:pt idx="45">
                  <c:v>27669</c:v>
                </c:pt>
                <c:pt idx="46">
                  <c:v>27572</c:v>
                </c:pt>
                <c:pt idx="47">
                  <c:v>27685</c:v>
                </c:pt>
                <c:pt idx="48">
                  <c:v>28200</c:v>
                </c:pt>
                <c:pt idx="49">
                  <c:v>27852</c:v>
                </c:pt>
                <c:pt idx="50">
                  <c:v>27850</c:v>
                </c:pt>
                <c:pt idx="51">
                  <c:v>27872</c:v>
                </c:pt>
                <c:pt idx="52">
                  <c:v>27872</c:v>
                </c:pt>
                <c:pt idx="53">
                  <c:v>27833</c:v>
                </c:pt>
                <c:pt idx="54">
                  <c:v>27886</c:v>
                </c:pt>
                <c:pt idx="55">
                  <c:v>27840</c:v>
                </c:pt>
                <c:pt idx="56">
                  <c:v>27858</c:v>
                </c:pt>
                <c:pt idx="57">
                  <c:v>28351</c:v>
                </c:pt>
                <c:pt idx="58">
                  <c:v>28337</c:v>
                </c:pt>
                <c:pt idx="59">
                  <c:v>28496</c:v>
                </c:pt>
                <c:pt idx="60">
                  <c:v>28808</c:v>
                </c:pt>
                <c:pt idx="61">
                  <c:v>28955</c:v>
                </c:pt>
                <c:pt idx="62">
                  <c:v>29123</c:v>
                </c:pt>
                <c:pt idx="63">
                  <c:v>28919</c:v>
                </c:pt>
                <c:pt idx="64">
                  <c:v>28709</c:v>
                </c:pt>
                <c:pt idx="65">
                  <c:v>28509</c:v>
                </c:pt>
                <c:pt idx="66">
                  <c:v>29001</c:v>
                </c:pt>
                <c:pt idx="67">
                  <c:v>30521</c:v>
                </c:pt>
                <c:pt idx="68">
                  <c:v>28874</c:v>
                </c:pt>
                <c:pt idx="69">
                  <c:v>29274</c:v>
                </c:pt>
                <c:pt idx="70">
                  <c:v>29213</c:v>
                </c:pt>
                <c:pt idx="71">
                  <c:v>29454</c:v>
                </c:pt>
                <c:pt idx="72">
                  <c:v>29163</c:v>
                </c:pt>
                <c:pt idx="73">
                  <c:v>30457</c:v>
                </c:pt>
                <c:pt idx="74">
                  <c:v>29472</c:v>
                </c:pt>
                <c:pt idx="75">
                  <c:v>29793</c:v>
                </c:pt>
                <c:pt idx="76">
                  <c:v>30146</c:v>
                </c:pt>
                <c:pt idx="77">
                  <c:v>29825</c:v>
                </c:pt>
                <c:pt idx="78">
                  <c:v>29667</c:v>
                </c:pt>
                <c:pt idx="79">
                  <c:v>29931</c:v>
                </c:pt>
                <c:pt idx="80">
                  <c:v>29915</c:v>
                </c:pt>
                <c:pt idx="81">
                  <c:v>29812</c:v>
                </c:pt>
                <c:pt idx="82">
                  <c:v>29770</c:v>
                </c:pt>
                <c:pt idx="83">
                  <c:v>29889</c:v>
                </c:pt>
                <c:pt idx="84">
                  <c:v>29977</c:v>
                </c:pt>
                <c:pt idx="85">
                  <c:v>29957</c:v>
                </c:pt>
                <c:pt idx="86">
                  <c:v>30296</c:v>
                </c:pt>
                <c:pt idx="87">
                  <c:v>30514</c:v>
                </c:pt>
                <c:pt idx="88">
                  <c:v>29798</c:v>
                </c:pt>
                <c:pt idx="89">
                  <c:v>30258</c:v>
                </c:pt>
                <c:pt idx="90">
                  <c:v>29736</c:v>
                </c:pt>
                <c:pt idx="91">
                  <c:v>29717</c:v>
                </c:pt>
                <c:pt idx="92">
                  <c:v>29574</c:v>
                </c:pt>
                <c:pt idx="93">
                  <c:v>29643</c:v>
                </c:pt>
                <c:pt idx="94">
                  <c:v>29109</c:v>
                </c:pt>
                <c:pt idx="95">
                  <c:v>29149</c:v>
                </c:pt>
                <c:pt idx="96">
                  <c:v>28888</c:v>
                </c:pt>
                <c:pt idx="97">
                  <c:v>29050</c:v>
                </c:pt>
                <c:pt idx="98">
                  <c:v>29028</c:v>
                </c:pt>
                <c:pt idx="99">
                  <c:v>29083</c:v>
                </c:pt>
                <c:pt idx="100">
                  <c:v>28817</c:v>
                </c:pt>
                <c:pt idx="101">
                  <c:v>28897</c:v>
                </c:pt>
                <c:pt idx="102">
                  <c:v>29186</c:v>
                </c:pt>
                <c:pt idx="103">
                  <c:v>29343</c:v>
                </c:pt>
                <c:pt idx="104">
                  <c:v>29015</c:v>
                </c:pt>
                <c:pt idx="105">
                  <c:v>28684</c:v>
                </c:pt>
                <c:pt idx="106">
                  <c:v>29079</c:v>
                </c:pt>
                <c:pt idx="107">
                  <c:v>29003</c:v>
                </c:pt>
                <c:pt idx="108">
                  <c:v>29332</c:v>
                </c:pt>
                <c:pt idx="109">
                  <c:v>29544</c:v>
                </c:pt>
                <c:pt idx="110">
                  <c:v>30017</c:v>
                </c:pt>
                <c:pt idx="111">
                  <c:v>30480</c:v>
                </c:pt>
                <c:pt idx="112">
                  <c:v>30974</c:v>
                </c:pt>
                <c:pt idx="113">
                  <c:v>30582</c:v>
                </c:pt>
                <c:pt idx="114">
                  <c:v>30420</c:v>
                </c:pt>
                <c:pt idx="115">
                  <c:v>30503</c:v>
                </c:pt>
                <c:pt idx="116">
                  <c:v>30494</c:v>
                </c:pt>
                <c:pt idx="117">
                  <c:v>31695</c:v>
                </c:pt>
                <c:pt idx="118">
                  <c:v>31906</c:v>
                </c:pt>
                <c:pt idx="119">
                  <c:v>31941</c:v>
                </c:pt>
                <c:pt idx="120">
                  <c:v>31966</c:v>
                </c:pt>
                <c:pt idx="121">
                  <c:v>31869</c:v>
                </c:pt>
                <c:pt idx="122">
                  <c:v>31909</c:v>
                </c:pt>
                <c:pt idx="123">
                  <c:v>31740</c:v>
                </c:pt>
                <c:pt idx="124">
                  <c:v>31616</c:v>
                </c:pt>
                <c:pt idx="125">
                  <c:v>31693</c:v>
                </c:pt>
                <c:pt idx="126">
                  <c:v>31565</c:v>
                </c:pt>
                <c:pt idx="127">
                  <c:v>31450</c:v>
                </c:pt>
                <c:pt idx="128">
                  <c:v>31895</c:v>
                </c:pt>
                <c:pt idx="129">
                  <c:v>31846</c:v>
                </c:pt>
                <c:pt idx="130">
                  <c:v>31885</c:v>
                </c:pt>
                <c:pt idx="131">
                  <c:v>31970</c:v>
                </c:pt>
                <c:pt idx="132">
                  <c:v>31868</c:v>
                </c:pt>
                <c:pt idx="133">
                  <c:v>31854</c:v>
                </c:pt>
                <c:pt idx="134">
                  <c:v>31783</c:v>
                </c:pt>
                <c:pt idx="135">
                  <c:v>31972</c:v>
                </c:pt>
                <c:pt idx="136">
                  <c:v>32029</c:v>
                </c:pt>
                <c:pt idx="137">
                  <c:v>31843</c:v>
                </c:pt>
                <c:pt idx="138">
                  <c:v>31990</c:v>
                </c:pt>
                <c:pt idx="139">
                  <c:v>31965</c:v>
                </c:pt>
                <c:pt idx="140">
                  <c:v>32118</c:v>
                </c:pt>
                <c:pt idx="141">
                  <c:v>32249</c:v>
                </c:pt>
                <c:pt idx="142">
                  <c:v>32341</c:v>
                </c:pt>
                <c:pt idx="143">
                  <c:v>32101</c:v>
                </c:pt>
                <c:pt idx="144">
                  <c:v>32093</c:v>
                </c:pt>
                <c:pt idx="145">
                  <c:v>32092</c:v>
                </c:pt>
                <c:pt idx="146">
                  <c:v>32046</c:v>
                </c:pt>
                <c:pt idx="147">
                  <c:v>32098</c:v>
                </c:pt>
                <c:pt idx="148">
                  <c:v>32645</c:v>
                </c:pt>
                <c:pt idx="149">
                  <c:v>32198</c:v>
                </c:pt>
                <c:pt idx="150">
                  <c:v>32289</c:v>
                </c:pt>
                <c:pt idx="151">
                  <c:v>32819</c:v>
                </c:pt>
                <c:pt idx="152">
                  <c:v>32518</c:v>
                </c:pt>
                <c:pt idx="153">
                  <c:v>33096</c:v>
                </c:pt>
                <c:pt idx="154">
                  <c:v>32599</c:v>
                </c:pt>
                <c:pt idx="155">
                  <c:v>32864</c:v>
                </c:pt>
                <c:pt idx="156">
                  <c:v>32788</c:v>
                </c:pt>
                <c:pt idx="157">
                  <c:v>32732</c:v>
                </c:pt>
                <c:pt idx="158">
                  <c:v>32979</c:v>
                </c:pt>
                <c:pt idx="159">
                  <c:v>32884</c:v>
                </c:pt>
                <c:pt idx="160">
                  <c:v>33080</c:v>
                </c:pt>
                <c:pt idx="161">
                  <c:v>33260</c:v>
                </c:pt>
                <c:pt idx="162">
                  <c:v>33073</c:v>
                </c:pt>
                <c:pt idx="163">
                  <c:v>33157</c:v>
                </c:pt>
                <c:pt idx="164">
                  <c:v>33169</c:v>
                </c:pt>
                <c:pt idx="165">
                  <c:v>33167</c:v>
                </c:pt>
                <c:pt idx="166">
                  <c:v>33148</c:v>
                </c:pt>
                <c:pt idx="167">
                  <c:v>33185</c:v>
                </c:pt>
                <c:pt idx="168">
                  <c:v>33072</c:v>
                </c:pt>
                <c:pt idx="169">
                  <c:v>32889</c:v>
                </c:pt>
                <c:pt idx="170">
                  <c:v>32864</c:v>
                </c:pt>
                <c:pt idx="171">
                  <c:v>32915</c:v>
                </c:pt>
                <c:pt idx="172">
                  <c:v>33222</c:v>
                </c:pt>
                <c:pt idx="173">
                  <c:v>33011</c:v>
                </c:pt>
                <c:pt idx="174">
                  <c:v>33147</c:v>
                </c:pt>
                <c:pt idx="175">
                  <c:v>32851</c:v>
                </c:pt>
                <c:pt idx="176">
                  <c:v>32654</c:v>
                </c:pt>
                <c:pt idx="177">
                  <c:v>32440</c:v>
                </c:pt>
                <c:pt idx="178">
                  <c:v>32350</c:v>
                </c:pt>
                <c:pt idx="179">
                  <c:v>32320</c:v>
                </c:pt>
                <c:pt idx="180">
                  <c:v>32068</c:v>
                </c:pt>
                <c:pt idx="181">
                  <c:v>32970</c:v>
                </c:pt>
                <c:pt idx="182">
                  <c:v>32618</c:v>
                </c:pt>
                <c:pt idx="183">
                  <c:v>32918</c:v>
                </c:pt>
                <c:pt idx="184">
                  <c:v>32947</c:v>
                </c:pt>
                <c:pt idx="185">
                  <c:v>32886</c:v>
                </c:pt>
                <c:pt idx="186">
                  <c:v>32914</c:v>
                </c:pt>
                <c:pt idx="187">
                  <c:v>33321</c:v>
                </c:pt>
                <c:pt idx="188">
                  <c:v>32743</c:v>
                </c:pt>
                <c:pt idx="189">
                  <c:v>32952</c:v>
                </c:pt>
                <c:pt idx="190">
                  <c:v>32874</c:v>
                </c:pt>
                <c:pt idx="191">
                  <c:v>32950</c:v>
                </c:pt>
                <c:pt idx="192">
                  <c:v>32802</c:v>
                </c:pt>
                <c:pt idx="193">
                  <c:v>32691</c:v>
                </c:pt>
                <c:pt idx="194">
                  <c:v>32708</c:v>
                </c:pt>
                <c:pt idx="195">
                  <c:v>32657</c:v>
                </c:pt>
                <c:pt idx="196">
                  <c:v>32571</c:v>
                </c:pt>
                <c:pt idx="197">
                  <c:v>32748</c:v>
                </c:pt>
                <c:pt idx="198">
                  <c:v>32455</c:v>
                </c:pt>
                <c:pt idx="199">
                  <c:v>31984</c:v>
                </c:pt>
                <c:pt idx="200">
                  <c:v>31799</c:v>
                </c:pt>
                <c:pt idx="201">
                  <c:v>32560</c:v>
                </c:pt>
                <c:pt idx="202">
                  <c:v>32385</c:v>
                </c:pt>
                <c:pt idx="203">
                  <c:v>32075</c:v>
                </c:pt>
                <c:pt idx="204">
                  <c:v>31448</c:v>
                </c:pt>
                <c:pt idx="205">
                  <c:v>31182</c:v>
                </c:pt>
                <c:pt idx="206">
                  <c:v>31430</c:v>
                </c:pt>
                <c:pt idx="207">
                  <c:v>31599</c:v>
                </c:pt>
                <c:pt idx="208">
                  <c:v>31689</c:v>
                </c:pt>
                <c:pt idx="209">
                  <c:v>31311</c:v>
                </c:pt>
                <c:pt idx="210">
                  <c:v>31311</c:v>
                </c:pt>
                <c:pt idx="211">
                  <c:v>31540</c:v>
                </c:pt>
                <c:pt idx="212">
                  <c:v>31357</c:v>
                </c:pt>
                <c:pt idx="213">
                  <c:v>31547</c:v>
                </c:pt>
                <c:pt idx="214">
                  <c:v>31916</c:v>
                </c:pt>
                <c:pt idx="215">
                  <c:v>31498</c:v>
                </c:pt>
                <c:pt idx="216">
                  <c:v>31194</c:v>
                </c:pt>
                <c:pt idx="217">
                  <c:v>30865</c:v>
                </c:pt>
                <c:pt idx="218">
                  <c:v>31298</c:v>
                </c:pt>
                <c:pt idx="219">
                  <c:v>30687</c:v>
                </c:pt>
                <c:pt idx="220">
                  <c:v>30672</c:v>
                </c:pt>
                <c:pt idx="221">
                  <c:v>30905</c:v>
                </c:pt>
                <c:pt idx="222">
                  <c:v>31166</c:v>
                </c:pt>
                <c:pt idx="223">
                  <c:v>31304</c:v>
                </c:pt>
                <c:pt idx="224">
                  <c:v>31422</c:v>
                </c:pt>
                <c:pt idx="225">
                  <c:v>31569</c:v>
                </c:pt>
                <c:pt idx="226">
                  <c:v>31534</c:v>
                </c:pt>
                <c:pt idx="227">
                  <c:v>31218</c:v>
                </c:pt>
                <c:pt idx="228">
                  <c:v>31266</c:v>
                </c:pt>
                <c:pt idx="229">
                  <c:v>31100</c:v>
                </c:pt>
                <c:pt idx="230">
                  <c:v>31155</c:v>
                </c:pt>
                <c:pt idx="231">
                  <c:v>30941</c:v>
                </c:pt>
                <c:pt idx="232">
                  <c:v>30750</c:v>
                </c:pt>
                <c:pt idx="233">
                  <c:v>30831</c:v>
                </c:pt>
                <c:pt idx="234">
                  <c:v>30749</c:v>
                </c:pt>
                <c:pt idx="235">
                  <c:v>3036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836544"/>
        <c:axId val="623075904"/>
      </c:lineChart>
      <c:dateAx>
        <c:axId val="633836544"/>
        <c:scaling>
          <c:orientation val="minMax"/>
        </c:scaling>
        <c:delete val="0"/>
        <c:axPos val="b"/>
        <c:minorGridlines/>
        <c:majorTickMark val="out"/>
        <c:minorTickMark val="none"/>
        <c:tickLblPos val="nextTo"/>
        <c:spPr>
          <a:ln>
            <a:prstDash val="dash"/>
          </a:ln>
        </c:spPr>
        <c:txPr>
          <a:bodyPr/>
          <a:lstStyle/>
          <a:p>
            <a:pPr>
              <a:defRPr sz="100">
                <a:latin typeface="Franklin Gothic Medium Cond" panose="020B0606030402020204" pitchFamily="34" charset="0"/>
              </a:defRPr>
            </a:pPr>
            <a:endParaRPr lang="ru-RU"/>
          </a:p>
        </c:txPr>
        <c:crossAx val="623075904"/>
        <c:crosses val="autoZero"/>
        <c:auto val="0"/>
        <c:lblOffset val="100"/>
        <c:baseTimeUnit val="days"/>
        <c:majorUnit val="70"/>
        <c:minorUnit val="70"/>
      </c:dateAx>
      <c:valAx>
        <c:axId val="623075904"/>
        <c:scaling>
          <c:orientation val="minMax"/>
          <c:max val="45000"/>
          <c:min val="25000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prstDash val="dash"/>
          </a:ln>
        </c:spPr>
        <c:txPr>
          <a:bodyPr/>
          <a:lstStyle/>
          <a:p>
            <a:pPr>
              <a:defRPr sz="500">
                <a:latin typeface="Franklin Gothic Medium Cond" panose="020B0606030402020204" pitchFamily="34" charset="0"/>
              </a:defRPr>
            </a:pPr>
            <a:endParaRPr lang="ru-RU"/>
          </a:p>
        </c:txPr>
        <c:crossAx val="633836544"/>
        <c:crosses val="autoZero"/>
        <c:crossBetween val="between"/>
        <c:majorUnit val="5000"/>
      </c:valAx>
      <c:spPr>
        <a:ln>
          <a:prstDash val="dash"/>
        </a:ln>
      </c:spPr>
    </c:plotArea>
    <c:legend>
      <c:legendPos val="b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5.4692698614230761E-2"/>
          <c:y val="6.2699126620339676E-2"/>
          <c:w val="0.33839728994719032"/>
          <c:h val="0.24850491312552878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91642459169018E-2"/>
          <c:y val="0.18278215223097111"/>
          <c:w val="0.87604857350091847"/>
          <c:h val="0.50644741696444562"/>
        </c:manualLayout>
      </c:layout>
      <c:lineChart>
        <c:grouping val="standard"/>
        <c:varyColors val="0"/>
        <c:ser>
          <c:idx val="0"/>
          <c:order val="0"/>
          <c:tx>
            <c:v>Московские АЗС, средняя цена на автомобильное топливо (Регуляр-92) р./литр</c:v>
          </c:tx>
          <c:spPr>
            <a:ln cap="rnd">
              <a:bevel/>
              <a:headEnd type="diamond"/>
              <a:tailEnd type="diamond"/>
            </a:ln>
          </c:spPr>
          <c:marker>
            <c:symbol val="diamond"/>
            <c:size val="5"/>
            <c:spPr>
              <a:ln>
                <a:headEnd type="diamond"/>
                <a:tailEnd type="diamond"/>
              </a:ln>
            </c:spPr>
          </c:marker>
          <c:dLbls>
            <c:dLbl>
              <c:idx val="0"/>
              <c:layout>
                <c:manualLayout>
                  <c:x val="-3.5346086271354347E-2"/>
                  <c:y val="4.47641886490807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346086271354347E-2"/>
                  <c:y val="5.11590727418065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927342919039372E-2"/>
                  <c:y val="-5.4356514788169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1418743352314975E-2"/>
                  <c:y val="4.79616306954436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5527728973755989E-2"/>
                  <c:y val="5.43565147881694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3382414811834731E-2"/>
                  <c:y val="6.07513988808952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1237100649913407E-2"/>
                  <c:y val="6.7146282973620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3382414811834661E-2"/>
                  <c:y val="6.71462829736211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3564057514236375E-2"/>
                  <c:y val="5.1159072741806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16-2013'!$J$5:$J$1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'2016-2013'!$K$5:$K$13</c:f>
              <c:numCache>
                <c:formatCode>General</c:formatCode>
                <c:ptCount val="9"/>
                <c:pt idx="0">
                  <c:v>18.190000000000001</c:v>
                </c:pt>
                <c:pt idx="1">
                  <c:v>19.32</c:v>
                </c:pt>
                <c:pt idx="2">
                  <c:v>22.65</c:v>
                </c:pt>
                <c:pt idx="3">
                  <c:v>20.329999999999998</c:v>
                </c:pt>
                <c:pt idx="4">
                  <c:v>22.89</c:v>
                </c:pt>
                <c:pt idx="5">
                  <c:v>26.09</c:v>
                </c:pt>
                <c:pt idx="6">
                  <c:v>27.62</c:v>
                </c:pt>
                <c:pt idx="7">
                  <c:v>29.44</c:v>
                </c:pt>
                <c:pt idx="8">
                  <c:v>3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552896"/>
        <c:axId val="629060672"/>
      </c:lineChart>
      <c:catAx>
        <c:axId val="633552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629060672"/>
        <c:crosses val="autoZero"/>
        <c:auto val="1"/>
        <c:lblAlgn val="ctr"/>
        <c:lblOffset val="100"/>
        <c:noMultiLvlLbl val="0"/>
      </c:catAx>
      <c:valAx>
        <c:axId val="629060672"/>
        <c:scaling>
          <c:orientation val="minMax"/>
          <c:max val="35"/>
          <c:min val="15"/>
        </c:scaling>
        <c:delete val="0"/>
        <c:axPos val="l"/>
        <c:majorGridlines>
          <c:spPr>
            <a:ln w="12700" cap="flat"/>
          </c:spPr>
        </c:majorGridlines>
        <c:numFmt formatCode="#,##0.00&quot;р.&quot;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633552896"/>
        <c:crosses val="autoZero"/>
        <c:crossBetween val="between"/>
        <c:majorUnit val="4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7.2896631579327228E-2"/>
          <c:y val="0.81035364555334199"/>
          <c:w val="0.85849164983501292"/>
          <c:h val="8.0765265787559687E-2"/>
        </c:manualLayout>
      </c:layout>
      <c:overlay val="0"/>
      <c:txPr>
        <a:bodyPr/>
        <a:lstStyle/>
        <a:p>
          <a:pPr>
            <a:defRPr b="1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948355804058694E-2"/>
          <c:y val="0.15493125056699239"/>
          <c:w val="0.93445355579337874"/>
          <c:h val="0.67750430914222826"/>
        </c:manualLayout>
      </c:layout>
      <c:lineChart>
        <c:grouping val="standard"/>
        <c:varyColors val="0"/>
        <c:ser>
          <c:idx val="0"/>
          <c:order val="0"/>
          <c:tx>
            <c:strRef>
              <c:f>'2006-2014'!$L$4</c:f>
              <c:strCache>
                <c:ptCount val="1"/>
                <c:pt idx="0">
                  <c:v>Изменение цены, %</c:v>
                </c:pt>
              </c:strCache>
            </c:strRef>
          </c:tx>
          <c:dLbls>
            <c:dLbl>
              <c:idx val="0"/>
              <c:layout>
                <c:manualLayout>
                  <c:x val="-8.9300907494104034E-3"/>
                  <c:y val="-5.2171859033280123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5,4</a:t>
                    </a:r>
                    <a:r>
                      <a:rPr lang="ru-RU" b="1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3218235948467048E-2"/>
                  <c:y val="7.3910133630480143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6,2</a:t>
                    </a:r>
                    <a:r>
                      <a:rPr lang="ru-RU" b="1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1" smtClean="0"/>
                      <a:t>17,2</a:t>
                    </a:r>
                    <a:r>
                      <a:rPr lang="ru-RU" b="1" smtClean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1"/>
                      <a:t>-</a:t>
                    </a:r>
                    <a:r>
                      <a:rPr lang="en-US" b="1" smtClean="0"/>
                      <a:t>10,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3934344847759534E-2"/>
                  <c:y val="-6.0867168872160156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2,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857629039811329E-2"/>
                  <c:y val="-4.782420411384013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4,0%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5004254098349128E-2"/>
                  <c:y val="6.521482379160012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5,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679027224823121E-2"/>
                  <c:y val="-8.260544346936020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6,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8576290398113421E-2"/>
                  <c:y val="7.3910133630480143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8,7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06-2014'!$J$5:$J$1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'2006-2014'!$L$5:$L$13</c:f>
              <c:numCache>
                <c:formatCode>0.0</c:formatCode>
                <c:ptCount val="9"/>
                <c:pt idx="0">
                  <c:v>15.418781725888334</c:v>
                </c:pt>
                <c:pt idx="1">
                  <c:v>6.212204507971407</c:v>
                </c:pt>
                <c:pt idx="2">
                  <c:v>17.23602484472049</c:v>
                </c:pt>
                <c:pt idx="3">
                  <c:v>-10.24282560706402</c:v>
                </c:pt>
                <c:pt idx="4">
                  <c:v>12.592228234136757</c:v>
                </c:pt>
                <c:pt idx="5">
                  <c:v>13.979903888160766</c:v>
                </c:pt>
                <c:pt idx="6">
                  <c:v>5.8643158298198585</c:v>
                </c:pt>
                <c:pt idx="7">
                  <c:v>6.58942795076032</c:v>
                </c:pt>
                <c:pt idx="8">
                  <c:v>8.69565217391303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2006-2014'!$M$4</c:f>
              <c:strCache>
                <c:ptCount val="1"/>
                <c:pt idx="0">
                  <c:v>Инфляция в РФ,%</c:v>
                </c:pt>
              </c:strCache>
            </c:strRef>
          </c:tx>
          <c:dLbls>
            <c:dLbl>
              <c:idx val="0"/>
              <c:layout>
                <c:manualLayout>
                  <c:x val="-2.857629039811329E-2"/>
                  <c:y val="6.956247871104005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6,1</a:t>
                    </a:r>
                    <a:r>
                      <a:rPr lang="ru-RU" b="1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0362449179345753E-2"/>
                  <c:y val="-7.8257788549920146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8,8</a:t>
                    </a:r>
                    <a:r>
                      <a:rPr lang="ru-RU" b="1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9292399297405772E-2"/>
                  <c:y val="9.1300753308240182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8,8</a:t>
                    </a:r>
                    <a:r>
                      <a:rPr lang="ru-RU" b="1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3218235948467048E-2"/>
                  <c:y val="-6.086716887216011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3,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2352382787285236E-2"/>
                  <c:y val="6.1831184325163428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11,87</a:t>
                    </a:r>
                    <a:r>
                      <a:rPr lang="ru-RU" b="1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857629039811329E-2"/>
                  <c:y val="6.521482379160012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9,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7506381147523693E-2"/>
                  <c:y val="-9.130075330824018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0,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9646199648702886E-2"/>
                  <c:y val="6.0867168872160038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6,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1432217798584969E-2"/>
                  <c:y val="-6.9562478711040168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11,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2006-2014'!$J$5:$J$13</c:f>
              <c:numCache>
                <c:formatCode>General</c:formatCode>
                <c:ptCount val="9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</c:numCache>
            </c:numRef>
          </c:cat>
          <c:val>
            <c:numRef>
              <c:f>'2006-2014'!$M$5:$M$13</c:f>
              <c:numCache>
                <c:formatCode>0.0</c:formatCode>
                <c:ptCount val="9"/>
                <c:pt idx="0">
                  <c:v>6.1</c:v>
                </c:pt>
                <c:pt idx="1">
                  <c:v>8.7799999999999994</c:v>
                </c:pt>
                <c:pt idx="2">
                  <c:v>8.8000000000000007</c:v>
                </c:pt>
                <c:pt idx="3">
                  <c:v>13.28</c:v>
                </c:pt>
                <c:pt idx="4">
                  <c:v>11.87</c:v>
                </c:pt>
                <c:pt idx="5">
                  <c:v>9</c:v>
                </c:pt>
                <c:pt idx="6">
                  <c:v>10.91</c:v>
                </c:pt>
                <c:pt idx="7">
                  <c:v>6.45</c:v>
                </c:pt>
                <c:pt idx="8">
                  <c:v>11.3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3553408"/>
        <c:axId val="629062400"/>
      </c:lineChart>
      <c:catAx>
        <c:axId val="633553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629062400"/>
        <c:crosses val="autoZero"/>
        <c:auto val="1"/>
        <c:lblAlgn val="ctr"/>
        <c:lblOffset val="100"/>
        <c:noMultiLvlLbl val="0"/>
      </c:catAx>
      <c:valAx>
        <c:axId val="629062400"/>
        <c:scaling>
          <c:orientation val="minMax"/>
        </c:scaling>
        <c:delete val="0"/>
        <c:axPos val="l"/>
        <c:majorGridlines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6335534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7139473954370751"/>
          <c:y val="0.83333761252124616"/>
          <c:w val="0.51783810237681049"/>
          <c:h val="0.16666238747875384"/>
        </c:manualLayout>
      </c:layout>
      <c:overlay val="0"/>
      <c:txPr>
        <a:bodyPr/>
        <a:lstStyle/>
        <a:p>
          <a:pPr>
            <a:defRPr sz="900" b="1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  <c:showDLblsOverMax val="0"/>
  </c:chart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0" u="none" strike="noStrike" baseline="0" dirty="0" smtClean="0">
                <a:solidFill>
                  <a:srgbClr val="666699"/>
                </a:solidFill>
                <a:latin typeface="Calibri"/>
              </a:rPr>
              <a:t>RTSI   </a:t>
            </a:r>
            <a:r>
              <a:rPr lang="ru-RU" sz="1050" b="1" i="0" u="none" strike="noStrike" baseline="0" dirty="0">
                <a:solidFill>
                  <a:srgbClr val="666699"/>
                </a:solidFill>
                <a:latin typeface="Calibri"/>
              </a:rPr>
              <a:t>- 45,7 %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0" u="none" strike="noStrike" baseline="0" dirty="0">
                <a:solidFill>
                  <a:srgbClr val="0066CC"/>
                </a:solidFill>
                <a:latin typeface="Calibri"/>
              </a:rPr>
              <a:t>Бензин </a:t>
            </a:r>
            <a:r>
              <a:rPr lang="ru-RU" sz="1050" b="1" i="0" u="none" strike="noStrike" baseline="0" dirty="0" smtClean="0">
                <a:solidFill>
                  <a:srgbClr val="0066CC"/>
                </a:solidFill>
                <a:latin typeface="Calibri"/>
              </a:rPr>
              <a:t>Регуляр-92    </a:t>
            </a:r>
            <a:r>
              <a:rPr lang="ru-RU" sz="1050" b="1" i="0" u="none" strike="noStrike" baseline="0" dirty="0">
                <a:solidFill>
                  <a:srgbClr val="0066CC"/>
                </a:solidFill>
                <a:latin typeface="Calibri"/>
              </a:rPr>
              <a:t>+ </a:t>
            </a:r>
            <a:r>
              <a:rPr lang="ru-RU" sz="1050" b="1" i="0" u="none" strike="noStrike" baseline="0" dirty="0" smtClean="0">
                <a:solidFill>
                  <a:srgbClr val="0066CC"/>
                </a:solidFill>
                <a:latin typeface="Calibri"/>
              </a:rPr>
              <a:t>12%</a:t>
            </a:r>
            <a:endParaRPr lang="ru-RU" sz="1050" b="1" i="0" u="none" strike="noStrike" baseline="0" dirty="0">
              <a:solidFill>
                <a:srgbClr val="0066CC"/>
              </a:solidFill>
              <a:latin typeface="Calibri"/>
            </a:endParaRP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0" u="none" strike="noStrike" baseline="0" dirty="0">
                <a:solidFill>
                  <a:srgbClr val="FF0000"/>
                </a:solidFill>
                <a:latin typeface="Calibri"/>
              </a:rPr>
              <a:t>Бензин Премиум-95  + 18,8 %</a:t>
            </a:r>
          </a:p>
          <a:p>
            <a:pPr algn="l"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ru-RU" sz="1050" b="1" i="0" u="none" strike="noStrike" baseline="0" dirty="0" smtClean="0">
                <a:solidFill>
                  <a:srgbClr val="008000"/>
                </a:solidFill>
                <a:latin typeface="Calibri"/>
              </a:rPr>
              <a:t>Дизель + </a:t>
            </a:r>
            <a:r>
              <a:rPr lang="ru-RU" sz="1050" b="1" i="0" u="none" strike="noStrike" baseline="0" dirty="0">
                <a:solidFill>
                  <a:srgbClr val="008000"/>
                </a:solidFill>
                <a:latin typeface="Calibri"/>
              </a:rPr>
              <a:t>13,5 %</a:t>
            </a:r>
          </a:p>
        </c:rich>
      </c:tx>
      <c:layout>
        <c:manualLayout>
          <c:xMode val="edge"/>
          <c:yMode val="edge"/>
          <c:x val="0.69801060023380834"/>
          <c:y val="7.1069172905635414E-2"/>
        </c:manualLayout>
      </c:layout>
      <c:overlay val="1"/>
      <c:spPr>
        <a:solidFill>
          <a:schemeClr val="bg1"/>
        </a:solidFill>
      </c:spPr>
    </c:title>
    <c:autoTitleDeleted val="0"/>
    <c:plotArea>
      <c:layout>
        <c:manualLayout>
          <c:layoutTarget val="inner"/>
          <c:xMode val="edge"/>
          <c:yMode val="edge"/>
          <c:x val="9.0334355454760068E-2"/>
          <c:y val="4.1359101541253725E-2"/>
          <c:w val="0.87095210186104721"/>
          <c:h val="0.89094897926265482"/>
        </c:manualLayout>
      </c:layout>
      <c:lineChart>
        <c:grouping val="standard"/>
        <c:varyColors val="0"/>
        <c:ser>
          <c:idx val="0"/>
          <c:order val="0"/>
          <c:tx>
            <c:strRef>
              <c:f>Индексы_Мир_СПбМТСБ!$J$2</c:f>
              <c:strCache>
                <c:ptCount val="1"/>
                <c:pt idx="0">
                  <c:v>Индекс СПбМТСБ-Регуляр-92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Индексы_Мир_СПбМТСБ!$F$707:$F$1462</c:f>
              <c:numCache>
                <c:formatCode>m/d/yyyy</c:formatCode>
                <c:ptCount val="756"/>
                <c:pt idx="0">
                  <c:v>40911</c:v>
                </c:pt>
                <c:pt idx="1">
                  <c:v>40912</c:v>
                </c:pt>
                <c:pt idx="2">
                  <c:v>40913</c:v>
                </c:pt>
                <c:pt idx="3">
                  <c:v>40914</c:v>
                </c:pt>
                <c:pt idx="4">
                  <c:v>40917</c:v>
                </c:pt>
                <c:pt idx="5">
                  <c:v>40918</c:v>
                </c:pt>
                <c:pt idx="6">
                  <c:v>40919</c:v>
                </c:pt>
                <c:pt idx="7">
                  <c:v>40920</c:v>
                </c:pt>
                <c:pt idx="8">
                  <c:v>40921</c:v>
                </c:pt>
                <c:pt idx="9">
                  <c:v>40924</c:v>
                </c:pt>
                <c:pt idx="10">
                  <c:v>40925</c:v>
                </c:pt>
                <c:pt idx="11">
                  <c:v>40926</c:v>
                </c:pt>
                <c:pt idx="12">
                  <c:v>40927</c:v>
                </c:pt>
                <c:pt idx="13">
                  <c:v>40928</c:v>
                </c:pt>
                <c:pt idx="14">
                  <c:v>40931</c:v>
                </c:pt>
                <c:pt idx="15">
                  <c:v>40932</c:v>
                </c:pt>
                <c:pt idx="16">
                  <c:v>40933</c:v>
                </c:pt>
                <c:pt idx="17">
                  <c:v>40934</c:v>
                </c:pt>
                <c:pt idx="18">
                  <c:v>40935</c:v>
                </c:pt>
                <c:pt idx="19">
                  <c:v>40938</c:v>
                </c:pt>
                <c:pt idx="20">
                  <c:v>40939</c:v>
                </c:pt>
                <c:pt idx="21">
                  <c:v>40940</c:v>
                </c:pt>
                <c:pt idx="22">
                  <c:v>40941</c:v>
                </c:pt>
                <c:pt idx="23">
                  <c:v>40942</c:v>
                </c:pt>
                <c:pt idx="24">
                  <c:v>40945</c:v>
                </c:pt>
                <c:pt idx="25">
                  <c:v>40946</c:v>
                </c:pt>
                <c:pt idx="26">
                  <c:v>40947</c:v>
                </c:pt>
                <c:pt idx="27">
                  <c:v>40948</c:v>
                </c:pt>
                <c:pt idx="28">
                  <c:v>40949</c:v>
                </c:pt>
                <c:pt idx="29">
                  <c:v>40952</c:v>
                </c:pt>
                <c:pt idx="30">
                  <c:v>40953</c:v>
                </c:pt>
                <c:pt idx="31">
                  <c:v>40954</c:v>
                </c:pt>
                <c:pt idx="32">
                  <c:v>40955</c:v>
                </c:pt>
                <c:pt idx="33">
                  <c:v>40956</c:v>
                </c:pt>
                <c:pt idx="34">
                  <c:v>40959</c:v>
                </c:pt>
                <c:pt idx="35">
                  <c:v>40960</c:v>
                </c:pt>
                <c:pt idx="36">
                  <c:v>40961</c:v>
                </c:pt>
                <c:pt idx="37">
                  <c:v>40963</c:v>
                </c:pt>
                <c:pt idx="38">
                  <c:v>40966</c:v>
                </c:pt>
                <c:pt idx="39">
                  <c:v>40967</c:v>
                </c:pt>
                <c:pt idx="40">
                  <c:v>40968</c:v>
                </c:pt>
                <c:pt idx="41">
                  <c:v>40969</c:v>
                </c:pt>
                <c:pt idx="42">
                  <c:v>40970</c:v>
                </c:pt>
                <c:pt idx="43">
                  <c:v>40973</c:v>
                </c:pt>
                <c:pt idx="44">
                  <c:v>40974</c:v>
                </c:pt>
                <c:pt idx="45">
                  <c:v>40975</c:v>
                </c:pt>
                <c:pt idx="46">
                  <c:v>40979</c:v>
                </c:pt>
                <c:pt idx="47">
                  <c:v>40980</c:v>
                </c:pt>
                <c:pt idx="48">
                  <c:v>40981</c:v>
                </c:pt>
                <c:pt idx="49">
                  <c:v>40982</c:v>
                </c:pt>
                <c:pt idx="50">
                  <c:v>40983</c:v>
                </c:pt>
                <c:pt idx="51">
                  <c:v>40984</c:v>
                </c:pt>
                <c:pt idx="52">
                  <c:v>40987</c:v>
                </c:pt>
                <c:pt idx="53">
                  <c:v>40988</c:v>
                </c:pt>
                <c:pt idx="54">
                  <c:v>40989</c:v>
                </c:pt>
                <c:pt idx="55">
                  <c:v>40990</c:v>
                </c:pt>
                <c:pt idx="56">
                  <c:v>40991</c:v>
                </c:pt>
                <c:pt idx="57">
                  <c:v>40994</c:v>
                </c:pt>
                <c:pt idx="58">
                  <c:v>40995</c:v>
                </c:pt>
                <c:pt idx="59">
                  <c:v>40996</c:v>
                </c:pt>
                <c:pt idx="60">
                  <c:v>40997</c:v>
                </c:pt>
                <c:pt idx="61">
                  <c:v>40998</c:v>
                </c:pt>
                <c:pt idx="62">
                  <c:v>41001</c:v>
                </c:pt>
                <c:pt idx="63">
                  <c:v>41002</c:v>
                </c:pt>
                <c:pt idx="64">
                  <c:v>41003</c:v>
                </c:pt>
                <c:pt idx="65">
                  <c:v>41004</c:v>
                </c:pt>
                <c:pt idx="66">
                  <c:v>41005</c:v>
                </c:pt>
                <c:pt idx="67">
                  <c:v>41008</c:v>
                </c:pt>
                <c:pt idx="68">
                  <c:v>41009</c:v>
                </c:pt>
                <c:pt idx="69">
                  <c:v>41010</c:v>
                </c:pt>
                <c:pt idx="70">
                  <c:v>41011</c:v>
                </c:pt>
                <c:pt idx="71">
                  <c:v>41012</c:v>
                </c:pt>
                <c:pt idx="72">
                  <c:v>41015</c:v>
                </c:pt>
                <c:pt idx="73">
                  <c:v>41016</c:v>
                </c:pt>
                <c:pt idx="74">
                  <c:v>41017</c:v>
                </c:pt>
                <c:pt idx="75">
                  <c:v>41018</c:v>
                </c:pt>
                <c:pt idx="76">
                  <c:v>41019</c:v>
                </c:pt>
                <c:pt idx="77">
                  <c:v>41022</c:v>
                </c:pt>
                <c:pt idx="78">
                  <c:v>41023</c:v>
                </c:pt>
                <c:pt idx="79">
                  <c:v>41024</c:v>
                </c:pt>
                <c:pt idx="80">
                  <c:v>41025</c:v>
                </c:pt>
                <c:pt idx="81">
                  <c:v>41026</c:v>
                </c:pt>
                <c:pt idx="82">
                  <c:v>41027</c:v>
                </c:pt>
                <c:pt idx="83">
                  <c:v>41031</c:v>
                </c:pt>
                <c:pt idx="84">
                  <c:v>41032</c:v>
                </c:pt>
                <c:pt idx="85">
                  <c:v>41033</c:v>
                </c:pt>
                <c:pt idx="86">
                  <c:v>41034</c:v>
                </c:pt>
                <c:pt idx="87">
                  <c:v>41036</c:v>
                </c:pt>
                <c:pt idx="88">
                  <c:v>41037</c:v>
                </c:pt>
                <c:pt idx="89">
                  <c:v>41039</c:v>
                </c:pt>
                <c:pt idx="90">
                  <c:v>41040</c:v>
                </c:pt>
                <c:pt idx="91">
                  <c:v>41041</c:v>
                </c:pt>
                <c:pt idx="92">
                  <c:v>41043</c:v>
                </c:pt>
                <c:pt idx="93">
                  <c:v>41044</c:v>
                </c:pt>
                <c:pt idx="94">
                  <c:v>41045</c:v>
                </c:pt>
                <c:pt idx="95">
                  <c:v>41046</c:v>
                </c:pt>
                <c:pt idx="96">
                  <c:v>41047</c:v>
                </c:pt>
                <c:pt idx="97">
                  <c:v>41050</c:v>
                </c:pt>
                <c:pt idx="98">
                  <c:v>41051</c:v>
                </c:pt>
                <c:pt idx="99">
                  <c:v>41052</c:v>
                </c:pt>
                <c:pt idx="100">
                  <c:v>41053</c:v>
                </c:pt>
                <c:pt idx="101">
                  <c:v>41054</c:v>
                </c:pt>
                <c:pt idx="102">
                  <c:v>41057</c:v>
                </c:pt>
                <c:pt idx="103">
                  <c:v>41058</c:v>
                </c:pt>
                <c:pt idx="104">
                  <c:v>41059</c:v>
                </c:pt>
                <c:pt idx="105">
                  <c:v>41060</c:v>
                </c:pt>
                <c:pt idx="106">
                  <c:v>41061</c:v>
                </c:pt>
                <c:pt idx="107">
                  <c:v>41064</c:v>
                </c:pt>
                <c:pt idx="108">
                  <c:v>41065</c:v>
                </c:pt>
                <c:pt idx="109">
                  <c:v>41066</c:v>
                </c:pt>
                <c:pt idx="110">
                  <c:v>41067</c:v>
                </c:pt>
                <c:pt idx="111">
                  <c:v>41068</c:v>
                </c:pt>
                <c:pt idx="112">
                  <c:v>41069</c:v>
                </c:pt>
                <c:pt idx="113">
                  <c:v>41073</c:v>
                </c:pt>
                <c:pt idx="114">
                  <c:v>41074</c:v>
                </c:pt>
                <c:pt idx="115">
                  <c:v>41075</c:v>
                </c:pt>
                <c:pt idx="116">
                  <c:v>41078</c:v>
                </c:pt>
                <c:pt idx="117">
                  <c:v>41079</c:v>
                </c:pt>
                <c:pt idx="118">
                  <c:v>41080</c:v>
                </c:pt>
                <c:pt idx="119">
                  <c:v>41081</c:v>
                </c:pt>
                <c:pt idx="120">
                  <c:v>41082</c:v>
                </c:pt>
                <c:pt idx="121">
                  <c:v>41085</c:v>
                </c:pt>
                <c:pt idx="122">
                  <c:v>41086</c:v>
                </c:pt>
                <c:pt idx="123">
                  <c:v>41087</c:v>
                </c:pt>
                <c:pt idx="124">
                  <c:v>41088</c:v>
                </c:pt>
                <c:pt idx="125">
                  <c:v>41089</c:v>
                </c:pt>
                <c:pt idx="126">
                  <c:v>41092</c:v>
                </c:pt>
                <c:pt idx="127">
                  <c:v>41093</c:v>
                </c:pt>
                <c:pt idx="128">
                  <c:v>41094</c:v>
                </c:pt>
                <c:pt idx="129">
                  <c:v>41095</c:v>
                </c:pt>
                <c:pt idx="130">
                  <c:v>41096</c:v>
                </c:pt>
                <c:pt idx="131">
                  <c:v>41099</c:v>
                </c:pt>
                <c:pt idx="132">
                  <c:v>41100</c:v>
                </c:pt>
                <c:pt idx="133">
                  <c:v>41101</c:v>
                </c:pt>
                <c:pt idx="134">
                  <c:v>41102</c:v>
                </c:pt>
                <c:pt idx="135">
                  <c:v>41103</c:v>
                </c:pt>
                <c:pt idx="136">
                  <c:v>41106</c:v>
                </c:pt>
                <c:pt idx="137">
                  <c:v>41107</c:v>
                </c:pt>
                <c:pt idx="138">
                  <c:v>41108</c:v>
                </c:pt>
                <c:pt idx="139">
                  <c:v>41109</c:v>
                </c:pt>
                <c:pt idx="140">
                  <c:v>41110</c:v>
                </c:pt>
                <c:pt idx="141">
                  <c:v>41113</c:v>
                </c:pt>
                <c:pt idx="142">
                  <c:v>41114</c:v>
                </c:pt>
                <c:pt idx="143">
                  <c:v>41115</c:v>
                </c:pt>
                <c:pt idx="144">
                  <c:v>41116</c:v>
                </c:pt>
                <c:pt idx="145">
                  <c:v>41117</c:v>
                </c:pt>
                <c:pt idx="146">
                  <c:v>41120</c:v>
                </c:pt>
                <c:pt idx="147">
                  <c:v>41121</c:v>
                </c:pt>
                <c:pt idx="148">
                  <c:v>41122</c:v>
                </c:pt>
                <c:pt idx="149">
                  <c:v>41123</c:v>
                </c:pt>
                <c:pt idx="150">
                  <c:v>41124</c:v>
                </c:pt>
                <c:pt idx="151">
                  <c:v>41127</c:v>
                </c:pt>
                <c:pt idx="152">
                  <c:v>41128</c:v>
                </c:pt>
                <c:pt idx="153">
                  <c:v>41129</c:v>
                </c:pt>
                <c:pt idx="154">
                  <c:v>41130</c:v>
                </c:pt>
                <c:pt idx="155">
                  <c:v>41131</c:v>
                </c:pt>
                <c:pt idx="156">
                  <c:v>41134</c:v>
                </c:pt>
                <c:pt idx="157">
                  <c:v>41135</c:v>
                </c:pt>
                <c:pt idx="158">
                  <c:v>41136</c:v>
                </c:pt>
                <c:pt idx="159">
                  <c:v>41137</c:v>
                </c:pt>
                <c:pt idx="160">
                  <c:v>41138</c:v>
                </c:pt>
                <c:pt idx="161">
                  <c:v>41141</c:v>
                </c:pt>
                <c:pt idx="162">
                  <c:v>41142</c:v>
                </c:pt>
                <c:pt idx="163">
                  <c:v>41143</c:v>
                </c:pt>
                <c:pt idx="164">
                  <c:v>41144</c:v>
                </c:pt>
                <c:pt idx="165">
                  <c:v>41145</c:v>
                </c:pt>
                <c:pt idx="166">
                  <c:v>41148</c:v>
                </c:pt>
                <c:pt idx="167">
                  <c:v>41149</c:v>
                </c:pt>
                <c:pt idx="168">
                  <c:v>41150</c:v>
                </c:pt>
                <c:pt idx="169">
                  <c:v>41151</c:v>
                </c:pt>
                <c:pt idx="170">
                  <c:v>41152</c:v>
                </c:pt>
                <c:pt idx="171">
                  <c:v>41155</c:v>
                </c:pt>
                <c:pt idx="172">
                  <c:v>41156</c:v>
                </c:pt>
                <c:pt idx="173">
                  <c:v>41157</c:v>
                </c:pt>
                <c:pt idx="174">
                  <c:v>41158</c:v>
                </c:pt>
                <c:pt idx="175">
                  <c:v>41159</c:v>
                </c:pt>
                <c:pt idx="176">
                  <c:v>41162</c:v>
                </c:pt>
                <c:pt idx="177">
                  <c:v>41163</c:v>
                </c:pt>
                <c:pt idx="178">
                  <c:v>41164</c:v>
                </c:pt>
                <c:pt idx="179">
                  <c:v>41165</c:v>
                </c:pt>
                <c:pt idx="180">
                  <c:v>41166</c:v>
                </c:pt>
                <c:pt idx="181">
                  <c:v>41169</c:v>
                </c:pt>
                <c:pt idx="182">
                  <c:v>41170</c:v>
                </c:pt>
                <c:pt idx="183">
                  <c:v>41171</c:v>
                </c:pt>
                <c:pt idx="184">
                  <c:v>41172</c:v>
                </c:pt>
                <c:pt idx="185">
                  <c:v>41173</c:v>
                </c:pt>
                <c:pt idx="186">
                  <c:v>41176</c:v>
                </c:pt>
                <c:pt idx="187">
                  <c:v>41177</c:v>
                </c:pt>
                <c:pt idx="188">
                  <c:v>41178</c:v>
                </c:pt>
                <c:pt idx="189">
                  <c:v>41179</c:v>
                </c:pt>
                <c:pt idx="190">
                  <c:v>41180</c:v>
                </c:pt>
                <c:pt idx="191">
                  <c:v>41183</c:v>
                </c:pt>
                <c:pt idx="192">
                  <c:v>41184</c:v>
                </c:pt>
                <c:pt idx="193">
                  <c:v>41185</c:v>
                </c:pt>
                <c:pt idx="194">
                  <c:v>41186</c:v>
                </c:pt>
                <c:pt idx="195">
                  <c:v>41187</c:v>
                </c:pt>
                <c:pt idx="196">
                  <c:v>41190</c:v>
                </c:pt>
                <c:pt idx="197">
                  <c:v>41191</c:v>
                </c:pt>
                <c:pt idx="198">
                  <c:v>41192</c:v>
                </c:pt>
                <c:pt idx="199">
                  <c:v>41193</c:v>
                </c:pt>
                <c:pt idx="200">
                  <c:v>41194</c:v>
                </c:pt>
                <c:pt idx="201">
                  <c:v>41197</c:v>
                </c:pt>
                <c:pt idx="202">
                  <c:v>41198</c:v>
                </c:pt>
                <c:pt idx="203">
                  <c:v>41199</c:v>
                </c:pt>
                <c:pt idx="204">
                  <c:v>41200</c:v>
                </c:pt>
                <c:pt idx="205">
                  <c:v>41201</c:v>
                </c:pt>
                <c:pt idx="206">
                  <c:v>41204</c:v>
                </c:pt>
                <c:pt idx="207">
                  <c:v>41205</c:v>
                </c:pt>
                <c:pt idx="208">
                  <c:v>41206</c:v>
                </c:pt>
                <c:pt idx="209">
                  <c:v>41207</c:v>
                </c:pt>
                <c:pt idx="210">
                  <c:v>41208</c:v>
                </c:pt>
                <c:pt idx="211">
                  <c:v>41211</c:v>
                </c:pt>
                <c:pt idx="212">
                  <c:v>41212</c:v>
                </c:pt>
                <c:pt idx="213">
                  <c:v>41213</c:v>
                </c:pt>
                <c:pt idx="214">
                  <c:v>41214</c:v>
                </c:pt>
                <c:pt idx="215">
                  <c:v>41215</c:v>
                </c:pt>
                <c:pt idx="216">
                  <c:v>41219</c:v>
                </c:pt>
                <c:pt idx="217">
                  <c:v>41220</c:v>
                </c:pt>
                <c:pt idx="218">
                  <c:v>41221</c:v>
                </c:pt>
                <c:pt idx="219">
                  <c:v>41222</c:v>
                </c:pt>
                <c:pt idx="220">
                  <c:v>41225</c:v>
                </c:pt>
                <c:pt idx="221">
                  <c:v>41226</c:v>
                </c:pt>
                <c:pt idx="222">
                  <c:v>41227</c:v>
                </c:pt>
                <c:pt idx="223">
                  <c:v>41228</c:v>
                </c:pt>
                <c:pt idx="224">
                  <c:v>41229</c:v>
                </c:pt>
                <c:pt idx="225">
                  <c:v>41232</c:v>
                </c:pt>
                <c:pt idx="226">
                  <c:v>41233</c:v>
                </c:pt>
                <c:pt idx="227">
                  <c:v>41234</c:v>
                </c:pt>
                <c:pt idx="228">
                  <c:v>41235</c:v>
                </c:pt>
                <c:pt idx="229">
                  <c:v>41236</c:v>
                </c:pt>
                <c:pt idx="230">
                  <c:v>41239</c:v>
                </c:pt>
                <c:pt idx="231">
                  <c:v>41240</c:v>
                </c:pt>
                <c:pt idx="232">
                  <c:v>41241</c:v>
                </c:pt>
                <c:pt idx="233">
                  <c:v>41242</c:v>
                </c:pt>
                <c:pt idx="234">
                  <c:v>41243</c:v>
                </c:pt>
                <c:pt idx="235">
                  <c:v>41246</c:v>
                </c:pt>
                <c:pt idx="236">
                  <c:v>41247</c:v>
                </c:pt>
                <c:pt idx="237">
                  <c:v>41248</c:v>
                </c:pt>
                <c:pt idx="238">
                  <c:v>41249</c:v>
                </c:pt>
                <c:pt idx="239">
                  <c:v>41250</c:v>
                </c:pt>
                <c:pt idx="240">
                  <c:v>41253</c:v>
                </c:pt>
                <c:pt idx="241">
                  <c:v>41254</c:v>
                </c:pt>
                <c:pt idx="242">
                  <c:v>41255</c:v>
                </c:pt>
                <c:pt idx="243">
                  <c:v>41256</c:v>
                </c:pt>
                <c:pt idx="244">
                  <c:v>41257</c:v>
                </c:pt>
                <c:pt idx="245">
                  <c:v>41260</c:v>
                </c:pt>
                <c:pt idx="246">
                  <c:v>41261</c:v>
                </c:pt>
                <c:pt idx="247">
                  <c:v>41262</c:v>
                </c:pt>
                <c:pt idx="248">
                  <c:v>41263</c:v>
                </c:pt>
                <c:pt idx="249">
                  <c:v>41264</c:v>
                </c:pt>
                <c:pt idx="250">
                  <c:v>41267</c:v>
                </c:pt>
                <c:pt idx="251">
                  <c:v>41268</c:v>
                </c:pt>
                <c:pt idx="252">
                  <c:v>41269</c:v>
                </c:pt>
                <c:pt idx="253">
                  <c:v>41270</c:v>
                </c:pt>
                <c:pt idx="254">
                  <c:v>41271</c:v>
                </c:pt>
                <c:pt idx="255">
                  <c:v>41283</c:v>
                </c:pt>
                <c:pt idx="256">
                  <c:v>41284</c:v>
                </c:pt>
                <c:pt idx="257">
                  <c:v>41285</c:v>
                </c:pt>
                <c:pt idx="258">
                  <c:v>41288</c:v>
                </c:pt>
                <c:pt idx="259">
                  <c:v>41289</c:v>
                </c:pt>
                <c:pt idx="260">
                  <c:v>41290</c:v>
                </c:pt>
                <c:pt idx="261">
                  <c:v>41291</c:v>
                </c:pt>
                <c:pt idx="262">
                  <c:v>41292</c:v>
                </c:pt>
                <c:pt idx="263">
                  <c:v>41295</c:v>
                </c:pt>
                <c:pt idx="264">
                  <c:v>41296</c:v>
                </c:pt>
                <c:pt idx="265">
                  <c:v>41297</c:v>
                </c:pt>
                <c:pt idx="266">
                  <c:v>41298</c:v>
                </c:pt>
                <c:pt idx="267">
                  <c:v>41299</c:v>
                </c:pt>
                <c:pt idx="268">
                  <c:v>41302</c:v>
                </c:pt>
                <c:pt idx="269">
                  <c:v>41303</c:v>
                </c:pt>
                <c:pt idx="270">
                  <c:v>41304</c:v>
                </c:pt>
                <c:pt idx="271">
                  <c:v>41305</c:v>
                </c:pt>
                <c:pt idx="272">
                  <c:v>41306</c:v>
                </c:pt>
                <c:pt idx="273">
                  <c:v>41309</c:v>
                </c:pt>
                <c:pt idx="274">
                  <c:v>41310</c:v>
                </c:pt>
                <c:pt idx="275">
                  <c:v>41311</c:v>
                </c:pt>
                <c:pt idx="276">
                  <c:v>41312</c:v>
                </c:pt>
                <c:pt idx="277">
                  <c:v>41313</c:v>
                </c:pt>
                <c:pt idx="278">
                  <c:v>41316</c:v>
                </c:pt>
                <c:pt idx="279">
                  <c:v>41317</c:v>
                </c:pt>
                <c:pt idx="280">
                  <c:v>41318</c:v>
                </c:pt>
                <c:pt idx="281">
                  <c:v>41319</c:v>
                </c:pt>
                <c:pt idx="282">
                  <c:v>41320</c:v>
                </c:pt>
                <c:pt idx="283">
                  <c:v>41323</c:v>
                </c:pt>
                <c:pt idx="284">
                  <c:v>41324</c:v>
                </c:pt>
                <c:pt idx="285">
                  <c:v>41325</c:v>
                </c:pt>
                <c:pt idx="286">
                  <c:v>41326</c:v>
                </c:pt>
                <c:pt idx="287">
                  <c:v>41327</c:v>
                </c:pt>
                <c:pt idx="288">
                  <c:v>41330</c:v>
                </c:pt>
                <c:pt idx="289">
                  <c:v>41331</c:v>
                </c:pt>
                <c:pt idx="290">
                  <c:v>41332</c:v>
                </c:pt>
                <c:pt idx="291">
                  <c:v>41333</c:v>
                </c:pt>
                <c:pt idx="292">
                  <c:v>41334</c:v>
                </c:pt>
                <c:pt idx="293">
                  <c:v>41337</c:v>
                </c:pt>
                <c:pt idx="294">
                  <c:v>41338</c:v>
                </c:pt>
                <c:pt idx="295">
                  <c:v>41339</c:v>
                </c:pt>
                <c:pt idx="296">
                  <c:v>41340</c:v>
                </c:pt>
                <c:pt idx="297">
                  <c:v>41344</c:v>
                </c:pt>
                <c:pt idx="298">
                  <c:v>41345</c:v>
                </c:pt>
                <c:pt idx="299">
                  <c:v>41346</c:v>
                </c:pt>
                <c:pt idx="300">
                  <c:v>41347</c:v>
                </c:pt>
                <c:pt idx="301">
                  <c:v>41348</c:v>
                </c:pt>
                <c:pt idx="302">
                  <c:v>41351</c:v>
                </c:pt>
                <c:pt idx="303">
                  <c:v>41352</c:v>
                </c:pt>
                <c:pt idx="304">
                  <c:v>41353</c:v>
                </c:pt>
                <c:pt idx="305">
                  <c:v>41354</c:v>
                </c:pt>
                <c:pt idx="306">
                  <c:v>41355</c:v>
                </c:pt>
                <c:pt idx="307">
                  <c:v>41358</c:v>
                </c:pt>
                <c:pt idx="308">
                  <c:v>41359</c:v>
                </c:pt>
                <c:pt idx="309">
                  <c:v>41360</c:v>
                </c:pt>
                <c:pt idx="310">
                  <c:v>41361</c:v>
                </c:pt>
                <c:pt idx="311">
                  <c:v>41362</c:v>
                </c:pt>
                <c:pt idx="312">
                  <c:v>41365</c:v>
                </c:pt>
                <c:pt idx="313">
                  <c:v>41366</c:v>
                </c:pt>
                <c:pt idx="314">
                  <c:v>41367</c:v>
                </c:pt>
                <c:pt idx="315">
                  <c:v>41368</c:v>
                </c:pt>
                <c:pt idx="316">
                  <c:v>41369</c:v>
                </c:pt>
                <c:pt idx="317">
                  <c:v>41372</c:v>
                </c:pt>
                <c:pt idx="318">
                  <c:v>41373</c:v>
                </c:pt>
                <c:pt idx="319">
                  <c:v>41374</c:v>
                </c:pt>
                <c:pt idx="320">
                  <c:v>41375</c:v>
                </c:pt>
                <c:pt idx="321">
                  <c:v>41376</c:v>
                </c:pt>
                <c:pt idx="322">
                  <c:v>41379</c:v>
                </c:pt>
                <c:pt idx="323">
                  <c:v>41380</c:v>
                </c:pt>
                <c:pt idx="324">
                  <c:v>41381</c:v>
                </c:pt>
                <c:pt idx="325">
                  <c:v>41382</c:v>
                </c:pt>
                <c:pt idx="326">
                  <c:v>41383</c:v>
                </c:pt>
                <c:pt idx="327">
                  <c:v>41386</c:v>
                </c:pt>
                <c:pt idx="328">
                  <c:v>41387</c:v>
                </c:pt>
                <c:pt idx="329">
                  <c:v>41388</c:v>
                </c:pt>
                <c:pt idx="330">
                  <c:v>41389</c:v>
                </c:pt>
                <c:pt idx="331">
                  <c:v>41390</c:v>
                </c:pt>
                <c:pt idx="332">
                  <c:v>41393</c:v>
                </c:pt>
                <c:pt idx="333">
                  <c:v>41394</c:v>
                </c:pt>
                <c:pt idx="334">
                  <c:v>41400</c:v>
                </c:pt>
                <c:pt idx="335">
                  <c:v>41401</c:v>
                </c:pt>
                <c:pt idx="336">
                  <c:v>41402</c:v>
                </c:pt>
                <c:pt idx="337">
                  <c:v>41407</c:v>
                </c:pt>
                <c:pt idx="338">
                  <c:v>41408</c:v>
                </c:pt>
                <c:pt idx="339">
                  <c:v>41409</c:v>
                </c:pt>
                <c:pt idx="340">
                  <c:v>41410</c:v>
                </c:pt>
                <c:pt idx="341">
                  <c:v>41411</c:v>
                </c:pt>
                <c:pt idx="342">
                  <c:v>41414</c:v>
                </c:pt>
                <c:pt idx="343">
                  <c:v>41415</c:v>
                </c:pt>
                <c:pt idx="344">
                  <c:v>41416</c:v>
                </c:pt>
                <c:pt idx="345">
                  <c:v>41417</c:v>
                </c:pt>
                <c:pt idx="346">
                  <c:v>41418</c:v>
                </c:pt>
                <c:pt idx="347">
                  <c:v>41421</c:v>
                </c:pt>
                <c:pt idx="348">
                  <c:v>41422</c:v>
                </c:pt>
                <c:pt idx="349">
                  <c:v>41423</c:v>
                </c:pt>
                <c:pt idx="350">
                  <c:v>41424</c:v>
                </c:pt>
                <c:pt idx="351">
                  <c:v>41425</c:v>
                </c:pt>
                <c:pt idx="352">
                  <c:v>41428</c:v>
                </c:pt>
                <c:pt idx="353">
                  <c:v>41429</c:v>
                </c:pt>
                <c:pt idx="354">
                  <c:v>41430</c:v>
                </c:pt>
                <c:pt idx="355">
                  <c:v>41431</c:v>
                </c:pt>
                <c:pt idx="356">
                  <c:v>41432</c:v>
                </c:pt>
                <c:pt idx="357">
                  <c:v>41435</c:v>
                </c:pt>
                <c:pt idx="358">
                  <c:v>41436</c:v>
                </c:pt>
                <c:pt idx="359">
                  <c:v>41438</c:v>
                </c:pt>
                <c:pt idx="360">
                  <c:v>41439</c:v>
                </c:pt>
                <c:pt idx="361">
                  <c:v>41442</c:v>
                </c:pt>
                <c:pt idx="362">
                  <c:v>41443</c:v>
                </c:pt>
                <c:pt idx="363">
                  <c:v>41444</c:v>
                </c:pt>
                <c:pt idx="364">
                  <c:v>41445</c:v>
                </c:pt>
                <c:pt idx="365">
                  <c:v>41446</c:v>
                </c:pt>
                <c:pt idx="366">
                  <c:v>41449</c:v>
                </c:pt>
                <c:pt idx="367">
                  <c:v>41450</c:v>
                </c:pt>
                <c:pt idx="368">
                  <c:v>41451</c:v>
                </c:pt>
                <c:pt idx="369">
                  <c:v>41452</c:v>
                </c:pt>
                <c:pt idx="370">
                  <c:v>41453</c:v>
                </c:pt>
                <c:pt idx="371">
                  <c:v>41456</c:v>
                </c:pt>
                <c:pt idx="372">
                  <c:v>41457</c:v>
                </c:pt>
                <c:pt idx="373">
                  <c:v>41458</c:v>
                </c:pt>
                <c:pt idx="374">
                  <c:v>41459</c:v>
                </c:pt>
                <c:pt idx="375">
                  <c:v>41460</c:v>
                </c:pt>
                <c:pt idx="376">
                  <c:v>41463</c:v>
                </c:pt>
                <c:pt idx="377">
                  <c:v>41464</c:v>
                </c:pt>
                <c:pt idx="378">
                  <c:v>41465</c:v>
                </c:pt>
                <c:pt idx="379">
                  <c:v>41466</c:v>
                </c:pt>
                <c:pt idx="380">
                  <c:v>41467</c:v>
                </c:pt>
                <c:pt idx="381">
                  <c:v>41470</c:v>
                </c:pt>
                <c:pt idx="382">
                  <c:v>41471</c:v>
                </c:pt>
                <c:pt idx="383">
                  <c:v>41472</c:v>
                </c:pt>
                <c:pt idx="384">
                  <c:v>41473</c:v>
                </c:pt>
                <c:pt idx="385">
                  <c:v>41474</c:v>
                </c:pt>
                <c:pt idx="386">
                  <c:v>41477</c:v>
                </c:pt>
                <c:pt idx="387">
                  <c:v>41478</c:v>
                </c:pt>
                <c:pt idx="388">
                  <c:v>41479</c:v>
                </c:pt>
                <c:pt idx="389">
                  <c:v>41480</c:v>
                </c:pt>
                <c:pt idx="390">
                  <c:v>41481</c:v>
                </c:pt>
                <c:pt idx="391">
                  <c:v>41484</c:v>
                </c:pt>
                <c:pt idx="392">
                  <c:v>41485</c:v>
                </c:pt>
                <c:pt idx="393">
                  <c:v>41486</c:v>
                </c:pt>
                <c:pt idx="394">
                  <c:v>41487</c:v>
                </c:pt>
                <c:pt idx="395">
                  <c:v>41488</c:v>
                </c:pt>
                <c:pt idx="396">
                  <c:v>41491</c:v>
                </c:pt>
                <c:pt idx="397">
                  <c:v>41492</c:v>
                </c:pt>
                <c:pt idx="398">
                  <c:v>41493</c:v>
                </c:pt>
                <c:pt idx="399">
                  <c:v>41494</c:v>
                </c:pt>
                <c:pt idx="400">
                  <c:v>41495</c:v>
                </c:pt>
                <c:pt idx="401">
                  <c:v>41498</c:v>
                </c:pt>
                <c:pt idx="402">
                  <c:v>41499</c:v>
                </c:pt>
                <c:pt idx="403">
                  <c:v>41500</c:v>
                </c:pt>
                <c:pt idx="404">
                  <c:v>41501</c:v>
                </c:pt>
                <c:pt idx="405">
                  <c:v>41502</c:v>
                </c:pt>
                <c:pt idx="406">
                  <c:v>41505</c:v>
                </c:pt>
                <c:pt idx="407">
                  <c:v>41506</c:v>
                </c:pt>
                <c:pt idx="408">
                  <c:v>41507</c:v>
                </c:pt>
                <c:pt idx="409">
                  <c:v>41508</c:v>
                </c:pt>
                <c:pt idx="410">
                  <c:v>41509</c:v>
                </c:pt>
                <c:pt idx="411">
                  <c:v>41512</c:v>
                </c:pt>
                <c:pt idx="412">
                  <c:v>41513</c:v>
                </c:pt>
                <c:pt idx="413">
                  <c:v>41514</c:v>
                </c:pt>
                <c:pt idx="414">
                  <c:v>41515</c:v>
                </c:pt>
                <c:pt idx="415">
                  <c:v>41516</c:v>
                </c:pt>
                <c:pt idx="416">
                  <c:v>41519</c:v>
                </c:pt>
                <c:pt idx="417">
                  <c:v>41520</c:v>
                </c:pt>
                <c:pt idx="418">
                  <c:v>41521</c:v>
                </c:pt>
                <c:pt idx="419">
                  <c:v>41522</c:v>
                </c:pt>
                <c:pt idx="420">
                  <c:v>41523</c:v>
                </c:pt>
                <c:pt idx="421">
                  <c:v>41526</c:v>
                </c:pt>
                <c:pt idx="422">
                  <c:v>41527</c:v>
                </c:pt>
                <c:pt idx="423">
                  <c:v>41528</c:v>
                </c:pt>
                <c:pt idx="424">
                  <c:v>41529</c:v>
                </c:pt>
                <c:pt idx="425">
                  <c:v>41530</c:v>
                </c:pt>
                <c:pt idx="426">
                  <c:v>41533</c:v>
                </c:pt>
                <c:pt idx="427">
                  <c:v>41534</c:v>
                </c:pt>
                <c:pt idx="428">
                  <c:v>41535</c:v>
                </c:pt>
                <c:pt idx="429">
                  <c:v>41536</c:v>
                </c:pt>
                <c:pt idx="430">
                  <c:v>41537</c:v>
                </c:pt>
                <c:pt idx="431">
                  <c:v>41540</c:v>
                </c:pt>
                <c:pt idx="432">
                  <c:v>41541</c:v>
                </c:pt>
                <c:pt idx="433">
                  <c:v>41542</c:v>
                </c:pt>
                <c:pt idx="434">
                  <c:v>41543</c:v>
                </c:pt>
                <c:pt idx="435">
                  <c:v>41544</c:v>
                </c:pt>
                <c:pt idx="436">
                  <c:v>41547</c:v>
                </c:pt>
                <c:pt idx="437">
                  <c:v>41548</c:v>
                </c:pt>
                <c:pt idx="438">
                  <c:v>41549</c:v>
                </c:pt>
                <c:pt idx="439">
                  <c:v>41550</c:v>
                </c:pt>
                <c:pt idx="440">
                  <c:v>41551</c:v>
                </c:pt>
                <c:pt idx="441">
                  <c:v>41554</c:v>
                </c:pt>
                <c:pt idx="442">
                  <c:v>41555</c:v>
                </c:pt>
                <c:pt idx="443">
                  <c:v>41556</c:v>
                </c:pt>
                <c:pt idx="444">
                  <c:v>41557</c:v>
                </c:pt>
                <c:pt idx="445">
                  <c:v>41558</c:v>
                </c:pt>
                <c:pt idx="446">
                  <c:v>41561</c:v>
                </c:pt>
                <c:pt idx="447">
                  <c:v>41562</c:v>
                </c:pt>
                <c:pt idx="448">
                  <c:v>41563</c:v>
                </c:pt>
                <c:pt idx="449">
                  <c:v>41564</c:v>
                </c:pt>
                <c:pt idx="450">
                  <c:v>41565</c:v>
                </c:pt>
                <c:pt idx="451">
                  <c:v>41568</c:v>
                </c:pt>
                <c:pt idx="452">
                  <c:v>41569</c:v>
                </c:pt>
                <c:pt idx="453">
                  <c:v>41570</c:v>
                </c:pt>
                <c:pt idx="454">
                  <c:v>41571</c:v>
                </c:pt>
                <c:pt idx="455">
                  <c:v>41572</c:v>
                </c:pt>
                <c:pt idx="456">
                  <c:v>41575</c:v>
                </c:pt>
                <c:pt idx="457">
                  <c:v>41576</c:v>
                </c:pt>
                <c:pt idx="458">
                  <c:v>41577</c:v>
                </c:pt>
                <c:pt idx="459">
                  <c:v>41578</c:v>
                </c:pt>
                <c:pt idx="460">
                  <c:v>41579</c:v>
                </c:pt>
                <c:pt idx="461">
                  <c:v>41583</c:v>
                </c:pt>
                <c:pt idx="462">
                  <c:v>41584</c:v>
                </c:pt>
                <c:pt idx="463">
                  <c:v>41585</c:v>
                </c:pt>
                <c:pt idx="464">
                  <c:v>41586</c:v>
                </c:pt>
                <c:pt idx="465">
                  <c:v>41589</c:v>
                </c:pt>
                <c:pt idx="466">
                  <c:v>41590</c:v>
                </c:pt>
                <c:pt idx="467">
                  <c:v>41591</c:v>
                </c:pt>
                <c:pt idx="468">
                  <c:v>41592</c:v>
                </c:pt>
                <c:pt idx="469">
                  <c:v>41593</c:v>
                </c:pt>
                <c:pt idx="470">
                  <c:v>41596</c:v>
                </c:pt>
                <c:pt idx="471">
                  <c:v>41597</c:v>
                </c:pt>
                <c:pt idx="472">
                  <c:v>41598</c:v>
                </c:pt>
                <c:pt idx="473">
                  <c:v>41599</c:v>
                </c:pt>
                <c:pt idx="474">
                  <c:v>41600</c:v>
                </c:pt>
                <c:pt idx="475">
                  <c:v>41603</c:v>
                </c:pt>
                <c:pt idx="476">
                  <c:v>41604</c:v>
                </c:pt>
                <c:pt idx="477">
                  <c:v>41605</c:v>
                </c:pt>
                <c:pt idx="478">
                  <c:v>41606</c:v>
                </c:pt>
                <c:pt idx="479">
                  <c:v>41607</c:v>
                </c:pt>
                <c:pt idx="480">
                  <c:v>41610</c:v>
                </c:pt>
                <c:pt idx="481">
                  <c:v>41611</c:v>
                </c:pt>
                <c:pt idx="482">
                  <c:v>41612</c:v>
                </c:pt>
                <c:pt idx="483">
                  <c:v>41613</c:v>
                </c:pt>
                <c:pt idx="484">
                  <c:v>41614</c:v>
                </c:pt>
                <c:pt idx="485">
                  <c:v>41617</c:v>
                </c:pt>
                <c:pt idx="486">
                  <c:v>41618</c:v>
                </c:pt>
                <c:pt idx="487">
                  <c:v>41619</c:v>
                </c:pt>
                <c:pt idx="488">
                  <c:v>41620</c:v>
                </c:pt>
                <c:pt idx="489">
                  <c:v>41621</c:v>
                </c:pt>
                <c:pt idx="490">
                  <c:v>41624</c:v>
                </c:pt>
                <c:pt idx="491">
                  <c:v>41625</c:v>
                </c:pt>
                <c:pt idx="492">
                  <c:v>41626</c:v>
                </c:pt>
                <c:pt idx="493">
                  <c:v>41627</c:v>
                </c:pt>
                <c:pt idx="494">
                  <c:v>41628</c:v>
                </c:pt>
                <c:pt idx="495">
                  <c:v>41631</c:v>
                </c:pt>
                <c:pt idx="496">
                  <c:v>41632</c:v>
                </c:pt>
                <c:pt idx="497">
                  <c:v>41633</c:v>
                </c:pt>
                <c:pt idx="498">
                  <c:v>41634</c:v>
                </c:pt>
                <c:pt idx="499">
                  <c:v>41635</c:v>
                </c:pt>
                <c:pt idx="500">
                  <c:v>41648</c:v>
                </c:pt>
                <c:pt idx="501">
                  <c:v>41649</c:v>
                </c:pt>
                <c:pt idx="502">
                  <c:v>41652</c:v>
                </c:pt>
                <c:pt idx="503">
                  <c:v>41653</c:v>
                </c:pt>
                <c:pt idx="504">
                  <c:v>41654</c:v>
                </c:pt>
                <c:pt idx="505">
                  <c:v>41655</c:v>
                </c:pt>
                <c:pt idx="506">
                  <c:v>41656</c:v>
                </c:pt>
                <c:pt idx="507">
                  <c:v>41659</c:v>
                </c:pt>
                <c:pt idx="508">
                  <c:v>41660</c:v>
                </c:pt>
                <c:pt idx="509">
                  <c:v>41661</c:v>
                </c:pt>
                <c:pt idx="510">
                  <c:v>41662</c:v>
                </c:pt>
                <c:pt idx="511">
                  <c:v>41663</c:v>
                </c:pt>
                <c:pt idx="512">
                  <c:v>41666</c:v>
                </c:pt>
                <c:pt idx="513">
                  <c:v>41667</c:v>
                </c:pt>
                <c:pt idx="514">
                  <c:v>41668</c:v>
                </c:pt>
                <c:pt idx="515">
                  <c:v>41669</c:v>
                </c:pt>
                <c:pt idx="516">
                  <c:v>41670</c:v>
                </c:pt>
                <c:pt idx="517">
                  <c:v>41673</c:v>
                </c:pt>
                <c:pt idx="518">
                  <c:v>41674</c:v>
                </c:pt>
                <c:pt idx="519">
                  <c:v>41675</c:v>
                </c:pt>
                <c:pt idx="520">
                  <c:v>41676</c:v>
                </c:pt>
                <c:pt idx="521">
                  <c:v>41677</c:v>
                </c:pt>
                <c:pt idx="522">
                  <c:v>41680</c:v>
                </c:pt>
                <c:pt idx="523">
                  <c:v>41681</c:v>
                </c:pt>
                <c:pt idx="524">
                  <c:v>41682</c:v>
                </c:pt>
                <c:pt idx="525">
                  <c:v>41683</c:v>
                </c:pt>
                <c:pt idx="526">
                  <c:v>41684</c:v>
                </c:pt>
                <c:pt idx="527">
                  <c:v>41687</c:v>
                </c:pt>
                <c:pt idx="528">
                  <c:v>41688</c:v>
                </c:pt>
                <c:pt idx="529">
                  <c:v>41689</c:v>
                </c:pt>
                <c:pt idx="530">
                  <c:v>41690</c:v>
                </c:pt>
                <c:pt idx="531">
                  <c:v>41691</c:v>
                </c:pt>
                <c:pt idx="532">
                  <c:v>41694</c:v>
                </c:pt>
                <c:pt idx="533">
                  <c:v>41695</c:v>
                </c:pt>
                <c:pt idx="534">
                  <c:v>41696</c:v>
                </c:pt>
                <c:pt idx="535">
                  <c:v>41697</c:v>
                </c:pt>
                <c:pt idx="536">
                  <c:v>41698</c:v>
                </c:pt>
                <c:pt idx="537">
                  <c:v>41701</c:v>
                </c:pt>
                <c:pt idx="538">
                  <c:v>41702</c:v>
                </c:pt>
                <c:pt idx="539">
                  <c:v>41703</c:v>
                </c:pt>
                <c:pt idx="540">
                  <c:v>41704</c:v>
                </c:pt>
                <c:pt idx="541">
                  <c:v>41705</c:v>
                </c:pt>
                <c:pt idx="542">
                  <c:v>41709</c:v>
                </c:pt>
                <c:pt idx="543">
                  <c:v>41710</c:v>
                </c:pt>
                <c:pt idx="544">
                  <c:v>41711</c:v>
                </c:pt>
                <c:pt idx="545">
                  <c:v>41712</c:v>
                </c:pt>
                <c:pt idx="546">
                  <c:v>41715</c:v>
                </c:pt>
                <c:pt idx="547">
                  <c:v>41716</c:v>
                </c:pt>
                <c:pt idx="548">
                  <c:v>41717</c:v>
                </c:pt>
                <c:pt idx="549">
                  <c:v>41718</c:v>
                </c:pt>
                <c:pt idx="550">
                  <c:v>41719</c:v>
                </c:pt>
                <c:pt idx="551">
                  <c:v>41722</c:v>
                </c:pt>
                <c:pt idx="552">
                  <c:v>41723</c:v>
                </c:pt>
                <c:pt idx="553">
                  <c:v>41724</c:v>
                </c:pt>
                <c:pt idx="554">
                  <c:v>41725</c:v>
                </c:pt>
                <c:pt idx="555">
                  <c:v>41726</c:v>
                </c:pt>
                <c:pt idx="556">
                  <c:v>41729</c:v>
                </c:pt>
                <c:pt idx="557">
                  <c:v>41730</c:v>
                </c:pt>
                <c:pt idx="558">
                  <c:v>41731</c:v>
                </c:pt>
                <c:pt idx="559">
                  <c:v>41732</c:v>
                </c:pt>
                <c:pt idx="560">
                  <c:v>41733</c:v>
                </c:pt>
                <c:pt idx="561">
                  <c:v>41736</c:v>
                </c:pt>
                <c:pt idx="562">
                  <c:v>41737</c:v>
                </c:pt>
                <c:pt idx="563">
                  <c:v>41738</c:v>
                </c:pt>
                <c:pt idx="564">
                  <c:v>41739</c:v>
                </c:pt>
                <c:pt idx="565">
                  <c:v>41740</c:v>
                </c:pt>
                <c:pt idx="566">
                  <c:v>41743</c:v>
                </c:pt>
                <c:pt idx="567">
                  <c:v>41744</c:v>
                </c:pt>
                <c:pt idx="568">
                  <c:v>41745</c:v>
                </c:pt>
                <c:pt idx="569">
                  <c:v>41746</c:v>
                </c:pt>
                <c:pt idx="570">
                  <c:v>41747</c:v>
                </c:pt>
                <c:pt idx="571">
                  <c:v>41750</c:v>
                </c:pt>
                <c:pt idx="572">
                  <c:v>41751</c:v>
                </c:pt>
                <c:pt idx="573">
                  <c:v>41752</c:v>
                </c:pt>
                <c:pt idx="574">
                  <c:v>41753</c:v>
                </c:pt>
                <c:pt idx="575">
                  <c:v>41754</c:v>
                </c:pt>
                <c:pt idx="576">
                  <c:v>41757</c:v>
                </c:pt>
                <c:pt idx="577">
                  <c:v>41758</c:v>
                </c:pt>
                <c:pt idx="578">
                  <c:v>41759</c:v>
                </c:pt>
                <c:pt idx="579">
                  <c:v>41764</c:v>
                </c:pt>
                <c:pt idx="580">
                  <c:v>41765</c:v>
                </c:pt>
                <c:pt idx="581">
                  <c:v>41766</c:v>
                </c:pt>
                <c:pt idx="582">
                  <c:v>41767</c:v>
                </c:pt>
                <c:pt idx="583">
                  <c:v>41771</c:v>
                </c:pt>
                <c:pt idx="584">
                  <c:v>41772</c:v>
                </c:pt>
                <c:pt idx="585">
                  <c:v>41773</c:v>
                </c:pt>
                <c:pt idx="586">
                  <c:v>41774</c:v>
                </c:pt>
                <c:pt idx="587">
                  <c:v>41775</c:v>
                </c:pt>
                <c:pt idx="588">
                  <c:v>41778</c:v>
                </c:pt>
                <c:pt idx="589">
                  <c:v>41779</c:v>
                </c:pt>
                <c:pt idx="590">
                  <c:v>41780</c:v>
                </c:pt>
                <c:pt idx="591">
                  <c:v>41781</c:v>
                </c:pt>
                <c:pt idx="592">
                  <c:v>41782</c:v>
                </c:pt>
                <c:pt idx="593">
                  <c:v>41785</c:v>
                </c:pt>
                <c:pt idx="594">
                  <c:v>41786</c:v>
                </c:pt>
                <c:pt idx="595">
                  <c:v>41787</c:v>
                </c:pt>
                <c:pt idx="596">
                  <c:v>41788</c:v>
                </c:pt>
                <c:pt idx="597">
                  <c:v>41789</c:v>
                </c:pt>
                <c:pt idx="598">
                  <c:v>41792</c:v>
                </c:pt>
                <c:pt idx="599">
                  <c:v>41793</c:v>
                </c:pt>
                <c:pt idx="600">
                  <c:v>41794</c:v>
                </c:pt>
                <c:pt idx="601">
                  <c:v>41795</c:v>
                </c:pt>
                <c:pt idx="602">
                  <c:v>41796</c:v>
                </c:pt>
                <c:pt idx="603">
                  <c:v>41799</c:v>
                </c:pt>
                <c:pt idx="604">
                  <c:v>41800</c:v>
                </c:pt>
                <c:pt idx="605">
                  <c:v>41801</c:v>
                </c:pt>
                <c:pt idx="606">
                  <c:v>41806</c:v>
                </c:pt>
                <c:pt idx="607">
                  <c:v>41807</c:v>
                </c:pt>
                <c:pt idx="608">
                  <c:v>41808</c:v>
                </c:pt>
                <c:pt idx="609">
                  <c:v>41809</c:v>
                </c:pt>
                <c:pt idx="610">
                  <c:v>41810</c:v>
                </c:pt>
                <c:pt idx="611">
                  <c:v>41813</c:v>
                </c:pt>
                <c:pt idx="612">
                  <c:v>41814</c:v>
                </c:pt>
                <c:pt idx="613">
                  <c:v>41815</c:v>
                </c:pt>
                <c:pt idx="614">
                  <c:v>41816</c:v>
                </c:pt>
                <c:pt idx="615">
                  <c:v>41817</c:v>
                </c:pt>
                <c:pt idx="616">
                  <c:v>41820</c:v>
                </c:pt>
                <c:pt idx="617">
                  <c:v>41821</c:v>
                </c:pt>
                <c:pt idx="618">
                  <c:v>41822</c:v>
                </c:pt>
                <c:pt idx="619">
                  <c:v>41823</c:v>
                </c:pt>
                <c:pt idx="620">
                  <c:v>41824</c:v>
                </c:pt>
                <c:pt idx="621">
                  <c:v>41827</c:v>
                </c:pt>
                <c:pt idx="622">
                  <c:v>41828</c:v>
                </c:pt>
                <c:pt idx="623">
                  <c:v>41829</c:v>
                </c:pt>
                <c:pt idx="624">
                  <c:v>41830</c:v>
                </c:pt>
                <c:pt idx="625">
                  <c:v>41831</c:v>
                </c:pt>
                <c:pt idx="626">
                  <c:v>41834</c:v>
                </c:pt>
                <c:pt idx="627">
                  <c:v>41835</c:v>
                </c:pt>
                <c:pt idx="628">
                  <c:v>41836</c:v>
                </c:pt>
                <c:pt idx="629">
                  <c:v>41837</c:v>
                </c:pt>
                <c:pt idx="630">
                  <c:v>41838</c:v>
                </c:pt>
                <c:pt idx="631">
                  <c:v>41841</c:v>
                </c:pt>
                <c:pt idx="632">
                  <c:v>41842</c:v>
                </c:pt>
                <c:pt idx="633">
                  <c:v>41843</c:v>
                </c:pt>
                <c:pt idx="634">
                  <c:v>41844</c:v>
                </c:pt>
                <c:pt idx="635">
                  <c:v>41845</c:v>
                </c:pt>
                <c:pt idx="636">
                  <c:v>41848</c:v>
                </c:pt>
                <c:pt idx="637">
                  <c:v>41849</c:v>
                </c:pt>
                <c:pt idx="638">
                  <c:v>41850</c:v>
                </c:pt>
                <c:pt idx="639">
                  <c:v>41851</c:v>
                </c:pt>
                <c:pt idx="640">
                  <c:v>41852</c:v>
                </c:pt>
                <c:pt idx="641">
                  <c:v>41855</c:v>
                </c:pt>
                <c:pt idx="642">
                  <c:v>41856</c:v>
                </c:pt>
                <c:pt idx="643">
                  <c:v>41857</c:v>
                </c:pt>
                <c:pt idx="644">
                  <c:v>41858</c:v>
                </c:pt>
                <c:pt idx="645">
                  <c:v>41859</c:v>
                </c:pt>
                <c:pt idx="646">
                  <c:v>41862</c:v>
                </c:pt>
                <c:pt idx="647">
                  <c:v>41863</c:v>
                </c:pt>
                <c:pt idx="648">
                  <c:v>41864</c:v>
                </c:pt>
                <c:pt idx="649">
                  <c:v>41865</c:v>
                </c:pt>
                <c:pt idx="650">
                  <c:v>41866</c:v>
                </c:pt>
                <c:pt idx="651">
                  <c:v>41869</c:v>
                </c:pt>
                <c:pt idx="652">
                  <c:v>41870</c:v>
                </c:pt>
                <c:pt idx="653">
                  <c:v>41871</c:v>
                </c:pt>
                <c:pt idx="654">
                  <c:v>41872</c:v>
                </c:pt>
                <c:pt idx="655">
                  <c:v>41873</c:v>
                </c:pt>
                <c:pt idx="656">
                  <c:v>41876</c:v>
                </c:pt>
                <c:pt idx="657">
                  <c:v>41877</c:v>
                </c:pt>
                <c:pt idx="658">
                  <c:v>41878</c:v>
                </c:pt>
                <c:pt idx="659">
                  <c:v>41879</c:v>
                </c:pt>
                <c:pt idx="660">
                  <c:v>41880</c:v>
                </c:pt>
                <c:pt idx="661">
                  <c:v>41883</c:v>
                </c:pt>
                <c:pt idx="662">
                  <c:v>41884</c:v>
                </c:pt>
                <c:pt idx="663">
                  <c:v>41885</c:v>
                </c:pt>
                <c:pt idx="664">
                  <c:v>41886</c:v>
                </c:pt>
                <c:pt idx="665">
                  <c:v>41887</c:v>
                </c:pt>
                <c:pt idx="666">
                  <c:v>41890</c:v>
                </c:pt>
                <c:pt idx="667">
                  <c:v>41891</c:v>
                </c:pt>
                <c:pt idx="668">
                  <c:v>41892</c:v>
                </c:pt>
                <c:pt idx="669">
                  <c:v>41893</c:v>
                </c:pt>
                <c:pt idx="670">
                  <c:v>41894</c:v>
                </c:pt>
                <c:pt idx="671">
                  <c:v>41897</c:v>
                </c:pt>
                <c:pt idx="672">
                  <c:v>41898</c:v>
                </c:pt>
                <c:pt idx="673">
                  <c:v>41899</c:v>
                </c:pt>
                <c:pt idx="674">
                  <c:v>41900</c:v>
                </c:pt>
                <c:pt idx="675">
                  <c:v>41901</c:v>
                </c:pt>
                <c:pt idx="676">
                  <c:v>41904</c:v>
                </c:pt>
                <c:pt idx="677">
                  <c:v>41905</c:v>
                </c:pt>
                <c:pt idx="678">
                  <c:v>41906</c:v>
                </c:pt>
                <c:pt idx="679">
                  <c:v>41907</c:v>
                </c:pt>
                <c:pt idx="680">
                  <c:v>41908</c:v>
                </c:pt>
                <c:pt idx="681">
                  <c:v>41911</c:v>
                </c:pt>
                <c:pt idx="682">
                  <c:v>41912</c:v>
                </c:pt>
                <c:pt idx="683">
                  <c:v>41913</c:v>
                </c:pt>
                <c:pt idx="684">
                  <c:v>41914</c:v>
                </c:pt>
                <c:pt idx="685">
                  <c:v>41915</c:v>
                </c:pt>
                <c:pt idx="686">
                  <c:v>41918</c:v>
                </c:pt>
                <c:pt idx="687">
                  <c:v>41919</c:v>
                </c:pt>
                <c:pt idx="688">
                  <c:v>41920</c:v>
                </c:pt>
                <c:pt idx="689">
                  <c:v>41921</c:v>
                </c:pt>
                <c:pt idx="690">
                  <c:v>41922</c:v>
                </c:pt>
                <c:pt idx="691">
                  <c:v>41925</c:v>
                </c:pt>
                <c:pt idx="692">
                  <c:v>41926</c:v>
                </c:pt>
                <c:pt idx="693">
                  <c:v>41927</c:v>
                </c:pt>
                <c:pt idx="694">
                  <c:v>41928</c:v>
                </c:pt>
                <c:pt idx="695">
                  <c:v>41929</c:v>
                </c:pt>
                <c:pt idx="696">
                  <c:v>41932</c:v>
                </c:pt>
                <c:pt idx="697">
                  <c:v>41933</c:v>
                </c:pt>
                <c:pt idx="698">
                  <c:v>41934</c:v>
                </c:pt>
                <c:pt idx="699">
                  <c:v>41935</c:v>
                </c:pt>
                <c:pt idx="700">
                  <c:v>41936</c:v>
                </c:pt>
                <c:pt idx="701">
                  <c:v>41939</c:v>
                </c:pt>
                <c:pt idx="702">
                  <c:v>41940</c:v>
                </c:pt>
                <c:pt idx="703">
                  <c:v>41941</c:v>
                </c:pt>
                <c:pt idx="704">
                  <c:v>41942</c:v>
                </c:pt>
                <c:pt idx="705">
                  <c:v>41943</c:v>
                </c:pt>
                <c:pt idx="706">
                  <c:v>41948</c:v>
                </c:pt>
                <c:pt idx="707">
                  <c:v>41949</c:v>
                </c:pt>
                <c:pt idx="708">
                  <c:v>41950</c:v>
                </c:pt>
                <c:pt idx="709">
                  <c:v>41953</c:v>
                </c:pt>
                <c:pt idx="710">
                  <c:v>41954</c:v>
                </c:pt>
                <c:pt idx="711">
                  <c:v>41955</c:v>
                </c:pt>
                <c:pt idx="712">
                  <c:v>41956</c:v>
                </c:pt>
                <c:pt idx="713">
                  <c:v>41957</c:v>
                </c:pt>
                <c:pt idx="714">
                  <c:v>41960</c:v>
                </c:pt>
                <c:pt idx="715">
                  <c:v>41961</c:v>
                </c:pt>
                <c:pt idx="716">
                  <c:v>41962</c:v>
                </c:pt>
                <c:pt idx="717">
                  <c:v>41963</c:v>
                </c:pt>
                <c:pt idx="718">
                  <c:v>41964</c:v>
                </c:pt>
                <c:pt idx="719">
                  <c:v>41967</c:v>
                </c:pt>
                <c:pt idx="720">
                  <c:v>41968</c:v>
                </c:pt>
                <c:pt idx="721">
                  <c:v>41969</c:v>
                </c:pt>
                <c:pt idx="722">
                  <c:v>41970</c:v>
                </c:pt>
                <c:pt idx="723">
                  <c:v>41971</c:v>
                </c:pt>
                <c:pt idx="724">
                  <c:v>41974</c:v>
                </c:pt>
                <c:pt idx="725">
                  <c:v>41975</c:v>
                </c:pt>
                <c:pt idx="726">
                  <c:v>41976</c:v>
                </c:pt>
                <c:pt idx="727">
                  <c:v>41977</c:v>
                </c:pt>
                <c:pt idx="728">
                  <c:v>41978</c:v>
                </c:pt>
                <c:pt idx="729">
                  <c:v>41981</c:v>
                </c:pt>
                <c:pt idx="730">
                  <c:v>41982</c:v>
                </c:pt>
                <c:pt idx="731">
                  <c:v>41983</c:v>
                </c:pt>
                <c:pt idx="732">
                  <c:v>41984</c:v>
                </c:pt>
                <c:pt idx="733">
                  <c:v>41985</c:v>
                </c:pt>
                <c:pt idx="734">
                  <c:v>41988</c:v>
                </c:pt>
                <c:pt idx="735">
                  <c:v>41989</c:v>
                </c:pt>
                <c:pt idx="736">
                  <c:v>41990</c:v>
                </c:pt>
                <c:pt idx="737">
                  <c:v>41991</c:v>
                </c:pt>
                <c:pt idx="738">
                  <c:v>41992</c:v>
                </c:pt>
                <c:pt idx="739">
                  <c:v>41995</c:v>
                </c:pt>
                <c:pt idx="740">
                  <c:v>41996</c:v>
                </c:pt>
                <c:pt idx="741">
                  <c:v>41997</c:v>
                </c:pt>
                <c:pt idx="742">
                  <c:v>41998</c:v>
                </c:pt>
                <c:pt idx="743">
                  <c:v>41999</c:v>
                </c:pt>
                <c:pt idx="744">
                  <c:v>42016</c:v>
                </c:pt>
                <c:pt idx="745">
                  <c:v>42017</c:v>
                </c:pt>
                <c:pt idx="746">
                  <c:v>42018</c:v>
                </c:pt>
                <c:pt idx="747">
                  <c:v>42019</c:v>
                </c:pt>
                <c:pt idx="748">
                  <c:v>42020</c:v>
                </c:pt>
                <c:pt idx="749">
                  <c:v>42023</c:v>
                </c:pt>
                <c:pt idx="750">
                  <c:v>42024</c:v>
                </c:pt>
                <c:pt idx="751">
                  <c:v>42025</c:v>
                </c:pt>
                <c:pt idx="752">
                  <c:v>42026</c:v>
                </c:pt>
                <c:pt idx="753">
                  <c:v>42027</c:v>
                </c:pt>
                <c:pt idx="754">
                  <c:v>42030</c:v>
                </c:pt>
                <c:pt idx="755">
                  <c:v>42031</c:v>
                </c:pt>
              </c:numCache>
            </c:numRef>
          </c:cat>
          <c:val>
            <c:numRef>
              <c:f>Индексы_Мир_СПбМТСБ!$J$707:$J$1450</c:f>
              <c:numCache>
                <c:formatCode>General</c:formatCode>
                <c:ptCount val="744"/>
                <c:pt idx="0">
                  <c:v>27203</c:v>
                </c:pt>
                <c:pt idx="1">
                  <c:v>27128</c:v>
                </c:pt>
                <c:pt idx="2">
                  <c:v>26664</c:v>
                </c:pt>
                <c:pt idx="3">
                  <c:v>27393</c:v>
                </c:pt>
                <c:pt idx="4">
                  <c:v>27035</c:v>
                </c:pt>
                <c:pt idx="5">
                  <c:v>27003</c:v>
                </c:pt>
                <c:pt idx="6">
                  <c:v>26993</c:v>
                </c:pt>
                <c:pt idx="7">
                  <c:v>26446</c:v>
                </c:pt>
                <c:pt idx="8">
                  <c:v>27044</c:v>
                </c:pt>
                <c:pt idx="9">
                  <c:v>26816</c:v>
                </c:pt>
                <c:pt idx="10">
                  <c:v>27474</c:v>
                </c:pt>
                <c:pt idx="11">
                  <c:v>27458</c:v>
                </c:pt>
                <c:pt idx="12">
                  <c:v>27360</c:v>
                </c:pt>
                <c:pt idx="13">
                  <c:v>27157</c:v>
                </c:pt>
                <c:pt idx="14">
                  <c:v>27150</c:v>
                </c:pt>
                <c:pt idx="15">
                  <c:v>27212</c:v>
                </c:pt>
                <c:pt idx="16">
                  <c:v>27147</c:v>
                </c:pt>
                <c:pt idx="17">
                  <c:v>27147</c:v>
                </c:pt>
                <c:pt idx="18">
                  <c:v>27050</c:v>
                </c:pt>
                <c:pt idx="19">
                  <c:v>26877</c:v>
                </c:pt>
                <c:pt idx="20">
                  <c:v>26845</c:v>
                </c:pt>
                <c:pt idx="21">
                  <c:v>26672</c:v>
                </c:pt>
                <c:pt idx="22">
                  <c:v>26661</c:v>
                </c:pt>
                <c:pt idx="23">
                  <c:v>26339</c:v>
                </c:pt>
                <c:pt idx="24">
                  <c:v>26339</c:v>
                </c:pt>
                <c:pt idx="25">
                  <c:v>26173</c:v>
                </c:pt>
                <c:pt idx="26">
                  <c:v>25541</c:v>
                </c:pt>
                <c:pt idx="27">
                  <c:v>25539</c:v>
                </c:pt>
                <c:pt idx="28">
                  <c:v>25614</c:v>
                </c:pt>
                <c:pt idx="29">
                  <c:v>25689</c:v>
                </c:pt>
                <c:pt idx="30">
                  <c:v>25696</c:v>
                </c:pt>
                <c:pt idx="31">
                  <c:v>25895</c:v>
                </c:pt>
                <c:pt idx="32">
                  <c:v>25603</c:v>
                </c:pt>
                <c:pt idx="33">
                  <c:v>26459</c:v>
                </c:pt>
                <c:pt idx="34">
                  <c:v>26295</c:v>
                </c:pt>
                <c:pt idx="35">
                  <c:v>26361</c:v>
                </c:pt>
                <c:pt idx="36">
                  <c:v>26361</c:v>
                </c:pt>
                <c:pt idx="37">
                  <c:v>27434</c:v>
                </c:pt>
                <c:pt idx="38">
                  <c:v>27804</c:v>
                </c:pt>
                <c:pt idx="39">
                  <c:v>28115</c:v>
                </c:pt>
                <c:pt idx="40">
                  <c:v>28168</c:v>
                </c:pt>
                <c:pt idx="41">
                  <c:v>28590</c:v>
                </c:pt>
                <c:pt idx="42">
                  <c:v>29199</c:v>
                </c:pt>
                <c:pt idx="43">
                  <c:v>29330</c:v>
                </c:pt>
                <c:pt idx="44">
                  <c:v>29433</c:v>
                </c:pt>
                <c:pt idx="45">
                  <c:v>29458</c:v>
                </c:pt>
                <c:pt idx="46">
                  <c:v>29439</c:v>
                </c:pt>
                <c:pt idx="47">
                  <c:v>28839</c:v>
                </c:pt>
                <c:pt idx="48">
                  <c:v>28803</c:v>
                </c:pt>
                <c:pt idx="49">
                  <c:v>28823</c:v>
                </c:pt>
                <c:pt idx="50">
                  <c:v>28818</c:v>
                </c:pt>
                <c:pt idx="51">
                  <c:v>28417</c:v>
                </c:pt>
                <c:pt idx="52">
                  <c:v>28395</c:v>
                </c:pt>
                <c:pt idx="53">
                  <c:v>28799</c:v>
                </c:pt>
                <c:pt idx="54">
                  <c:v>28339</c:v>
                </c:pt>
                <c:pt idx="55">
                  <c:v>28449</c:v>
                </c:pt>
                <c:pt idx="56">
                  <c:v>28844</c:v>
                </c:pt>
                <c:pt idx="57">
                  <c:v>28844</c:v>
                </c:pt>
                <c:pt idx="58">
                  <c:v>28939</c:v>
                </c:pt>
                <c:pt idx="59">
                  <c:v>28959</c:v>
                </c:pt>
                <c:pt idx="60">
                  <c:v>29523</c:v>
                </c:pt>
                <c:pt idx="61">
                  <c:v>30233</c:v>
                </c:pt>
                <c:pt idx="62">
                  <c:v>30905</c:v>
                </c:pt>
                <c:pt idx="63">
                  <c:v>29630</c:v>
                </c:pt>
                <c:pt idx="64">
                  <c:v>30033</c:v>
                </c:pt>
                <c:pt idx="65">
                  <c:v>30901</c:v>
                </c:pt>
                <c:pt idx="66">
                  <c:v>31247</c:v>
                </c:pt>
                <c:pt idx="67">
                  <c:v>31416</c:v>
                </c:pt>
                <c:pt idx="68">
                  <c:v>30229</c:v>
                </c:pt>
                <c:pt idx="69">
                  <c:v>31577</c:v>
                </c:pt>
                <c:pt idx="70">
                  <c:v>31897</c:v>
                </c:pt>
                <c:pt idx="71">
                  <c:v>32261</c:v>
                </c:pt>
                <c:pt idx="72">
                  <c:v>32150</c:v>
                </c:pt>
                <c:pt idx="73">
                  <c:v>32283</c:v>
                </c:pt>
                <c:pt idx="74">
                  <c:v>31965</c:v>
                </c:pt>
                <c:pt idx="75">
                  <c:v>32109</c:v>
                </c:pt>
                <c:pt idx="76">
                  <c:v>32419</c:v>
                </c:pt>
                <c:pt idx="77">
                  <c:v>32658</c:v>
                </c:pt>
                <c:pt idx="78">
                  <c:v>32658</c:v>
                </c:pt>
                <c:pt idx="79">
                  <c:v>32658</c:v>
                </c:pt>
                <c:pt idx="80">
                  <c:v>32119</c:v>
                </c:pt>
                <c:pt idx="81">
                  <c:v>32029</c:v>
                </c:pt>
                <c:pt idx="82">
                  <c:v>30503</c:v>
                </c:pt>
                <c:pt idx="83">
                  <c:v>32882</c:v>
                </c:pt>
                <c:pt idx="84">
                  <c:v>32718</c:v>
                </c:pt>
                <c:pt idx="85">
                  <c:v>32696</c:v>
                </c:pt>
                <c:pt idx="86">
                  <c:v>32739</c:v>
                </c:pt>
                <c:pt idx="87">
                  <c:v>32666</c:v>
                </c:pt>
                <c:pt idx="88">
                  <c:v>32849</c:v>
                </c:pt>
                <c:pt idx="89">
                  <c:v>32832</c:v>
                </c:pt>
                <c:pt idx="90">
                  <c:v>32508</c:v>
                </c:pt>
                <c:pt idx="91">
                  <c:v>32696</c:v>
                </c:pt>
                <c:pt idx="92">
                  <c:v>32692</c:v>
                </c:pt>
                <c:pt idx="93">
                  <c:v>32768</c:v>
                </c:pt>
                <c:pt idx="94">
                  <c:v>32615</c:v>
                </c:pt>
                <c:pt idx="95">
                  <c:v>32534</c:v>
                </c:pt>
                <c:pt idx="96">
                  <c:v>33011</c:v>
                </c:pt>
                <c:pt idx="97">
                  <c:v>32876</c:v>
                </c:pt>
                <c:pt idx="98">
                  <c:v>32498</c:v>
                </c:pt>
                <c:pt idx="99">
                  <c:v>31976</c:v>
                </c:pt>
                <c:pt idx="100">
                  <c:v>32389</c:v>
                </c:pt>
                <c:pt idx="101">
                  <c:v>32388</c:v>
                </c:pt>
                <c:pt idx="102">
                  <c:v>32013</c:v>
                </c:pt>
                <c:pt idx="103">
                  <c:v>32155</c:v>
                </c:pt>
                <c:pt idx="104">
                  <c:v>32449</c:v>
                </c:pt>
                <c:pt idx="105">
                  <c:v>32187</c:v>
                </c:pt>
                <c:pt idx="106">
                  <c:v>32064</c:v>
                </c:pt>
                <c:pt idx="107">
                  <c:v>31773</c:v>
                </c:pt>
                <c:pt idx="108">
                  <c:v>31706</c:v>
                </c:pt>
                <c:pt idx="109">
                  <c:v>31568</c:v>
                </c:pt>
                <c:pt idx="110">
                  <c:v>31741</c:v>
                </c:pt>
                <c:pt idx="111">
                  <c:v>31829</c:v>
                </c:pt>
                <c:pt idx="112">
                  <c:v>31876</c:v>
                </c:pt>
                <c:pt idx="113">
                  <c:v>32026</c:v>
                </c:pt>
                <c:pt idx="114">
                  <c:v>31908</c:v>
                </c:pt>
                <c:pt idx="115">
                  <c:v>31748</c:v>
                </c:pt>
                <c:pt idx="116">
                  <c:v>31677</c:v>
                </c:pt>
                <c:pt idx="117">
                  <c:v>31470</c:v>
                </c:pt>
                <c:pt idx="118">
                  <c:v>31328</c:v>
                </c:pt>
                <c:pt idx="119">
                  <c:v>31489</c:v>
                </c:pt>
                <c:pt idx="120">
                  <c:v>31218</c:v>
                </c:pt>
                <c:pt idx="121">
                  <c:v>30938</c:v>
                </c:pt>
                <c:pt idx="122">
                  <c:v>30862</c:v>
                </c:pt>
                <c:pt idx="123">
                  <c:v>30541</c:v>
                </c:pt>
                <c:pt idx="124">
                  <c:v>30735</c:v>
                </c:pt>
                <c:pt idx="125">
                  <c:v>30624</c:v>
                </c:pt>
                <c:pt idx="126">
                  <c:v>31144</c:v>
                </c:pt>
                <c:pt idx="127">
                  <c:v>31239</c:v>
                </c:pt>
                <c:pt idx="128">
                  <c:v>31742</c:v>
                </c:pt>
                <c:pt idx="129">
                  <c:v>31866</c:v>
                </c:pt>
                <c:pt idx="130">
                  <c:v>31939</c:v>
                </c:pt>
                <c:pt idx="131">
                  <c:v>31919</c:v>
                </c:pt>
                <c:pt idx="132">
                  <c:v>31893</c:v>
                </c:pt>
                <c:pt idx="133">
                  <c:v>31635</c:v>
                </c:pt>
                <c:pt idx="134">
                  <c:v>31600</c:v>
                </c:pt>
                <c:pt idx="135">
                  <c:v>31356</c:v>
                </c:pt>
                <c:pt idx="136">
                  <c:v>31264</c:v>
                </c:pt>
                <c:pt idx="137">
                  <c:v>31209</c:v>
                </c:pt>
                <c:pt idx="138">
                  <c:v>30936</c:v>
                </c:pt>
                <c:pt idx="139">
                  <c:v>30870</c:v>
                </c:pt>
                <c:pt idx="140">
                  <c:v>31154</c:v>
                </c:pt>
                <c:pt idx="141">
                  <c:v>31264</c:v>
                </c:pt>
                <c:pt idx="142">
                  <c:v>31149</c:v>
                </c:pt>
                <c:pt idx="143">
                  <c:v>31221</c:v>
                </c:pt>
                <c:pt idx="144">
                  <c:v>31362</c:v>
                </c:pt>
                <c:pt idx="145">
                  <c:v>31477</c:v>
                </c:pt>
                <c:pt idx="146">
                  <c:v>31280</c:v>
                </c:pt>
                <c:pt idx="147">
                  <c:v>31439</c:v>
                </c:pt>
                <c:pt idx="148">
                  <c:v>31439</c:v>
                </c:pt>
                <c:pt idx="149">
                  <c:v>32086</c:v>
                </c:pt>
                <c:pt idx="150">
                  <c:v>31450</c:v>
                </c:pt>
                <c:pt idx="151">
                  <c:v>31452</c:v>
                </c:pt>
                <c:pt idx="152">
                  <c:v>31598</c:v>
                </c:pt>
                <c:pt idx="153">
                  <c:v>31651</c:v>
                </c:pt>
                <c:pt idx="154">
                  <c:v>31686</c:v>
                </c:pt>
                <c:pt idx="155">
                  <c:v>31357</c:v>
                </c:pt>
                <c:pt idx="156">
                  <c:v>31664</c:v>
                </c:pt>
                <c:pt idx="157">
                  <c:v>31681</c:v>
                </c:pt>
                <c:pt idx="158">
                  <c:v>31529</c:v>
                </c:pt>
                <c:pt idx="159">
                  <c:v>31964</c:v>
                </c:pt>
                <c:pt idx="160">
                  <c:v>31980</c:v>
                </c:pt>
                <c:pt idx="161">
                  <c:v>32013</c:v>
                </c:pt>
                <c:pt idx="162">
                  <c:v>32090</c:v>
                </c:pt>
                <c:pt idx="163">
                  <c:v>31927</c:v>
                </c:pt>
                <c:pt idx="164">
                  <c:v>31992</c:v>
                </c:pt>
                <c:pt idx="165">
                  <c:v>31919</c:v>
                </c:pt>
                <c:pt idx="166">
                  <c:v>32267</c:v>
                </c:pt>
                <c:pt idx="167">
                  <c:v>32247</c:v>
                </c:pt>
                <c:pt idx="168">
                  <c:v>32112</c:v>
                </c:pt>
                <c:pt idx="169">
                  <c:v>32532</c:v>
                </c:pt>
                <c:pt idx="170">
                  <c:v>32931</c:v>
                </c:pt>
                <c:pt idx="171">
                  <c:v>32941</c:v>
                </c:pt>
                <c:pt idx="172">
                  <c:v>33571</c:v>
                </c:pt>
                <c:pt idx="173">
                  <c:v>33895</c:v>
                </c:pt>
                <c:pt idx="174">
                  <c:v>34323</c:v>
                </c:pt>
                <c:pt idx="175">
                  <c:v>34312</c:v>
                </c:pt>
                <c:pt idx="176">
                  <c:v>34385</c:v>
                </c:pt>
                <c:pt idx="177">
                  <c:v>34144</c:v>
                </c:pt>
                <c:pt idx="178">
                  <c:v>33870</c:v>
                </c:pt>
                <c:pt idx="179">
                  <c:v>34460</c:v>
                </c:pt>
                <c:pt idx="180">
                  <c:v>34444</c:v>
                </c:pt>
                <c:pt idx="181">
                  <c:v>34348</c:v>
                </c:pt>
                <c:pt idx="182">
                  <c:v>35055</c:v>
                </c:pt>
                <c:pt idx="183">
                  <c:v>35880</c:v>
                </c:pt>
                <c:pt idx="184">
                  <c:v>35804</c:v>
                </c:pt>
                <c:pt idx="185">
                  <c:v>35607</c:v>
                </c:pt>
                <c:pt idx="186">
                  <c:v>35881</c:v>
                </c:pt>
                <c:pt idx="187">
                  <c:v>35561</c:v>
                </c:pt>
                <c:pt idx="188">
                  <c:v>33353</c:v>
                </c:pt>
                <c:pt idx="189">
                  <c:v>35824</c:v>
                </c:pt>
                <c:pt idx="190">
                  <c:v>36044</c:v>
                </c:pt>
                <c:pt idx="191">
                  <c:v>35814</c:v>
                </c:pt>
                <c:pt idx="192">
                  <c:v>36029</c:v>
                </c:pt>
                <c:pt idx="193">
                  <c:v>36024</c:v>
                </c:pt>
                <c:pt idx="194">
                  <c:v>35677</c:v>
                </c:pt>
                <c:pt idx="195">
                  <c:v>35449</c:v>
                </c:pt>
                <c:pt idx="196">
                  <c:v>35365</c:v>
                </c:pt>
                <c:pt idx="197">
                  <c:v>35015</c:v>
                </c:pt>
                <c:pt idx="198">
                  <c:v>35228</c:v>
                </c:pt>
                <c:pt idx="199">
                  <c:v>35067</c:v>
                </c:pt>
                <c:pt idx="200">
                  <c:v>34535</c:v>
                </c:pt>
                <c:pt idx="201">
                  <c:v>34364</c:v>
                </c:pt>
                <c:pt idx="202">
                  <c:v>34070</c:v>
                </c:pt>
                <c:pt idx="203">
                  <c:v>33906</c:v>
                </c:pt>
                <c:pt idx="204">
                  <c:v>33784</c:v>
                </c:pt>
                <c:pt idx="205">
                  <c:v>34374</c:v>
                </c:pt>
                <c:pt idx="206">
                  <c:v>33584</c:v>
                </c:pt>
                <c:pt idx="207">
                  <c:v>33518</c:v>
                </c:pt>
                <c:pt idx="208">
                  <c:v>32863</c:v>
                </c:pt>
                <c:pt idx="209">
                  <c:v>33674</c:v>
                </c:pt>
                <c:pt idx="210">
                  <c:v>33690</c:v>
                </c:pt>
                <c:pt idx="211">
                  <c:v>33547</c:v>
                </c:pt>
                <c:pt idx="212">
                  <c:v>33210</c:v>
                </c:pt>
                <c:pt idx="213">
                  <c:v>33112</c:v>
                </c:pt>
                <c:pt idx="214">
                  <c:v>33009</c:v>
                </c:pt>
                <c:pt idx="215">
                  <c:v>33148</c:v>
                </c:pt>
                <c:pt idx="216">
                  <c:v>33197</c:v>
                </c:pt>
                <c:pt idx="217">
                  <c:v>33008</c:v>
                </c:pt>
                <c:pt idx="218">
                  <c:v>33172</c:v>
                </c:pt>
                <c:pt idx="219">
                  <c:v>33231</c:v>
                </c:pt>
                <c:pt idx="220">
                  <c:v>33216</c:v>
                </c:pt>
                <c:pt idx="221">
                  <c:v>32746</c:v>
                </c:pt>
                <c:pt idx="222">
                  <c:v>33037</c:v>
                </c:pt>
                <c:pt idx="223">
                  <c:v>32149</c:v>
                </c:pt>
                <c:pt idx="224">
                  <c:v>31937</c:v>
                </c:pt>
                <c:pt idx="225">
                  <c:v>31944</c:v>
                </c:pt>
                <c:pt idx="226">
                  <c:v>32065</c:v>
                </c:pt>
                <c:pt idx="227">
                  <c:v>31732</c:v>
                </c:pt>
                <c:pt idx="228">
                  <c:v>31509</c:v>
                </c:pt>
                <c:pt idx="229">
                  <c:v>31522</c:v>
                </c:pt>
                <c:pt idx="230">
                  <c:v>31442</c:v>
                </c:pt>
                <c:pt idx="231">
                  <c:v>31498</c:v>
                </c:pt>
                <c:pt idx="232">
                  <c:v>31499</c:v>
                </c:pt>
                <c:pt idx="233">
                  <c:v>31347</c:v>
                </c:pt>
                <c:pt idx="234">
                  <c:v>30817</c:v>
                </c:pt>
                <c:pt idx="235">
                  <c:v>30563</c:v>
                </c:pt>
                <c:pt idx="236">
                  <c:v>30444</c:v>
                </c:pt>
                <c:pt idx="237">
                  <c:v>30773</c:v>
                </c:pt>
                <c:pt idx="238">
                  <c:v>31209</c:v>
                </c:pt>
                <c:pt idx="239">
                  <c:v>29634</c:v>
                </c:pt>
                <c:pt idx="240">
                  <c:v>28851</c:v>
                </c:pt>
                <c:pt idx="241">
                  <c:v>28253</c:v>
                </c:pt>
                <c:pt idx="242">
                  <c:v>27930</c:v>
                </c:pt>
                <c:pt idx="243">
                  <c:v>27946</c:v>
                </c:pt>
                <c:pt idx="244">
                  <c:v>27831</c:v>
                </c:pt>
                <c:pt idx="245">
                  <c:v>27958</c:v>
                </c:pt>
                <c:pt idx="246">
                  <c:v>27631</c:v>
                </c:pt>
                <c:pt idx="247">
                  <c:v>27458</c:v>
                </c:pt>
                <c:pt idx="248">
                  <c:v>27605</c:v>
                </c:pt>
                <c:pt idx="249">
                  <c:v>27591</c:v>
                </c:pt>
                <c:pt idx="250">
                  <c:v>27628</c:v>
                </c:pt>
                <c:pt idx="251">
                  <c:v>27832</c:v>
                </c:pt>
                <c:pt idx="252">
                  <c:v>27992</c:v>
                </c:pt>
                <c:pt idx="253">
                  <c:v>28604</c:v>
                </c:pt>
                <c:pt idx="254">
                  <c:v>28904</c:v>
                </c:pt>
                <c:pt idx="255">
                  <c:v>28311</c:v>
                </c:pt>
                <c:pt idx="256">
                  <c:v>28599</c:v>
                </c:pt>
                <c:pt idx="257">
                  <c:v>29730</c:v>
                </c:pt>
                <c:pt idx="258">
                  <c:v>30637</c:v>
                </c:pt>
                <c:pt idx="259">
                  <c:v>30731</c:v>
                </c:pt>
                <c:pt idx="260">
                  <c:v>30494</c:v>
                </c:pt>
                <c:pt idx="261">
                  <c:v>30418</c:v>
                </c:pt>
                <c:pt idx="262">
                  <c:v>30500</c:v>
                </c:pt>
                <c:pt idx="263">
                  <c:v>30532</c:v>
                </c:pt>
                <c:pt idx="264">
                  <c:v>30389</c:v>
                </c:pt>
                <c:pt idx="265">
                  <c:v>30317</c:v>
                </c:pt>
                <c:pt idx="266">
                  <c:v>30344</c:v>
                </c:pt>
                <c:pt idx="267">
                  <c:v>30393</c:v>
                </c:pt>
                <c:pt idx="268">
                  <c:v>30270</c:v>
                </c:pt>
                <c:pt idx="269">
                  <c:v>30318</c:v>
                </c:pt>
                <c:pt idx="270">
                  <c:v>30593</c:v>
                </c:pt>
                <c:pt idx="271">
                  <c:v>30570</c:v>
                </c:pt>
                <c:pt idx="272">
                  <c:v>30956</c:v>
                </c:pt>
                <c:pt idx="273">
                  <c:v>31185</c:v>
                </c:pt>
                <c:pt idx="274">
                  <c:v>31455</c:v>
                </c:pt>
                <c:pt idx="275">
                  <c:v>31682</c:v>
                </c:pt>
                <c:pt idx="276">
                  <c:v>31681</c:v>
                </c:pt>
                <c:pt idx="277">
                  <c:v>31983</c:v>
                </c:pt>
                <c:pt idx="278">
                  <c:v>31970</c:v>
                </c:pt>
                <c:pt idx="279">
                  <c:v>31388</c:v>
                </c:pt>
                <c:pt idx="280">
                  <c:v>31613</c:v>
                </c:pt>
                <c:pt idx="281">
                  <c:v>31577</c:v>
                </c:pt>
                <c:pt idx="282">
                  <c:v>31349</c:v>
                </c:pt>
                <c:pt idx="283">
                  <c:v>31353</c:v>
                </c:pt>
                <c:pt idx="284">
                  <c:v>31473</c:v>
                </c:pt>
                <c:pt idx="285">
                  <c:v>31703</c:v>
                </c:pt>
                <c:pt idx="286">
                  <c:v>31460</c:v>
                </c:pt>
                <c:pt idx="287">
                  <c:v>31083</c:v>
                </c:pt>
                <c:pt idx="288">
                  <c:v>31085</c:v>
                </c:pt>
                <c:pt idx="289">
                  <c:v>31076</c:v>
                </c:pt>
                <c:pt idx="290">
                  <c:v>30854</c:v>
                </c:pt>
                <c:pt idx="291">
                  <c:v>30995</c:v>
                </c:pt>
                <c:pt idx="292">
                  <c:v>30793</c:v>
                </c:pt>
                <c:pt idx="293">
                  <c:v>30763</c:v>
                </c:pt>
                <c:pt idx="294">
                  <c:v>30926</c:v>
                </c:pt>
                <c:pt idx="295">
                  <c:v>30733</c:v>
                </c:pt>
                <c:pt idx="296">
                  <c:v>30548</c:v>
                </c:pt>
                <c:pt idx="297">
                  <c:v>30131</c:v>
                </c:pt>
                <c:pt idx="298">
                  <c:v>29930</c:v>
                </c:pt>
                <c:pt idx="299">
                  <c:v>30484</c:v>
                </c:pt>
                <c:pt idx="300">
                  <c:v>30209</c:v>
                </c:pt>
                <c:pt idx="301">
                  <c:v>30086</c:v>
                </c:pt>
                <c:pt idx="302">
                  <c:v>29233</c:v>
                </c:pt>
                <c:pt idx="303">
                  <c:v>30367</c:v>
                </c:pt>
                <c:pt idx="304">
                  <c:v>29637</c:v>
                </c:pt>
                <c:pt idx="305">
                  <c:v>29910</c:v>
                </c:pt>
                <c:pt idx="306">
                  <c:v>29778</c:v>
                </c:pt>
                <c:pt idx="307">
                  <c:v>29695</c:v>
                </c:pt>
                <c:pt idx="308">
                  <c:v>29574</c:v>
                </c:pt>
                <c:pt idx="309">
                  <c:v>29421</c:v>
                </c:pt>
                <c:pt idx="310">
                  <c:v>29505</c:v>
                </c:pt>
                <c:pt idx="311">
                  <c:v>29336</c:v>
                </c:pt>
                <c:pt idx="312">
                  <c:v>29609</c:v>
                </c:pt>
                <c:pt idx="313">
                  <c:v>29825</c:v>
                </c:pt>
                <c:pt idx="314">
                  <c:v>29942</c:v>
                </c:pt>
                <c:pt idx="315">
                  <c:v>29492</c:v>
                </c:pt>
                <c:pt idx="316">
                  <c:v>30099</c:v>
                </c:pt>
                <c:pt idx="317">
                  <c:v>29678</c:v>
                </c:pt>
                <c:pt idx="318">
                  <c:v>30173</c:v>
                </c:pt>
                <c:pt idx="319">
                  <c:v>30193</c:v>
                </c:pt>
                <c:pt idx="320">
                  <c:v>30227</c:v>
                </c:pt>
                <c:pt idx="321">
                  <c:v>30155</c:v>
                </c:pt>
                <c:pt idx="322">
                  <c:v>29168</c:v>
                </c:pt>
                <c:pt idx="323">
                  <c:v>29527</c:v>
                </c:pt>
                <c:pt idx="324">
                  <c:v>28739</c:v>
                </c:pt>
                <c:pt idx="325">
                  <c:v>29543</c:v>
                </c:pt>
                <c:pt idx="326">
                  <c:v>28942</c:v>
                </c:pt>
                <c:pt idx="327">
                  <c:v>29141</c:v>
                </c:pt>
                <c:pt idx="328">
                  <c:v>28593</c:v>
                </c:pt>
                <c:pt idx="329">
                  <c:v>28769</c:v>
                </c:pt>
                <c:pt idx="330">
                  <c:v>28147</c:v>
                </c:pt>
                <c:pt idx="331">
                  <c:v>28718</c:v>
                </c:pt>
                <c:pt idx="332">
                  <c:v>28602</c:v>
                </c:pt>
                <c:pt idx="333">
                  <c:v>28422</c:v>
                </c:pt>
                <c:pt idx="334">
                  <c:v>28471</c:v>
                </c:pt>
                <c:pt idx="335">
                  <c:v>28995</c:v>
                </c:pt>
                <c:pt idx="336">
                  <c:v>29021</c:v>
                </c:pt>
                <c:pt idx="337">
                  <c:v>28877</c:v>
                </c:pt>
                <c:pt idx="338">
                  <c:v>29105</c:v>
                </c:pt>
                <c:pt idx="339">
                  <c:v>29166</c:v>
                </c:pt>
                <c:pt idx="340">
                  <c:v>28711</c:v>
                </c:pt>
                <c:pt idx="341">
                  <c:v>28407</c:v>
                </c:pt>
                <c:pt idx="342">
                  <c:v>28709</c:v>
                </c:pt>
                <c:pt idx="343">
                  <c:v>28724</c:v>
                </c:pt>
                <c:pt idx="344">
                  <c:v>28638</c:v>
                </c:pt>
                <c:pt idx="345">
                  <c:v>29154</c:v>
                </c:pt>
                <c:pt idx="346">
                  <c:v>28806</c:v>
                </c:pt>
                <c:pt idx="347">
                  <c:v>28907</c:v>
                </c:pt>
                <c:pt idx="348">
                  <c:v>28429</c:v>
                </c:pt>
                <c:pt idx="349">
                  <c:v>28733</c:v>
                </c:pt>
                <c:pt idx="350">
                  <c:v>28454</c:v>
                </c:pt>
                <c:pt idx="351">
                  <c:v>28800</c:v>
                </c:pt>
                <c:pt idx="352">
                  <c:v>28997</c:v>
                </c:pt>
                <c:pt idx="353">
                  <c:v>28597</c:v>
                </c:pt>
                <c:pt idx="354">
                  <c:v>28715</c:v>
                </c:pt>
                <c:pt idx="355">
                  <c:v>28768</c:v>
                </c:pt>
                <c:pt idx="356">
                  <c:v>28832</c:v>
                </c:pt>
                <c:pt idx="357">
                  <c:v>28313</c:v>
                </c:pt>
                <c:pt idx="358">
                  <c:v>28465</c:v>
                </c:pt>
                <c:pt idx="359">
                  <c:v>28604</c:v>
                </c:pt>
                <c:pt idx="360">
                  <c:v>28436</c:v>
                </c:pt>
                <c:pt idx="361">
                  <c:v>28875</c:v>
                </c:pt>
                <c:pt idx="362">
                  <c:v>28980</c:v>
                </c:pt>
                <c:pt idx="363">
                  <c:v>28870</c:v>
                </c:pt>
                <c:pt idx="364">
                  <c:v>28870</c:v>
                </c:pt>
                <c:pt idx="365">
                  <c:v>28816</c:v>
                </c:pt>
                <c:pt idx="366">
                  <c:v>28863</c:v>
                </c:pt>
                <c:pt idx="367">
                  <c:v>28846</c:v>
                </c:pt>
                <c:pt idx="368">
                  <c:v>28876</c:v>
                </c:pt>
                <c:pt idx="369">
                  <c:v>28947</c:v>
                </c:pt>
                <c:pt idx="370">
                  <c:v>29052</c:v>
                </c:pt>
                <c:pt idx="371">
                  <c:v>29582</c:v>
                </c:pt>
                <c:pt idx="372">
                  <c:v>29114</c:v>
                </c:pt>
                <c:pt idx="373">
                  <c:v>29525</c:v>
                </c:pt>
                <c:pt idx="374">
                  <c:v>30070</c:v>
                </c:pt>
                <c:pt idx="375">
                  <c:v>30272</c:v>
                </c:pt>
                <c:pt idx="376">
                  <c:v>30496</c:v>
                </c:pt>
                <c:pt idx="377">
                  <c:v>30550</c:v>
                </c:pt>
                <c:pt idx="378">
                  <c:v>31225</c:v>
                </c:pt>
                <c:pt idx="379">
                  <c:v>31305</c:v>
                </c:pt>
                <c:pt idx="380">
                  <c:v>31431</c:v>
                </c:pt>
                <c:pt idx="381">
                  <c:v>31571</c:v>
                </c:pt>
                <c:pt idx="382">
                  <c:v>31954</c:v>
                </c:pt>
                <c:pt idx="383">
                  <c:v>32852</c:v>
                </c:pt>
                <c:pt idx="384">
                  <c:v>33309</c:v>
                </c:pt>
                <c:pt idx="385">
                  <c:v>33510</c:v>
                </c:pt>
                <c:pt idx="386">
                  <c:v>34340</c:v>
                </c:pt>
                <c:pt idx="387">
                  <c:v>34050</c:v>
                </c:pt>
                <c:pt idx="388">
                  <c:v>35320</c:v>
                </c:pt>
                <c:pt idx="389">
                  <c:v>35566</c:v>
                </c:pt>
                <c:pt idx="390">
                  <c:v>35894</c:v>
                </c:pt>
                <c:pt idx="391">
                  <c:v>35916</c:v>
                </c:pt>
                <c:pt idx="392">
                  <c:v>35454</c:v>
                </c:pt>
                <c:pt idx="393">
                  <c:v>36630</c:v>
                </c:pt>
                <c:pt idx="394">
                  <c:v>37891</c:v>
                </c:pt>
                <c:pt idx="395">
                  <c:v>37743</c:v>
                </c:pt>
                <c:pt idx="396">
                  <c:v>34947</c:v>
                </c:pt>
                <c:pt idx="397">
                  <c:v>37381</c:v>
                </c:pt>
                <c:pt idx="398">
                  <c:v>37427</c:v>
                </c:pt>
                <c:pt idx="399">
                  <c:v>36029</c:v>
                </c:pt>
                <c:pt idx="400">
                  <c:v>36810</c:v>
                </c:pt>
                <c:pt idx="401">
                  <c:v>36295</c:v>
                </c:pt>
                <c:pt idx="402">
                  <c:v>36423</c:v>
                </c:pt>
                <c:pt idx="403">
                  <c:v>36084</c:v>
                </c:pt>
                <c:pt idx="404">
                  <c:v>36147</c:v>
                </c:pt>
                <c:pt idx="405">
                  <c:v>35823</c:v>
                </c:pt>
                <c:pt idx="406">
                  <c:v>36095</c:v>
                </c:pt>
                <c:pt idx="407">
                  <c:v>36146</c:v>
                </c:pt>
                <c:pt idx="408">
                  <c:v>36388</c:v>
                </c:pt>
                <c:pt idx="409">
                  <c:v>36622</c:v>
                </c:pt>
                <c:pt idx="410">
                  <c:v>36974</c:v>
                </c:pt>
                <c:pt idx="411">
                  <c:v>37083</c:v>
                </c:pt>
                <c:pt idx="412">
                  <c:v>37009</c:v>
                </c:pt>
                <c:pt idx="413">
                  <c:v>36492</c:v>
                </c:pt>
                <c:pt idx="414">
                  <c:v>36664</c:v>
                </c:pt>
                <c:pt idx="415">
                  <c:v>36725</c:v>
                </c:pt>
                <c:pt idx="416">
                  <c:v>36802</c:v>
                </c:pt>
                <c:pt idx="417">
                  <c:v>36947</c:v>
                </c:pt>
                <c:pt idx="418">
                  <c:v>36836</c:v>
                </c:pt>
                <c:pt idx="419">
                  <c:v>37176</c:v>
                </c:pt>
                <c:pt idx="420">
                  <c:v>37155</c:v>
                </c:pt>
                <c:pt idx="421">
                  <c:v>37043</c:v>
                </c:pt>
                <c:pt idx="422">
                  <c:v>36874</c:v>
                </c:pt>
                <c:pt idx="423">
                  <c:v>36650</c:v>
                </c:pt>
                <c:pt idx="424">
                  <c:v>36717</c:v>
                </c:pt>
                <c:pt idx="425">
                  <c:v>36645</c:v>
                </c:pt>
                <c:pt idx="426">
                  <c:v>35989</c:v>
                </c:pt>
                <c:pt idx="427">
                  <c:v>36141</c:v>
                </c:pt>
                <c:pt idx="428">
                  <c:v>35952</c:v>
                </c:pt>
                <c:pt idx="429">
                  <c:v>35973</c:v>
                </c:pt>
                <c:pt idx="430">
                  <c:v>35432</c:v>
                </c:pt>
                <c:pt idx="431">
                  <c:v>35369</c:v>
                </c:pt>
                <c:pt idx="432">
                  <c:v>35089</c:v>
                </c:pt>
                <c:pt idx="433">
                  <c:v>34996</c:v>
                </c:pt>
                <c:pt idx="434">
                  <c:v>34917</c:v>
                </c:pt>
                <c:pt idx="435">
                  <c:v>34845</c:v>
                </c:pt>
                <c:pt idx="436">
                  <c:v>34741</c:v>
                </c:pt>
                <c:pt idx="437">
                  <c:v>35018</c:v>
                </c:pt>
                <c:pt idx="438">
                  <c:v>34651</c:v>
                </c:pt>
                <c:pt idx="439">
                  <c:v>34589</c:v>
                </c:pt>
                <c:pt idx="440">
                  <c:v>34790</c:v>
                </c:pt>
                <c:pt idx="441">
                  <c:v>34739</c:v>
                </c:pt>
                <c:pt idx="442">
                  <c:v>34550</c:v>
                </c:pt>
                <c:pt idx="443">
                  <c:v>34706</c:v>
                </c:pt>
                <c:pt idx="444">
                  <c:v>34720</c:v>
                </c:pt>
                <c:pt idx="445">
                  <c:v>34540</c:v>
                </c:pt>
                <c:pt idx="446">
                  <c:v>34425</c:v>
                </c:pt>
                <c:pt idx="447">
                  <c:v>34445</c:v>
                </c:pt>
                <c:pt idx="448">
                  <c:v>34490</c:v>
                </c:pt>
                <c:pt idx="449">
                  <c:v>34356</c:v>
                </c:pt>
                <c:pt idx="450">
                  <c:v>34556</c:v>
                </c:pt>
                <c:pt idx="451">
                  <c:v>34391</c:v>
                </c:pt>
                <c:pt idx="452">
                  <c:v>34268</c:v>
                </c:pt>
                <c:pt idx="453">
                  <c:v>34330</c:v>
                </c:pt>
                <c:pt idx="454">
                  <c:v>34142</c:v>
                </c:pt>
                <c:pt idx="455">
                  <c:v>33917</c:v>
                </c:pt>
                <c:pt idx="456">
                  <c:v>33620</c:v>
                </c:pt>
                <c:pt idx="457">
                  <c:v>33480</c:v>
                </c:pt>
                <c:pt idx="458">
                  <c:v>33449</c:v>
                </c:pt>
                <c:pt idx="459">
                  <c:v>33525</c:v>
                </c:pt>
                <c:pt idx="460">
                  <c:v>33540</c:v>
                </c:pt>
                <c:pt idx="461">
                  <c:v>33522</c:v>
                </c:pt>
                <c:pt idx="462">
                  <c:v>33450</c:v>
                </c:pt>
                <c:pt idx="463">
                  <c:v>33290</c:v>
                </c:pt>
                <c:pt idx="464">
                  <c:v>33237</c:v>
                </c:pt>
                <c:pt idx="465">
                  <c:v>33241</c:v>
                </c:pt>
                <c:pt idx="466">
                  <c:v>32883</c:v>
                </c:pt>
                <c:pt idx="467">
                  <c:v>32645</c:v>
                </c:pt>
                <c:pt idx="468">
                  <c:v>32717</c:v>
                </c:pt>
                <c:pt idx="469">
                  <c:v>32440</c:v>
                </c:pt>
                <c:pt idx="470">
                  <c:v>32240</c:v>
                </c:pt>
                <c:pt idx="471">
                  <c:v>31916</c:v>
                </c:pt>
                <c:pt idx="472">
                  <c:v>31692</c:v>
                </c:pt>
                <c:pt idx="473">
                  <c:v>31786</c:v>
                </c:pt>
                <c:pt idx="474">
                  <c:v>31704</c:v>
                </c:pt>
                <c:pt idx="475">
                  <c:v>31520</c:v>
                </c:pt>
                <c:pt idx="476">
                  <c:v>31493</c:v>
                </c:pt>
                <c:pt idx="477">
                  <c:v>31110</c:v>
                </c:pt>
                <c:pt idx="478">
                  <c:v>31113</c:v>
                </c:pt>
                <c:pt idx="479">
                  <c:v>31226</c:v>
                </c:pt>
                <c:pt idx="480">
                  <c:v>31526</c:v>
                </c:pt>
                <c:pt idx="481">
                  <c:v>31218</c:v>
                </c:pt>
                <c:pt idx="482">
                  <c:v>31224</c:v>
                </c:pt>
                <c:pt idx="483">
                  <c:v>31383</c:v>
                </c:pt>
                <c:pt idx="484">
                  <c:v>31464</c:v>
                </c:pt>
                <c:pt idx="485">
                  <c:v>31584</c:v>
                </c:pt>
                <c:pt idx="486">
                  <c:v>31248</c:v>
                </c:pt>
                <c:pt idx="487">
                  <c:v>31245</c:v>
                </c:pt>
                <c:pt idx="488">
                  <c:v>31296</c:v>
                </c:pt>
                <c:pt idx="489">
                  <c:v>31353</c:v>
                </c:pt>
                <c:pt idx="490">
                  <c:v>31228</c:v>
                </c:pt>
                <c:pt idx="491">
                  <c:v>31141</c:v>
                </c:pt>
                <c:pt idx="492">
                  <c:v>31005</c:v>
                </c:pt>
                <c:pt idx="493">
                  <c:v>31122</c:v>
                </c:pt>
                <c:pt idx="494">
                  <c:v>31272</c:v>
                </c:pt>
                <c:pt idx="495">
                  <c:v>31163</c:v>
                </c:pt>
                <c:pt idx="496">
                  <c:v>31374</c:v>
                </c:pt>
                <c:pt idx="497">
                  <c:v>31331</c:v>
                </c:pt>
                <c:pt idx="498">
                  <c:v>31491</c:v>
                </c:pt>
                <c:pt idx="499">
                  <c:v>31112</c:v>
                </c:pt>
                <c:pt idx="500">
                  <c:v>30864</c:v>
                </c:pt>
                <c:pt idx="501">
                  <c:v>30991</c:v>
                </c:pt>
                <c:pt idx="502">
                  <c:v>31071</c:v>
                </c:pt>
                <c:pt idx="503">
                  <c:v>31261</c:v>
                </c:pt>
                <c:pt idx="504">
                  <c:v>31280</c:v>
                </c:pt>
                <c:pt idx="505">
                  <c:v>31435</c:v>
                </c:pt>
                <c:pt idx="506">
                  <c:v>31469</c:v>
                </c:pt>
                <c:pt idx="507">
                  <c:v>31529</c:v>
                </c:pt>
                <c:pt idx="508">
                  <c:v>32071</c:v>
                </c:pt>
                <c:pt idx="509">
                  <c:v>32628</c:v>
                </c:pt>
                <c:pt idx="510">
                  <c:v>32964</c:v>
                </c:pt>
                <c:pt idx="511">
                  <c:v>32539</c:v>
                </c:pt>
                <c:pt idx="512">
                  <c:v>32482</c:v>
                </c:pt>
                <c:pt idx="513">
                  <c:v>32710</c:v>
                </c:pt>
                <c:pt idx="514">
                  <c:v>32911</c:v>
                </c:pt>
                <c:pt idx="515">
                  <c:v>33207</c:v>
                </c:pt>
                <c:pt idx="516">
                  <c:v>33247</c:v>
                </c:pt>
                <c:pt idx="517">
                  <c:v>33128</c:v>
                </c:pt>
                <c:pt idx="518">
                  <c:v>32967</c:v>
                </c:pt>
                <c:pt idx="519">
                  <c:v>33024</c:v>
                </c:pt>
                <c:pt idx="520">
                  <c:v>32957</c:v>
                </c:pt>
                <c:pt idx="521">
                  <c:v>32878</c:v>
                </c:pt>
                <c:pt idx="522">
                  <c:v>32788</c:v>
                </c:pt>
                <c:pt idx="523">
                  <c:v>32752</c:v>
                </c:pt>
                <c:pt idx="524">
                  <c:v>32727</c:v>
                </c:pt>
                <c:pt idx="525">
                  <c:v>32859</c:v>
                </c:pt>
                <c:pt idx="526">
                  <c:v>33150</c:v>
                </c:pt>
                <c:pt idx="527">
                  <c:v>33369</c:v>
                </c:pt>
                <c:pt idx="528">
                  <c:v>33448</c:v>
                </c:pt>
                <c:pt idx="529">
                  <c:v>33857</c:v>
                </c:pt>
                <c:pt idx="530">
                  <c:v>34151</c:v>
                </c:pt>
                <c:pt idx="531">
                  <c:v>34188</c:v>
                </c:pt>
                <c:pt idx="532">
                  <c:v>34219</c:v>
                </c:pt>
                <c:pt idx="533">
                  <c:v>34035</c:v>
                </c:pt>
                <c:pt idx="534">
                  <c:v>33634</c:v>
                </c:pt>
                <c:pt idx="535">
                  <c:v>33955</c:v>
                </c:pt>
                <c:pt idx="536">
                  <c:v>34206</c:v>
                </c:pt>
                <c:pt idx="537">
                  <c:v>34587</c:v>
                </c:pt>
                <c:pt idx="538">
                  <c:v>35311</c:v>
                </c:pt>
                <c:pt idx="539">
                  <c:v>35868</c:v>
                </c:pt>
                <c:pt idx="540">
                  <c:v>35467</c:v>
                </c:pt>
                <c:pt idx="541">
                  <c:v>35479</c:v>
                </c:pt>
                <c:pt idx="542">
                  <c:v>35583</c:v>
                </c:pt>
                <c:pt idx="543">
                  <c:v>35534</c:v>
                </c:pt>
                <c:pt idx="544">
                  <c:v>35446</c:v>
                </c:pt>
                <c:pt idx="545">
                  <c:v>35476</c:v>
                </c:pt>
                <c:pt idx="546">
                  <c:v>35365</c:v>
                </c:pt>
                <c:pt idx="547">
                  <c:v>34818</c:v>
                </c:pt>
                <c:pt idx="548">
                  <c:v>34668</c:v>
                </c:pt>
                <c:pt idx="549">
                  <c:v>34689</c:v>
                </c:pt>
                <c:pt idx="550">
                  <c:v>34702</c:v>
                </c:pt>
                <c:pt idx="551">
                  <c:v>34667</c:v>
                </c:pt>
                <c:pt idx="552">
                  <c:v>34706</c:v>
                </c:pt>
                <c:pt idx="553">
                  <c:v>34833</c:v>
                </c:pt>
                <c:pt idx="554">
                  <c:v>34935</c:v>
                </c:pt>
                <c:pt idx="555">
                  <c:v>34921</c:v>
                </c:pt>
                <c:pt idx="556">
                  <c:v>35000</c:v>
                </c:pt>
                <c:pt idx="557">
                  <c:v>35270</c:v>
                </c:pt>
                <c:pt idx="558">
                  <c:v>35352</c:v>
                </c:pt>
                <c:pt idx="559">
                  <c:v>35338</c:v>
                </c:pt>
                <c:pt idx="560">
                  <c:v>35457</c:v>
                </c:pt>
                <c:pt idx="561">
                  <c:v>35229</c:v>
                </c:pt>
                <c:pt idx="562">
                  <c:v>35158</c:v>
                </c:pt>
                <c:pt idx="563">
                  <c:v>35269</c:v>
                </c:pt>
                <c:pt idx="564">
                  <c:v>35241</c:v>
                </c:pt>
                <c:pt idx="565">
                  <c:v>35200</c:v>
                </c:pt>
                <c:pt idx="566">
                  <c:v>35145</c:v>
                </c:pt>
                <c:pt idx="567">
                  <c:v>35010</c:v>
                </c:pt>
                <c:pt idx="568">
                  <c:v>34811</c:v>
                </c:pt>
                <c:pt idx="569">
                  <c:v>34686</c:v>
                </c:pt>
                <c:pt idx="570">
                  <c:v>34824</c:v>
                </c:pt>
                <c:pt idx="571">
                  <c:v>34750</c:v>
                </c:pt>
                <c:pt idx="572">
                  <c:v>34534</c:v>
                </c:pt>
                <c:pt idx="573">
                  <c:v>34553</c:v>
                </c:pt>
                <c:pt idx="574">
                  <c:v>34534</c:v>
                </c:pt>
                <c:pt idx="575">
                  <c:v>34570</c:v>
                </c:pt>
                <c:pt idx="576">
                  <c:v>34550</c:v>
                </c:pt>
                <c:pt idx="577">
                  <c:v>34600</c:v>
                </c:pt>
                <c:pt idx="578">
                  <c:v>34554</c:v>
                </c:pt>
                <c:pt idx="579">
                  <c:v>34259</c:v>
                </c:pt>
                <c:pt idx="580">
                  <c:v>34601</c:v>
                </c:pt>
                <c:pt idx="581">
                  <c:v>34424</c:v>
                </c:pt>
                <c:pt idx="582">
                  <c:v>34427</c:v>
                </c:pt>
                <c:pt idx="583">
                  <c:v>34841</c:v>
                </c:pt>
                <c:pt idx="584">
                  <c:v>35048</c:v>
                </c:pt>
                <c:pt idx="585">
                  <c:v>35165</c:v>
                </c:pt>
                <c:pt idx="586">
                  <c:v>35406</c:v>
                </c:pt>
                <c:pt idx="587">
                  <c:v>35446</c:v>
                </c:pt>
                <c:pt idx="588">
                  <c:v>35567</c:v>
                </c:pt>
                <c:pt idx="589">
                  <c:v>35393</c:v>
                </c:pt>
                <c:pt idx="590">
                  <c:v>35425</c:v>
                </c:pt>
                <c:pt idx="591">
                  <c:v>35674</c:v>
                </c:pt>
                <c:pt idx="592">
                  <c:v>35736</c:v>
                </c:pt>
                <c:pt idx="593">
                  <c:v>35678</c:v>
                </c:pt>
                <c:pt idx="594">
                  <c:v>35652</c:v>
                </c:pt>
                <c:pt idx="595">
                  <c:v>35672</c:v>
                </c:pt>
                <c:pt idx="596">
                  <c:v>35775</c:v>
                </c:pt>
                <c:pt idx="597">
                  <c:v>35915</c:v>
                </c:pt>
                <c:pt idx="598">
                  <c:v>36059</c:v>
                </c:pt>
                <c:pt idx="599">
                  <c:v>36105</c:v>
                </c:pt>
                <c:pt idx="600">
                  <c:v>36133</c:v>
                </c:pt>
                <c:pt idx="601">
                  <c:v>36219</c:v>
                </c:pt>
                <c:pt idx="602">
                  <c:v>36262</c:v>
                </c:pt>
                <c:pt idx="603">
                  <c:v>36069</c:v>
                </c:pt>
                <c:pt idx="604">
                  <c:v>36308</c:v>
                </c:pt>
                <c:pt idx="605">
                  <c:v>36326</c:v>
                </c:pt>
                <c:pt idx="606">
                  <c:v>36461</c:v>
                </c:pt>
                <c:pt idx="607">
                  <c:v>36952</c:v>
                </c:pt>
                <c:pt idx="608">
                  <c:v>37461</c:v>
                </c:pt>
                <c:pt idx="609">
                  <c:v>37846</c:v>
                </c:pt>
                <c:pt idx="610">
                  <c:v>38259</c:v>
                </c:pt>
                <c:pt idx="611">
                  <c:v>37914</c:v>
                </c:pt>
                <c:pt idx="612">
                  <c:v>37861</c:v>
                </c:pt>
                <c:pt idx="613">
                  <c:v>38002</c:v>
                </c:pt>
                <c:pt idx="614">
                  <c:v>38190</c:v>
                </c:pt>
                <c:pt idx="615">
                  <c:v>38315</c:v>
                </c:pt>
                <c:pt idx="616">
                  <c:v>38454</c:v>
                </c:pt>
                <c:pt idx="617">
                  <c:v>38314</c:v>
                </c:pt>
                <c:pt idx="618">
                  <c:v>38426</c:v>
                </c:pt>
                <c:pt idx="619">
                  <c:v>38651</c:v>
                </c:pt>
                <c:pt idx="620">
                  <c:v>38760</c:v>
                </c:pt>
                <c:pt idx="621">
                  <c:v>39003</c:v>
                </c:pt>
                <c:pt idx="622">
                  <c:v>39256</c:v>
                </c:pt>
                <c:pt idx="623">
                  <c:v>39500</c:v>
                </c:pt>
                <c:pt idx="624">
                  <c:v>39759</c:v>
                </c:pt>
                <c:pt idx="625">
                  <c:v>39371</c:v>
                </c:pt>
                <c:pt idx="626">
                  <c:v>39016</c:v>
                </c:pt>
                <c:pt idx="627">
                  <c:v>38912</c:v>
                </c:pt>
                <c:pt idx="628">
                  <c:v>38729</c:v>
                </c:pt>
                <c:pt idx="629">
                  <c:v>38650</c:v>
                </c:pt>
                <c:pt idx="630">
                  <c:v>38735</c:v>
                </c:pt>
                <c:pt idx="631">
                  <c:v>38705</c:v>
                </c:pt>
                <c:pt idx="632">
                  <c:v>38787</c:v>
                </c:pt>
                <c:pt idx="633">
                  <c:v>39071</c:v>
                </c:pt>
                <c:pt idx="634">
                  <c:v>39157</c:v>
                </c:pt>
                <c:pt idx="635">
                  <c:v>39344</c:v>
                </c:pt>
                <c:pt idx="636">
                  <c:v>39400</c:v>
                </c:pt>
                <c:pt idx="637">
                  <c:v>39686</c:v>
                </c:pt>
                <c:pt idx="638">
                  <c:v>39834</c:v>
                </c:pt>
                <c:pt idx="639">
                  <c:v>40114</c:v>
                </c:pt>
                <c:pt idx="640">
                  <c:v>40011</c:v>
                </c:pt>
                <c:pt idx="641">
                  <c:v>39864</c:v>
                </c:pt>
                <c:pt idx="642">
                  <c:v>39732</c:v>
                </c:pt>
                <c:pt idx="643">
                  <c:v>39888</c:v>
                </c:pt>
                <c:pt idx="644">
                  <c:v>39837</c:v>
                </c:pt>
                <c:pt idx="645">
                  <c:v>39862</c:v>
                </c:pt>
                <c:pt idx="646">
                  <c:v>39970</c:v>
                </c:pt>
                <c:pt idx="647">
                  <c:v>39977</c:v>
                </c:pt>
                <c:pt idx="648">
                  <c:v>39917</c:v>
                </c:pt>
                <c:pt idx="649">
                  <c:v>39926</c:v>
                </c:pt>
                <c:pt idx="650">
                  <c:v>40027</c:v>
                </c:pt>
                <c:pt idx="651">
                  <c:v>40158</c:v>
                </c:pt>
                <c:pt idx="652">
                  <c:v>40325</c:v>
                </c:pt>
                <c:pt idx="653">
                  <c:v>40568</c:v>
                </c:pt>
                <c:pt idx="654">
                  <c:v>40675</c:v>
                </c:pt>
                <c:pt idx="655">
                  <c:v>40828</c:v>
                </c:pt>
                <c:pt idx="656">
                  <c:v>40815</c:v>
                </c:pt>
                <c:pt idx="657">
                  <c:v>40975</c:v>
                </c:pt>
                <c:pt idx="658">
                  <c:v>41088</c:v>
                </c:pt>
                <c:pt idx="659">
                  <c:v>40990</c:v>
                </c:pt>
                <c:pt idx="660">
                  <c:v>41005</c:v>
                </c:pt>
                <c:pt idx="661">
                  <c:v>41177</c:v>
                </c:pt>
                <c:pt idx="662">
                  <c:v>41382</c:v>
                </c:pt>
                <c:pt idx="663">
                  <c:v>41804</c:v>
                </c:pt>
                <c:pt idx="664">
                  <c:v>41846</c:v>
                </c:pt>
                <c:pt idx="665">
                  <c:v>41870</c:v>
                </c:pt>
                <c:pt idx="666">
                  <c:v>41815</c:v>
                </c:pt>
                <c:pt idx="667">
                  <c:v>41771</c:v>
                </c:pt>
                <c:pt idx="668">
                  <c:v>41545</c:v>
                </c:pt>
                <c:pt idx="669">
                  <c:v>41224</c:v>
                </c:pt>
                <c:pt idx="670">
                  <c:v>41001</c:v>
                </c:pt>
                <c:pt idx="671">
                  <c:v>41147</c:v>
                </c:pt>
                <c:pt idx="672">
                  <c:v>41407</c:v>
                </c:pt>
                <c:pt idx="673">
                  <c:v>41579</c:v>
                </c:pt>
                <c:pt idx="674">
                  <c:v>41293</c:v>
                </c:pt>
                <c:pt idx="675">
                  <c:v>41332</c:v>
                </c:pt>
                <c:pt idx="676">
                  <c:v>41291</c:v>
                </c:pt>
                <c:pt idx="677">
                  <c:v>41366</c:v>
                </c:pt>
                <c:pt idx="678">
                  <c:v>41278</c:v>
                </c:pt>
                <c:pt idx="679">
                  <c:v>41369</c:v>
                </c:pt>
                <c:pt idx="680">
                  <c:v>41499</c:v>
                </c:pt>
                <c:pt idx="681">
                  <c:v>41589</c:v>
                </c:pt>
                <c:pt idx="682">
                  <c:v>41695</c:v>
                </c:pt>
                <c:pt idx="683">
                  <c:v>41630</c:v>
                </c:pt>
                <c:pt idx="684">
                  <c:v>41644</c:v>
                </c:pt>
                <c:pt idx="685">
                  <c:v>41652</c:v>
                </c:pt>
                <c:pt idx="686">
                  <c:v>41646</c:v>
                </c:pt>
                <c:pt idx="687">
                  <c:v>41534</c:v>
                </c:pt>
                <c:pt idx="688">
                  <c:v>41313</c:v>
                </c:pt>
                <c:pt idx="689">
                  <c:v>41639</c:v>
                </c:pt>
                <c:pt idx="690">
                  <c:v>41573</c:v>
                </c:pt>
                <c:pt idx="691">
                  <c:v>41600</c:v>
                </c:pt>
                <c:pt idx="692">
                  <c:v>41672</c:v>
                </c:pt>
                <c:pt idx="693">
                  <c:v>41608</c:v>
                </c:pt>
                <c:pt idx="694">
                  <c:v>41694</c:v>
                </c:pt>
                <c:pt idx="695">
                  <c:v>41792</c:v>
                </c:pt>
                <c:pt idx="696">
                  <c:v>41690</c:v>
                </c:pt>
                <c:pt idx="697">
                  <c:v>41491</c:v>
                </c:pt>
                <c:pt idx="698">
                  <c:v>41153</c:v>
                </c:pt>
                <c:pt idx="699">
                  <c:v>40722</c:v>
                </c:pt>
                <c:pt idx="700">
                  <c:v>40569</c:v>
                </c:pt>
                <c:pt idx="701">
                  <c:v>40484</c:v>
                </c:pt>
                <c:pt idx="702">
                  <c:v>40449</c:v>
                </c:pt>
                <c:pt idx="703">
                  <c:v>40283</c:v>
                </c:pt>
                <c:pt idx="704">
                  <c:v>40066</c:v>
                </c:pt>
                <c:pt idx="705">
                  <c:v>39953</c:v>
                </c:pt>
                <c:pt idx="706">
                  <c:v>40015</c:v>
                </c:pt>
                <c:pt idx="707">
                  <c:v>40048</c:v>
                </c:pt>
                <c:pt idx="708">
                  <c:v>39840</c:v>
                </c:pt>
                <c:pt idx="709">
                  <c:v>39680</c:v>
                </c:pt>
                <c:pt idx="710">
                  <c:v>39564</c:v>
                </c:pt>
                <c:pt idx="711">
                  <c:v>39842</c:v>
                </c:pt>
                <c:pt idx="712">
                  <c:v>39571</c:v>
                </c:pt>
                <c:pt idx="713">
                  <c:v>38991</c:v>
                </c:pt>
                <c:pt idx="714">
                  <c:v>38764</c:v>
                </c:pt>
                <c:pt idx="715">
                  <c:v>38504</c:v>
                </c:pt>
                <c:pt idx="716">
                  <c:v>38196</c:v>
                </c:pt>
                <c:pt idx="717">
                  <c:v>37862</c:v>
                </c:pt>
                <c:pt idx="718">
                  <c:v>37698</c:v>
                </c:pt>
                <c:pt idx="719">
                  <c:v>37447</c:v>
                </c:pt>
                <c:pt idx="720">
                  <c:v>36704</c:v>
                </c:pt>
                <c:pt idx="721">
                  <c:v>35700</c:v>
                </c:pt>
                <c:pt idx="722">
                  <c:v>35091</c:v>
                </c:pt>
                <c:pt idx="723">
                  <c:v>34611</c:v>
                </c:pt>
                <c:pt idx="724">
                  <c:v>34563</c:v>
                </c:pt>
                <c:pt idx="725">
                  <c:v>34240</c:v>
                </c:pt>
                <c:pt idx="726">
                  <c:v>34565</c:v>
                </c:pt>
                <c:pt idx="727">
                  <c:v>34508</c:v>
                </c:pt>
                <c:pt idx="728">
                  <c:v>33685</c:v>
                </c:pt>
                <c:pt idx="729">
                  <c:v>33237</c:v>
                </c:pt>
                <c:pt idx="730">
                  <c:v>32966</c:v>
                </c:pt>
                <c:pt idx="731">
                  <c:v>32914</c:v>
                </c:pt>
                <c:pt idx="732">
                  <c:v>32530</c:v>
                </c:pt>
                <c:pt idx="733">
                  <c:v>32874</c:v>
                </c:pt>
                <c:pt idx="734">
                  <c:v>32638</c:v>
                </c:pt>
                <c:pt idx="735">
                  <c:v>32001</c:v>
                </c:pt>
                <c:pt idx="736">
                  <c:v>31542</c:v>
                </c:pt>
                <c:pt idx="737">
                  <c:v>31458</c:v>
                </c:pt>
                <c:pt idx="738">
                  <c:v>31795</c:v>
                </c:pt>
                <c:pt idx="739">
                  <c:v>32332</c:v>
                </c:pt>
                <c:pt idx="740">
                  <c:v>32627</c:v>
                </c:pt>
                <c:pt idx="741">
                  <c:v>32810</c:v>
                </c:pt>
                <c:pt idx="742">
                  <c:v>32734</c:v>
                </c:pt>
                <c:pt idx="743">
                  <c:v>3251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Индексы_Мир_СПбМТСБ!$I$2</c:f>
              <c:strCache>
                <c:ptCount val="1"/>
                <c:pt idx="0">
                  <c:v>Индекс СПбМТСБ-Бензин Премиум-95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Индексы_Мир_СПбМТСБ!$F$707:$F$1462</c:f>
              <c:numCache>
                <c:formatCode>m/d/yyyy</c:formatCode>
                <c:ptCount val="756"/>
                <c:pt idx="0">
                  <c:v>40911</c:v>
                </c:pt>
                <c:pt idx="1">
                  <c:v>40912</c:v>
                </c:pt>
                <c:pt idx="2">
                  <c:v>40913</c:v>
                </c:pt>
                <c:pt idx="3">
                  <c:v>40914</c:v>
                </c:pt>
                <c:pt idx="4">
                  <c:v>40917</c:v>
                </c:pt>
                <c:pt idx="5">
                  <c:v>40918</c:v>
                </c:pt>
                <c:pt idx="6">
                  <c:v>40919</c:v>
                </c:pt>
                <c:pt idx="7">
                  <c:v>40920</c:v>
                </c:pt>
                <c:pt idx="8">
                  <c:v>40921</c:v>
                </c:pt>
                <c:pt idx="9">
                  <c:v>40924</c:v>
                </c:pt>
                <c:pt idx="10">
                  <c:v>40925</c:v>
                </c:pt>
                <c:pt idx="11">
                  <c:v>40926</c:v>
                </c:pt>
                <c:pt idx="12">
                  <c:v>40927</c:v>
                </c:pt>
                <c:pt idx="13">
                  <c:v>40928</c:v>
                </c:pt>
                <c:pt idx="14">
                  <c:v>40931</c:v>
                </c:pt>
                <c:pt idx="15">
                  <c:v>40932</c:v>
                </c:pt>
                <c:pt idx="16">
                  <c:v>40933</c:v>
                </c:pt>
                <c:pt idx="17">
                  <c:v>40934</c:v>
                </c:pt>
                <c:pt idx="18">
                  <c:v>40935</c:v>
                </c:pt>
                <c:pt idx="19">
                  <c:v>40938</c:v>
                </c:pt>
                <c:pt idx="20">
                  <c:v>40939</c:v>
                </c:pt>
                <c:pt idx="21">
                  <c:v>40940</c:v>
                </c:pt>
                <c:pt idx="22">
                  <c:v>40941</c:v>
                </c:pt>
                <c:pt idx="23">
                  <c:v>40942</c:v>
                </c:pt>
                <c:pt idx="24">
                  <c:v>40945</c:v>
                </c:pt>
                <c:pt idx="25">
                  <c:v>40946</c:v>
                </c:pt>
                <c:pt idx="26">
                  <c:v>40947</c:v>
                </c:pt>
                <c:pt idx="27">
                  <c:v>40948</c:v>
                </c:pt>
                <c:pt idx="28">
                  <c:v>40949</c:v>
                </c:pt>
                <c:pt idx="29">
                  <c:v>40952</c:v>
                </c:pt>
                <c:pt idx="30">
                  <c:v>40953</c:v>
                </c:pt>
                <c:pt idx="31">
                  <c:v>40954</c:v>
                </c:pt>
                <c:pt idx="32">
                  <c:v>40955</c:v>
                </c:pt>
                <c:pt idx="33">
                  <c:v>40956</c:v>
                </c:pt>
                <c:pt idx="34">
                  <c:v>40959</c:v>
                </c:pt>
                <c:pt idx="35">
                  <c:v>40960</c:v>
                </c:pt>
                <c:pt idx="36">
                  <c:v>40961</c:v>
                </c:pt>
                <c:pt idx="37">
                  <c:v>40963</c:v>
                </c:pt>
                <c:pt idx="38">
                  <c:v>40966</c:v>
                </c:pt>
                <c:pt idx="39">
                  <c:v>40967</c:v>
                </c:pt>
                <c:pt idx="40">
                  <c:v>40968</c:v>
                </c:pt>
                <c:pt idx="41">
                  <c:v>40969</c:v>
                </c:pt>
                <c:pt idx="42">
                  <c:v>40970</c:v>
                </c:pt>
                <c:pt idx="43">
                  <c:v>40973</c:v>
                </c:pt>
                <c:pt idx="44">
                  <c:v>40974</c:v>
                </c:pt>
                <c:pt idx="45">
                  <c:v>40975</c:v>
                </c:pt>
                <c:pt idx="46">
                  <c:v>40979</c:v>
                </c:pt>
                <c:pt idx="47">
                  <c:v>40980</c:v>
                </c:pt>
                <c:pt idx="48">
                  <c:v>40981</c:v>
                </c:pt>
                <c:pt idx="49">
                  <c:v>40982</c:v>
                </c:pt>
                <c:pt idx="50">
                  <c:v>40983</c:v>
                </c:pt>
                <c:pt idx="51">
                  <c:v>40984</c:v>
                </c:pt>
                <c:pt idx="52">
                  <c:v>40987</c:v>
                </c:pt>
                <c:pt idx="53">
                  <c:v>40988</c:v>
                </c:pt>
                <c:pt idx="54">
                  <c:v>40989</c:v>
                </c:pt>
                <c:pt idx="55">
                  <c:v>40990</c:v>
                </c:pt>
                <c:pt idx="56">
                  <c:v>40991</c:v>
                </c:pt>
                <c:pt idx="57">
                  <c:v>40994</c:v>
                </c:pt>
                <c:pt idx="58">
                  <c:v>40995</c:v>
                </c:pt>
                <c:pt idx="59">
                  <c:v>40996</c:v>
                </c:pt>
                <c:pt idx="60">
                  <c:v>40997</c:v>
                </c:pt>
                <c:pt idx="61">
                  <c:v>40998</c:v>
                </c:pt>
                <c:pt idx="62">
                  <c:v>41001</c:v>
                </c:pt>
                <c:pt idx="63">
                  <c:v>41002</c:v>
                </c:pt>
                <c:pt idx="64">
                  <c:v>41003</c:v>
                </c:pt>
                <c:pt idx="65">
                  <c:v>41004</c:v>
                </c:pt>
                <c:pt idx="66">
                  <c:v>41005</c:v>
                </c:pt>
                <c:pt idx="67">
                  <c:v>41008</c:v>
                </c:pt>
                <c:pt idx="68">
                  <c:v>41009</c:v>
                </c:pt>
                <c:pt idx="69">
                  <c:v>41010</c:v>
                </c:pt>
                <c:pt idx="70">
                  <c:v>41011</c:v>
                </c:pt>
                <c:pt idx="71">
                  <c:v>41012</c:v>
                </c:pt>
                <c:pt idx="72">
                  <c:v>41015</c:v>
                </c:pt>
                <c:pt idx="73">
                  <c:v>41016</c:v>
                </c:pt>
                <c:pt idx="74">
                  <c:v>41017</c:v>
                </c:pt>
                <c:pt idx="75">
                  <c:v>41018</c:v>
                </c:pt>
                <c:pt idx="76">
                  <c:v>41019</c:v>
                </c:pt>
                <c:pt idx="77">
                  <c:v>41022</c:v>
                </c:pt>
                <c:pt idx="78">
                  <c:v>41023</c:v>
                </c:pt>
                <c:pt idx="79">
                  <c:v>41024</c:v>
                </c:pt>
                <c:pt idx="80">
                  <c:v>41025</c:v>
                </c:pt>
                <c:pt idx="81">
                  <c:v>41026</c:v>
                </c:pt>
                <c:pt idx="82">
                  <c:v>41027</c:v>
                </c:pt>
                <c:pt idx="83">
                  <c:v>41031</c:v>
                </c:pt>
                <c:pt idx="84">
                  <c:v>41032</c:v>
                </c:pt>
                <c:pt idx="85">
                  <c:v>41033</c:v>
                </c:pt>
                <c:pt idx="86">
                  <c:v>41034</c:v>
                </c:pt>
                <c:pt idx="87">
                  <c:v>41036</c:v>
                </c:pt>
                <c:pt idx="88">
                  <c:v>41037</c:v>
                </c:pt>
                <c:pt idx="89">
                  <c:v>41039</c:v>
                </c:pt>
                <c:pt idx="90">
                  <c:v>41040</c:v>
                </c:pt>
                <c:pt idx="91">
                  <c:v>41041</c:v>
                </c:pt>
                <c:pt idx="92">
                  <c:v>41043</c:v>
                </c:pt>
                <c:pt idx="93">
                  <c:v>41044</c:v>
                </c:pt>
                <c:pt idx="94">
                  <c:v>41045</c:v>
                </c:pt>
                <c:pt idx="95">
                  <c:v>41046</c:v>
                </c:pt>
                <c:pt idx="96">
                  <c:v>41047</c:v>
                </c:pt>
                <c:pt idx="97">
                  <c:v>41050</c:v>
                </c:pt>
                <c:pt idx="98">
                  <c:v>41051</c:v>
                </c:pt>
                <c:pt idx="99">
                  <c:v>41052</c:v>
                </c:pt>
                <c:pt idx="100">
                  <c:v>41053</c:v>
                </c:pt>
                <c:pt idx="101">
                  <c:v>41054</c:v>
                </c:pt>
                <c:pt idx="102">
                  <c:v>41057</c:v>
                </c:pt>
                <c:pt idx="103">
                  <c:v>41058</c:v>
                </c:pt>
                <c:pt idx="104">
                  <c:v>41059</c:v>
                </c:pt>
                <c:pt idx="105">
                  <c:v>41060</c:v>
                </c:pt>
                <c:pt idx="106">
                  <c:v>41061</c:v>
                </c:pt>
                <c:pt idx="107">
                  <c:v>41064</c:v>
                </c:pt>
                <c:pt idx="108">
                  <c:v>41065</c:v>
                </c:pt>
                <c:pt idx="109">
                  <c:v>41066</c:v>
                </c:pt>
                <c:pt idx="110">
                  <c:v>41067</c:v>
                </c:pt>
                <c:pt idx="111">
                  <c:v>41068</c:v>
                </c:pt>
                <c:pt idx="112">
                  <c:v>41069</c:v>
                </c:pt>
                <c:pt idx="113">
                  <c:v>41073</c:v>
                </c:pt>
                <c:pt idx="114">
                  <c:v>41074</c:v>
                </c:pt>
                <c:pt idx="115">
                  <c:v>41075</c:v>
                </c:pt>
                <c:pt idx="116">
                  <c:v>41078</c:v>
                </c:pt>
                <c:pt idx="117">
                  <c:v>41079</c:v>
                </c:pt>
                <c:pt idx="118">
                  <c:v>41080</c:v>
                </c:pt>
                <c:pt idx="119">
                  <c:v>41081</c:v>
                </c:pt>
                <c:pt idx="120">
                  <c:v>41082</c:v>
                </c:pt>
                <c:pt idx="121">
                  <c:v>41085</c:v>
                </c:pt>
                <c:pt idx="122">
                  <c:v>41086</c:v>
                </c:pt>
                <c:pt idx="123">
                  <c:v>41087</c:v>
                </c:pt>
                <c:pt idx="124">
                  <c:v>41088</c:v>
                </c:pt>
                <c:pt idx="125">
                  <c:v>41089</c:v>
                </c:pt>
                <c:pt idx="126">
                  <c:v>41092</c:v>
                </c:pt>
                <c:pt idx="127">
                  <c:v>41093</c:v>
                </c:pt>
                <c:pt idx="128">
                  <c:v>41094</c:v>
                </c:pt>
                <c:pt idx="129">
                  <c:v>41095</c:v>
                </c:pt>
                <c:pt idx="130">
                  <c:v>41096</c:v>
                </c:pt>
                <c:pt idx="131">
                  <c:v>41099</c:v>
                </c:pt>
                <c:pt idx="132">
                  <c:v>41100</c:v>
                </c:pt>
                <c:pt idx="133">
                  <c:v>41101</c:v>
                </c:pt>
                <c:pt idx="134">
                  <c:v>41102</c:v>
                </c:pt>
                <c:pt idx="135">
                  <c:v>41103</c:v>
                </c:pt>
                <c:pt idx="136">
                  <c:v>41106</c:v>
                </c:pt>
                <c:pt idx="137">
                  <c:v>41107</c:v>
                </c:pt>
                <c:pt idx="138">
                  <c:v>41108</c:v>
                </c:pt>
                <c:pt idx="139">
                  <c:v>41109</c:v>
                </c:pt>
                <c:pt idx="140">
                  <c:v>41110</c:v>
                </c:pt>
                <c:pt idx="141">
                  <c:v>41113</c:v>
                </c:pt>
                <c:pt idx="142">
                  <c:v>41114</c:v>
                </c:pt>
                <c:pt idx="143">
                  <c:v>41115</c:v>
                </c:pt>
                <c:pt idx="144">
                  <c:v>41116</c:v>
                </c:pt>
                <c:pt idx="145">
                  <c:v>41117</c:v>
                </c:pt>
                <c:pt idx="146">
                  <c:v>41120</c:v>
                </c:pt>
                <c:pt idx="147">
                  <c:v>41121</c:v>
                </c:pt>
                <c:pt idx="148">
                  <c:v>41122</c:v>
                </c:pt>
                <c:pt idx="149">
                  <c:v>41123</c:v>
                </c:pt>
                <c:pt idx="150">
                  <c:v>41124</c:v>
                </c:pt>
                <c:pt idx="151">
                  <c:v>41127</c:v>
                </c:pt>
                <c:pt idx="152">
                  <c:v>41128</c:v>
                </c:pt>
                <c:pt idx="153">
                  <c:v>41129</c:v>
                </c:pt>
                <c:pt idx="154">
                  <c:v>41130</c:v>
                </c:pt>
                <c:pt idx="155">
                  <c:v>41131</c:v>
                </c:pt>
                <c:pt idx="156">
                  <c:v>41134</c:v>
                </c:pt>
                <c:pt idx="157">
                  <c:v>41135</c:v>
                </c:pt>
                <c:pt idx="158">
                  <c:v>41136</c:v>
                </c:pt>
                <c:pt idx="159">
                  <c:v>41137</c:v>
                </c:pt>
                <c:pt idx="160">
                  <c:v>41138</c:v>
                </c:pt>
                <c:pt idx="161">
                  <c:v>41141</c:v>
                </c:pt>
                <c:pt idx="162">
                  <c:v>41142</c:v>
                </c:pt>
                <c:pt idx="163">
                  <c:v>41143</c:v>
                </c:pt>
                <c:pt idx="164">
                  <c:v>41144</c:v>
                </c:pt>
                <c:pt idx="165">
                  <c:v>41145</c:v>
                </c:pt>
                <c:pt idx="166">
                  <c:v>41148</c:v>
                </c:pt>
                <c:pt idx="167">
                  <c:v>41149</c:v>
                </c:pt>
                <c:pt idx="168">
                  <c:v>41150</c:v>
                </c:pt>
                <c:pt idx="169">
                  <c:v>41151</c:v>
                </c:pt>
                <c:pt idx="170">
                  <c:v>41152</c:v>
                </c:pt>
                <c:pt idx="171">
                  <c:v>41155</c:v>
                </c:pt>
                <c:pt idx="172">
                  <c:v>41156</c:v>
                </c:pt>
                <c:pt idx="173">
                  <c:v>41157</c:v>
                </c:pt>
                <c:pt idx="174">
                  <c:v>41158</c:v>
                </c:pt>
                <c:pt idx="175">
                  <c:v>41159</c:v>
                </c:pt>
                <c:pt idx="176">
                  <c:v>41162</c:v>
                </c:pt>
                <c:pt idx="177">
                  <c:v>41163</c:v>
                </c:pt>
                <c:pt idx="178">
                  <c:v>41164</c:v>
                </c:pt>
                <c:pt idx="179">
                  <c:v>41165</c:v>
                </c:pt>
                <c:pt idx="180">
                  <c:v>41166</c:v>
                </c:pt>
                <c:pt idx="181">
                  <c:v>41169</c:v>
                </c:pt>
                <c:pt idx="182">
                  <c:v>41170</c:v>
                </c:pt>
                <c:pt idx="183">
                  <c:v>41171</c:v>
                </c:pt>
                <c:pt idx="184">
                  <c:v>41172</c:v>
                </c:pt>
                <c:pt idx="185">
                  <c:v>41173</c:v>
                </c:pt>
                <c:pt idx="186">
                  <c:v>41176</c:v>
                </c:pt>
                <c:pt idx="187">
                  <c:v>41177</c:v>
                </c:pt>
                <c:pt idx="188">
                  <c:v>41178</c:v>
                </c:pt>
                <c:pt idx="189">
                  <c:v>41179</c:v>
                </c:pt>
                <c:pt idx="190">
                  <c:v>41180</c:v>
                </c:pt>
                <c:pt idx="191">
                  <c:v>41183</c:v>
                </c:pt>
                <c:pt idx="192">
                  <c:v>41184</c:v>
                </c:pt>
                <c:pt idx="193">
                  <c:v>41185</c:v>
                </c:pt>
                <c:pt idx="194">
                  <c:v>41186</c:v>
                </c:pt>
                <c:pt idx="195">
                  <c:v>41187</c:v>
                </c:pt>
                <c:pt idx="196">
                  <c:v>41190</c:v>
                </c:pt>
                <c:pt idx="197">
                  <c:v>41191</c:v>
                </c:pt>
                <c:pt idx="198">
                  <c:v>41192</c:v>
                </c:pt>
                <c:pt idx="199">
                  <c:v>41193</c:v>
                </c:pt>
                <c:pt idx="200">
                  <c:v>41194</c:v>
                </c:pt>
                <c:pt idx="201">
                  <c:v>41197</c:v>
                </c:pt>
                <c:pt idx="202">
                  <c:v>41198</c:v>
                </c:pt>
                <c:pt idx="203">
                  <c:v>41199</c:v>
                </c:pt>
                <c:pt idx="204">
                  <c:v>41200</c:v>
                </c:pt>
                <c:pt idx="205">
                  <c:v>41201</c:v>
                </c:pt>
                <c:pt idx="206">
                  <c:v>41204</c:v>
                </c:pt>
                <c:pt idx="207">
                  <c:v>41205</c:v>
                </c:pt>
                <c:pt idx="208">
                  <c:v>41206</c:v>
                </c:pt>
                <c:pt idx="209">
                  <c:v>41207</c:v>
                </c:pt>
                <c:pt idx="210">
                  <c:v>41208</c:v>
                </c:pt>
                <c:pt idx="211">
                  <c:v>41211</c:v>
                </c:pt>
                <c:pt idx="212">
                  <c:v>41212</c:v>
                </c:pt>
                <c:pt idx="213">
                  <c:v>41213</c:v>
                </c:pt>
                <c:pt idx="214">
                  <c:v>41214</c:v>
                </c:pt>
                <c:pt idx="215">
                  <c:v>41215</c:v>
                </c:pt>
                <c:pt idx="216">
                  <c:v>41219</c:v>
                </c:pt>
                <c:pt idx="217">
                  <c:v>41220</c:v>
                </c:pt>
                <c:pt idx="218">
                  <c:v>41221</c:v>
                </c:pt>
                <c:pt idx="219">
                  <c:v>41222</c:v>
                </c:pt>
                <c:pt idx="220">
                  <c:v>41225</c:v>
                </c:pt>
                <c:pt idx="221">
                  <c:v>41226</c:v>
                </c:pt>
                <c:pt idx="222">
                  <c:v>41227</c:v>
                </c:pt>
                <c:pt idx="223">
                  <c:v>41228</c:v>
                </c:pt>
                <c:pt idx="224">
                  <c:v>41229</c:v>
                </c:pt>
                <c:pt idx="225">
                  <c:v>41232</c:v>
                </c:pt>
                <c:pt idx="226">
                  <c:v>41233</c:v>
                </c:pt>
                <c:pt idx="227">
                  <c:v>41234</c:v>
                </c:pt>
                <c:pt idx="228">
                  <c:v>41235</c:v>
                </c:pt>
                <c:pt idx="229">
                  <c:v>41236</c:v>
                </c:pt>
                <c:pt idx="230">
                  <c:v>41239</c:v>
                </c:pt>
                <c:pt idx="231">
                  <c:v>41240</c:v>
                </c:pt>
                <c:pt idx="232">
                  <c:v>41241</c:v>
                </c:pt>
                <c:pt idx="233">
                  <c:v>41242</c:v>
                </c:pt>
                <c:pt idx="234">
                  <c:v>41243</c:v>
                </c:pt>
                <c:pt idx="235">
                  <c:v>41246</c:v>
                </c:pt>
                <c:pt idx="236">
                  <c:v>41247</c:v>
                </c:pt>
                <c:pt idx="237">
                  <c:v>41248</c:v>
                </c:pt>
                <c:pt idx="238">
                  <c:v>41249</c:v>
                </c:pt>
                <c:pt idx="239">
                  <c:v>41250</c:v>
                </c:pt>
                <c:pt idx="240">
                  <c:v>41253</c:v>
                </c:pt>
                <c:pt idx="241">
                  <c:v>41254</c:v>
                </c:pt>
                <c:pt idx="242">
                  <c:v>41255</c:v>
                </c:pt>
                <c:pt idx="243">
                  <c:v>41256</c:v>
                </c:pt>
                <c:pt idx="244">
                  <c:v>41257</c:v>
                </c:pt>
                <c:pt idx="245">
                  <c:v>41260</c:v>
                </c:pt>
                <c:pt idx="246">
                  <c:v>41261</c:v>
                </c:pt>
                <c:pt idx="247">
                  <c:v>41262</c:v>
                </c:pt>
                <c:pt idx="248">
                  <c:v>41263</c:v>
                </c:pt>
                <c:pt idx="249">
                  <c:v>41264</c:v>
                </c:pt>
                <c:pt idx="250">
                  <c:v>41267</c:v>
                </c:pt>
                <c:pt idx="251">
                  <c:v>41268</c:v>
                </c:pt>
                <c:pt idx="252">
                  <c:v>41269</c:v>
                </c:pt>
                <c:pt idx="253">
                  <c:v>41270</c:v>
                </c:pt>
                <c:pt idx="254">
                  <c:v>41271</c:v>
                </c:pt>
                <c:pt idx="255">
                  <c:v>41283</c:v>
                </c:pt>
                <c:pt idx="256">
                  <c:v>41284</c:v>
                </c:pt>
                <c:pt idx="257">
                  <c:v>41285</c:v>
                </c:pt>
                <c:pt idx="258">
                  <c:v>41288</c:v>
                </c:pt>
                <c:pt idx="259">
                  <c:v>41289</c:v>
                </c:pt>
                <c:pt idx="260">
                  <c:v>41290</c:v>
                </c:pt>
                <c:pt idx="261">
                  <c:v>41291</c:v>
                </c:pt>
                <c:pt idx="262">
                  <c:v>41292</c:v>
                </c:pt>
                <c:pt idx="263">
                  <c:v>41295</c:v>
                </c:pt>
                <c:pt idx="264">
                  <c:v>41296</c:v>
                </c:pt>
                <c:pt idx="265">
                  <c:v>41297</c:v>
                </c:pt>
                <c:pt idx="266">
                  <c:v>41298</c:v>
                </c:pt>
                <c:pt idx="267">
                  <c:v>41299</c:v>
                </c:pt>
                <c:pt idx="268">
                  <c:v>41302</c:v>
                </c:pt>
                <c:pt idx="269">
                  <c:v>41303</c:v>
                </c:pt>
                <c:pt idx="270">
                  <c:v>41304</c:v>
                </c:pt>
                <c:pt idx="271">
                  <c:v>41305</c:v>
                </c:pt>
                <c:pt idx="272">
                  <c:v>41306</c:v>
                </c:pt>
                <c:pt idx="273">
                  <c:v>41309</c:v>
                </c:pt>
                <c:pt idx="274">
                  <c:v>41310</c:v>
                </c:pt>
                <c:pt idx="275">
                  <c:v>41311</c:v>
                </c:pt>
                <c:pt idx="276">
                  <c:v>41312</c:v>
                </c:pt>
                <c:pt idx="277">
                  <c:v>41313</c:v>
                </c:pt>
                <c:pt idx="278">
                  <c:v>41316</c:v>
                </c:pt>
                <c:pt idx="279">
                  <c:v>41317</c:v>
                </c:pt>
                <c:pt idx="280">
                  <c:v>41318</c:v>
                </c:pt>
                <c:pt idx="281">
                  <c:v>41319</c:v>
                </c:pt>
                <c:pt idx="282">
                  <c:v>41320</c:v>
                </c:pt>
                <c:pt idx="283">
                  <c:v>41323</c:v>
                </c:pt>
                <c:pt idx="284">
                  <c:v>41324</c:v>
                </c:pt>
                <c:pt idx="285">
                  <c:v>41325</c:v>
                </c:pt>
                <c:pt idx="286">
                  <c:v>41326</c:v>
                </c:pt>
                <c:pt idx="287">
                  <c:v>41327</c:v>
                </c:pt>
                <c:pt idx="288">
                  <c:v>41330</c:v>
                </c:pt>
                <c:pt idx="289">
                  <c:v>41331</c:v>
                </c:pt>
                <c:pt idx="290">
                  <c:v>41332</c:v>
                </c:pt>
                <c:pt idx="291">
                  <c:v>41333</c:v>
                </c:pt>
                <c:pt idx="292">
                  <c:v>41334</c:v>
                </c:pt>
                <c:pt idx="293">
                  <c:v>41337</c:v>
                </c:pt>
                <c:pt idx="294">
                  <c:v>41338</c:v>
                </c:pt>
                <c:pt idx="295">
                  <c:v>41339</c:v>
                </c:pt>
                <c:pt idx="296">
                  <c:v>41340</c:v>
                </c:pt>
                <c:pt idx="297">
                  <c:v>41344</c:v>
                </c:pt>
                <c:pt idx="298">
                  <c:v>41345</c:v>
                </c:pt>
                <c:pt idx="299">
                  <c:v>41346</c:v>
                </c:pt>
                <c:pt idx="300">
                  <c:v>41347</c:v>
                </c:pt>
                <c:pt idx="301">
                  <c:v>41348</c:v>
                </c:pt>
                <c:pt idx="302">
                  <c:v>41351</c:v>
                </c:pt>
                <c:pt idx="303">
                  <c:v>41352</c:v>
                </c:pt>
                <c:pt idx="304">
                  <c:v>41353</c:v>
                </c:pt>
                <c:pt idx="305">
                  <c:v>41354</c:v>
                </c:pt>
                <c:pt idx="306">
                  <c:v>41355</c:v>
                </c:pt>
                <c:pt idx="307">
                  <c:v>41358</c:v>
                </c:pt>
                <c:pt idx="308">
                  <c:v>41359</c:v>
                </c:pt>
                <c:pt idx="309">
                  <c:v>41360</c:v>
                </c:pt>
                <c:pt idx="310">
                  <c:v>41361</c:v>
                </c:pt>
                <c:pt idx="311">
                  <c:v>41362</c:v>
                </c:pt>
                <c:pt idx="312">
                  <c:v>41365</c:v>
                </c:pt>
                <c:pt idx="313">
                  <c:v>41366</c:v>
                </c:pt>
                <c:pt idx="314">
                  <c:v>41367</c:v>
                </c:pt>
                <c:pt idx="315">
                  <c:v>41368</c:v>
                </c:pt>
                <c:pt idx="316">
                  <c:v>41369</c:v>
                </c:pt>
                <c:pt idx="317">
                  <c:v>41372</c:v>
                </c:pt>
                <c:pt idx="318">
                  <c:v>41373</c:v>
                </c:pt>
                <c:pt idx="319">
                  <c:v>41374</c:v>
                </c:pt>
                <c:pt idx="320">
                  <c:v>41375</c:v>
                </c:pt>
                <c:pt idx="321">
                  <c:v>41376</c:v>
                </c:pt>
                <c:pt idx="322">
                  <c:v>41379</c:v>
                </c:pt>
                <c:pt idx="323">
                  <c:v>41380</c:v>
                </c:pt>
                <c:pt idx="324">
                  <c:v>41381</c:v>
                </c:pt>
                <c:pt idx="325">
                  <c:v>41382</c:v>
                </c:pt>
                <c:pt idx="326">
                  <c:v>41383</c:v>
                </c:pt>
                <c:pt idx="327">
                  <c:v>41386</c:v>
                </c:pt>
                <c:pt idx="328">
                  <c:v>41387</c:v>
                </c:pt>
                <c:pt idx="329">
                  <c:v>41388</c:v>
                </c:pt>
                <c:pt idx="330">
                  <c:v>41389</c:v>
                </c:pt>
                <c:pt idx="331">
                  <c:v>41390</c:v>
                </c:pt>
                <c:pt idx="332">
                  <c:v>41393</c:v>
                </c:pt>
                <c:pt idx="333">
                  <c:v>41394</c:v>
                </c:pt>
                <c:pt idx="334">
                  <c:v>41400</c:v>
                </c:pt>
                <c:pt idx="335">
                  <c:v>41401</c:v>
                </c:pt>
                <c:pt idx="336">
                  <c:v>41402</c:v>
                </c:pt>
                <c:pt idx="337">
                  <c:v>41407</c:v>
                </c:pt>
                <c:pt idx="338">
                  <c:v>41408</c:v>
                </c:pt>
                <c:pt idx="339">
                  <c:v>41409</c:v>
                </c:pt>
                <c:pt idx="340">
                  <c:v>41410</c:v>
                </c:pt>
                <c:pt idx="341">
                  <c:v>41411</c:v>
                </c:pt>
                <c:pt idx="342">
                  <c:v>41414</c:v>
                </c:pt>
                <c:pt idx="343">
                  <c:v>41415</c:v>
                </c:pt>
                <c:pt idx="344">
                  <c:v>41416</c:v>
                </c:pt>
                <c:pt idx="345">
                  <c:v>41417</c:v>
                </c:pt>
                <c:pt idx="346">
                  <c:v>41418</c:v>
                </c:pt>
                <c:pt idx="347">
                  <c:v>41421</c:v>
                </c:pt>
                <c:pt idx="348">
                  <c:v>41422</c:v>
                </c:pt>
                <c:pt idx="349">
                  <c:v>41423</c:v>
                </c:pt>
                <c:pt idx="350">
                  <c:v>41424</c:v>
                </c:pt>
                <c:pt idx="351">
                  <c:v>41425</c:v>
                </c:pt>
                <c:pt idx="352">
                  <c:v>41428</c:v>
                </c:pt>
                <c:pt idx="353">
                  <c:v>41429</c:v>
                </c:pt>
                <c:pt idx="354">
                  <c:v>41430</c:v>
                </c:pt>
                <c:pt idx="355">
                  <c:v>41431</c:v>
                </c:pt>
                <c:pt idx="356">
                  <c:v>41432</c:v>
                </c:pt>
                <c:pt idx="357">
                  <c:v>41435</c:v>
                </c:pt>
                <c:pt idx="358">
                  <c:v>41436</c:v>
                </c:pt>
                <c:pt idx="359">
                  <c:v>41438</c:v>
                </c:pt>
                <c:pt idx="360">
                  <c:v>41439</c:v>
                </c:pt>
                <c:pt idx="361">
                  <c:v>41442</c:v>
                </c:pt>
                <c:pt idx="362">
                  <c:v>41443</c:v>
                </c:pt>
                <c:pt idx="363">
                  <c:v>41444</c:v>
                </c:pt>
                <c:pt idx="364">
                  <c:v>41445</c:v>
                </c:pt>
                <c:pt idx="365">
                  <c:v>41446</c:v>
                </c:pt>
                <c:pt idx="366">
                  <c:v>41449</c:v>
                </c:pt>
                <c:pt idx="367">
                  <c:v>41450</c:v>
                </c:pt>
                <c:pt idx="368">
                  <c:v>41451</c:v>
                </c:pt>
                <c:pt idx="369">
                  <c:v>41452</c:v>
                </c:pt>
                <c:pt idx="370">
                  <c:v>41453</c:v>
                </c:pt>
                <c:pt idx="371">
                  <c:v>41456</c:v>
                </c:pt>
                <c:pt idx="372">
                  <c:v>41457</c:v>
                </c:pt>
                <c:pt idx="373">
                  <c:v>41458</c:v>
                </c:pt>
                <c:pt idx="374">
                  <c:v>41459</c:v>
                </c:pt>
                <c:pt idx="375">
                  <c:v>41460</c:v>
                </c:pt>
                <c:pt idx="376">
                  <c:v>41463</c:v>
                </c:pt>
                <c:pt idx="377">
                  <c:v>41464</c:v>
                </c:pt>
                <c:pt idx="378">
                  <c:v>41465</c:v>
                </c:pt>
                <c:pt idx="379">
                  <c:v>41466</c:v>
                </c:pt>
                <c:pt idx="380">
                  <c:v>41467</c:v>
                </c:pt>
                <c:pt idx="381">
                  <c:v>41470</c:v>
                </c:pt>
                <c:pt idx="382">
                  <c:v>41471</c:v>
                </c:pt>
                <c:pt idx="383">
                  <c:v>41472</c:v>
                </c:pt>
                <c:pt idx="384">
                  <c:v>41473</c:v>
                </c:pt>
                <c:pt idx="385">
                  <c:v>41474</c:v>
                </c:pt>
                <c:pt idx="386">
                  <c:v>41477</c:v>
                </c:pt>
                <c:pt idx="387">
                  <c:v>41478</c:v>
                </c:pt>
                <c:pt idx="388">
                  <c:v>41479</c:v>
                </c:pt>
                <c:pt idx="389">
                  <c:v>41480</c:v>
                </c:pt>
                <c:pt idx="390">
                  <c:v>41481</c:v>
                </c:pt>
                <c:pt idx="391">
                  <c:v>41484</c:v>
                </c:pt>
                <c:pt idx="392">
                  <c:v>41485</c:v>
                </c:pt>
                <c:pt idx="393">
                  <c:v>41486</c:v>
                </c:pt>
                <c:pt idx="394">
                  <c:v>41487</c:v>
                </c:pt>
                <c:pt idx="395">
                  <c:v>41488</c:v>
                </c:pt>
                <c:pt idx="396">
                  <c:v>41491</c:v>
                </c:pt>
                <c:pt idx="397">
                  <c:v>41492</c:v>
                </c:pt>
                <c:pt idx="398">
                  <c:v>41493</c:v>
                </c:pt>
                <c:pt idx="399">
                  <c:v>41494</c:v>
                </c:pt>
                <c:pt idx="400">
                  <c:v>41495</c:v>
                </c:pt>
                <c:pt idx="401">
                  <c:v>41498</c:v>
                </c:pt>
                <c:pt idx="402">
                  <c:v>41499</c:v>
                </c:pt>
                <c:pt idx="403">
                  <c:v>41500</c:v>
                </c:pt>
                <c:pt idx="404">
                  <c:v>41501</c:v>
                </c:pt>
                <c:pt idx="405">
                  <c:v>41502</c:v>
                </c:pt>
                <c:pt idx="406">
                  <c:v>41505</c:v>
                </c:pt>
                <c:pt idx="407">
                  <c:v>41506</c:v>
                </c:pt>
                <c:pt idx="408">
                  <c:v>41507</c:v>
                </c:pt>
                <c:pt idx="409">
                  <c:v>41508</c:v>
                </c:pt>
                <c:pt idx="410">
                  <c:v>41509</c:v>
                </c:pt>
                <c:pt idx="411">
                  <c:v>41512</c:v>
                </c:pt>
                <c:pt idx="412">
                  <c:v>41513</c:v>
                </c:pt>
                <c:pt idx="413">
                  <c:v>41514</c:v>
                </c:pt>
                <c:pt idx="414">
                  <c:v>41515</c:v>
                </c:pt>
                <c:pt idx="415">
                  <c:v>41516</c:v>
                </c:pt>
                <c:pt idx="416">
                  <c:v>41519</c:v>
                </c:pt>
                <c:pt idx="417">
                  <c:v>41520</c:v>
                </c:pt>
                <c:pt idx="418">
                  <c:v>41521</c:v>
                </c:pt>
                <c:pt idx="419">
                  <c:v>41522</c:v>
                </c:pt>
                <c:pt idx="420">
                  <c:v>41523</c:v>
                </c:pt>
                <c:pt idx="421">
                  <c:v>41526</c:v>
                </c:pt>
                <c:pt idx="422">
                  <c:v>41527</c:v>
                </c:pt>
                <c:pt idx="423">
                  <c:v>41528</c:v>
                </c:pt>
                <c:pt idx="424">
                  <c:v>41529</c:v>
                </c:pt>
                <c:pt idx="425">
                  <c:v>41530</c:v>
                </c:pt>
                <c:pt idx="426">
                  <c:v>41533</c:v>
                </c:pt>
                <c:pt idx="427">
                  <c:v>41534</c:v>
                </c:pt>
                <c:pt idx="428">
                  <c:v>41535</c:v>
                </c:pt>
                <c:pt idx="429">
                  <c:v>41536</c:v>
                </c:pt>
                <c:pt idx="430">
                  <c:v>41537</c:v>
                </c:pt>
                <c:pt idx="431">
                  <c:v>41540</c:v>
                </c:pt>
                <c:pt idx="432">
                  <c:v>41541</c:v>
                </c:pt>
                <c:pt idx="433">
                  <c:v>41542</c:v>
                </c:pt>
                <c:pt idx="434">
                  <c:v>41543</c:v>
                </c:pt>
                <c:pt idx="435">
                  <c:v>41544</c:v>
                </c:pt>
                <c:pt idx="436">
                  <c:v>41547</c:v>
                </c:pt>
                <c:pt idx="437">
                  <c:v>41548</c:v>
                </c:pt>
                <c:pt idx="438">
                  <c:v>41549</c:v>
                </c:pt>
                <c:pt idx="439">
                  <c:v>41550</c:v>
                </c:pt>
                <c:pt idx="440">
                  <c:v>41551</c:v>
                </c:pt>
                <c:pt idx="441">
                  <c:v>41554</c:v>
                </c:pt>
                <c:pt idx="442">
                  <c:v>41555</c:v>
                </c:pt>
                <c:pt idx="443">
                  <c:v>41556</c:v>
                </c:pt>
                <c:pt idx="444">
                  <c:v>41557</c:v>
                </c:pt>
                <c:pt idx="445">
                  <c:v>41558</c:v>
                </c:pt>
                <c:pt idx="446">
                  <c:v>41561</c:v>
                </c:pt>
                <c:pt idx="447">
                  <c:v>41562</c:v>
                </c:pt>
                <c:pt idx="448">
                  <c:v>41563</c:v>
                </c:pt>
                <c:pt idx="449">
                  <c:v>41564</c:v>
                </c:pt>
                <c:pt idx="450">
                  <c:v>41565</c:v>
                </c:pt>
                <c:pt idx="451">
                  <c:v>41568</c:v>
                </c:pt>
                <c:pt idx="452">
                  <c:v>41569</c:v>
                </c:pt>
                <c:pt idx="453">
                  <c:v>41570</c:v>
                </c:pt>
                <c:pt idx="454">
                  <c:v>41571</c:v>
                </c:pt>
                <c:pt idx="455">
                  <c:v>41572</c:v>
                </c:pt>
                <c:pt idx="456">
                  <c:v>41575</c:v>
                </c:pt>
                <c:pt idx="457">
                  <c:v>41576</c:v>
                </c:pt>
                <c:pt idx="458">
                  <c:v>41577</c:v>
                </c:pt>
                <c:pt idx="459">
                  <c:v>41578</c:v>
                </c:pt>
                <c:pt idx="460">
                  <c:v>41579</c:v>
                </c:pt>
                <c:pt idx="461">
                  <c:v>41583</c:v>
                </c:pt>
                <c:pt idx="462">
                  <c:v>41584</c:v>
                </c:pt>
                <c:pt idx="463">
                  <c:v>41585</c:v>
                </c:pt>
                <c:pt idx="464">
                  <c:v>41586</c:v>
                </c:pt>
                <c:pt idx="465">
                  <c:v>41589</c:v>
                </c:pt>
                <c:pt idx="466">
                  <c:v>41590</c:v>
                </c:pt>
                <c:pt idx="467">
                  <c:v>41591</c:v>
                </c:pt>
                <c:pt idx="468">
                  <c:v>41592</c:v>
                </c:pt>
                <c:pt idx="469">
                  <c:v>41593</c:v>
                </c:pt>
                <c:pt idx="470">
                  <c:v>41596</c:v>
                </c:pt>
                <c:pt idx="471">
                  <c:v>41597</c:v>
                </c:pt>
                <c:pt idx="472">
                  <c:v>41598</c:v>
                </c:pt>
                <c:pt idx="473">
                  <c:v>41599</c:v>
                </c:pt>
                <c:pt idx="474">
                  <c:v>41600</c:v>
                </c:pt>
                <c:pt idx="475">
                  <c:v>41603</c:v>
                </c:pt>
                <c:pt idx="476">
                  <c:v>41604</c:v>
                </c:pt>
                <c:pt idx="477">
                  <c:v>41605</c:v>
                </c:pt>
                <c:pt idx="478">
                  <c:v>41606</c:v>
                </c:pt>
                <c:pt idx="479">
                  <c:v>41607</c:v>
                </c:pt>
                <c:pt idx="480">
                  <c:v>41610</c:v>
                </c:pt>
                <c:pt idx="481">
                  <c:v>41611</c:v>
                </c:pt>
                <c:pt idx="482">
                  <c:v>41612</c:v>
                </c:pt>
                <c:pt idx="483">
                  <c:v>41613</c:v>
                </c:pt>
                <c:pt idx="484">
                  <c:v>41614</c:v>
                </c:pt>
                <c:pt idx="485">
                  <c:v>41617</c:v>
                </c:pt>
                <c:pt idx="486">
                  <c:v>41618</c:v>
                </c:pt>
                <c:pt idx="487">
                  <c:v>41619</c:v>
                </c:pt>
                <c:pt idx="488">
                  <c:v>41620</c:v>
                </c:pt>
                <c:pt idx="489">
                  <c:v>41621</c:v>
                </c:pt>
                <c:pt idx="490">
                  <c:v>41624</c:v>
                </c:pt>
                <c:pt idx="491">
                  <c:v>41625</c:v>
                </c:pt>
                <c:pt idx="492">
                  <c:v>41626</c:v>
                </c:pt>
                <c:pt idx="493">
                  <c:v>41627</c:v>
                </c:pt>
                <c:pt idx="494">
                  <c:v>41628</c:v>
                </c:pt>
                <c:pt idx="495">
                  <c:v>41631</c:v>
                </c:pt>
                <c:pt idx="496">
                  <c:v>41632</c:v>
                </c:pt>
                <c:pt idx="497">
                  <c:v>41633</c:v>
                </c:pt>
                <c:pt idx="498">
                  <c:v>41634</c:v>
                </c:pt>
                <c:pt idx="499">
                  <c:v>41635</c:v>
                </c:pt>
                <c:pt idx="500">
                  <c:v>41648</c:v>
                </c:pt>
                <c:pt idx="501">
                  <c:v>41649</c:v>
                </c:pt>
                <c:pt idx="502">
                  <c:v>41652</c:v>
                </c:pt>
                <c:pt idx="503">
                  <c:v>41653</c:v>
                </c:pt>
                <c:pt idx="504">
                  <c:v>41654</c:v>
                </c:pt>
                <c:pt idx="505">
                  <c:v>41655</c:v>
                </c:pt>
                <c:pt idx="506">
                  <c:v>41656</c:v>
                </c:pt>
                <c:pt idx="507">
                  <c:v>41659</c:v>
                </c:pt>
                <c:pt idx="508">
                  <c:v>41660</c:v>
                </c:pt>
                <c:pt idx="509">
                  <c:v>41661</c:v>
                </c:pt>
                <c:pt idx="510">
                  <c:v>41662</c:v>
                </c:pt>
                <c:pt idx="511">
                  <c:v>41663</c:v>
                </c:pt>
                <c:pt idx="512">
                  <c:v>41666</c:v>
                </c:pt>
                <c:pt idx="513">
                  <c:v>41667</c:v>
                </c:pt>
                <c:pt idx="514">
                  <c:v>41668</c:v>
                </c:pt>
                <c:pt idx="515">
                  <c:v>41669</c:v>
                </c:pt>
                <c:pt idx="516">
                  <c:v>41670</c:v>
                </c:pt>
                <c:pt idx="517">
                  <c:v>41673</c:v>
                </c:pt>
                <c:pt idx="518">
                  <c:v>41674</c:v>
                </c:pt>
                <c:pt idx="519">
                  <c:v>41675</c:v>
                </c:pt>
                <c:pt idx="520">
                  <c:v>41676</c:v>
                </c:pt>
                <c:pt idx="521">
                  <c:v>41677</c:v>
                </c:pt>
                <c:pt idx="522">
                  <c:v>41680</c:v>
                </c:pt>
                <c:pt idx="523">
                  <c:v>41681</c:v>
                </c:pt>
                <c:pt idx="524">
                  <c:v>41682</c:v>
                </c:pt>
                <c:pt idx="525">
                  <c:v>41683</c:v>
                </c:pt>
                <c:pt idx="526">
                  <c:v>41684</c:v>
                </c:pt>
                <c:pt idx="527">
                  <c:v>41687</c:v>
                </c:pt>
                <c:pt idx="528">
                  <c:v>41688</c:v>
                </c:pt>
                <c:pt idx="529">
                  <c:v>41689</c:v>
                </c:pt>
                <c:pt idx="530">
                  <c:v>41690</c:v>
                </c:pt>
                <c:pt idx="531">
                  <c:v>41691</c:v>
                </c:pt>
                <c:pt idx="532">
                  <c:v>41694</c:v>
                </c:pt>
                <c:pt idx="533">
                  <c:v>41695</c:v>
                </c:pt>
                <c:pt idx="534">
                  <c:v>41696</c:v>
                </c:pt>
                <c:pt idx="535">
                  <c:v>41697</c:v>
                </c:pt>
                <c:pt idx="536">
                  <c:v>41698</c:v>
                </c:pt>
                <c:pt idx="537">
                  <c:v>41701</c:v>
                </c:pt>
                <c:pt idx="538">
                  <c:v>41702</c:v>
                </c:pt>
                <c:pt idx="539">
                  <c:v>41703</c:v>
                </c:pt>
                <c:pt idx="540">
                  <c:v>41704</c:v>
                </c:pt>
                <c:pt idx="541">
                  <c:v>41705</c:v>
                </c:pt>
                <c:pt idx="542">
                  <c:v>41709</c:v>
                </c:pt>
                <c:pt idx="543">
                  <c:v>41710</c:v>
                </c:pt>
                <c:pt idx="544">
                  <c:v>41711</c:v>
                </c:pt>
                <c:pt idx="545">
                  <c:v>41712</c:v>
                </c:pt>
                <c:pt idx="546">
                  <c:v>41715</c:v>
                </c:pt>
                <c:pt idx="547">
                  <c:v>41716</c:v>
                </c:pt>
                <c:pt idx="548">
                  <c:v>41717</c:v>
                </c:pt>
                <c:pt idx="549">
                  <c:v>41718</c:v>
                </c:pt>
                <c:pt idx="550">
                  <c:v>41719</c:v>
                </c:pt>
                <c:pt idx="551">
                  <c:v>41722</c:v>
                </c:pt>
                <c:pt idx="552">
                  <c:v>41723</c:v>
                </c:pt>
                <c:pt idx="553">
                  <c:v>41724</c:v>
                </c:pt>
                <c:pt idx="554">
                  <c:v>41725</c:v>
                </c:pt>
                <c:pt idx="555">
                  <c:v>41726</c:v>
                </c:pt>
                <c:pt idx="556">
                  <c:v>41729</c:v>
                </c:pt>
                <c:pt idx="557">
                  <c:v>41730</c:v>
                </c:pt>
                <c:pt idx="558">
                  <c:v>41731</c:v>
                </c:pt>
                <c:pt idx="559">
                  <c:v>41732</c:v>
                </c:pt>
                <c:pt idx="560">
                  <c:v>41733</c:v>
                </c:pt>
                <c:pt idx="561">
                  <c:v>41736</c:v>
                </c:pt>
                <c:pt idx="562">
                  <c:v>41737</c:v>
                </c:pt>
                <c:pt idx="563">
                  <c:v>41738</c:v>
                </c:pt>
                <c:pt idx="564">
                  <c:v>41739</c:v>
                </c:pt>
                <c:pt idx="565">
                  <c:v>41740</c:v>
                </c:pt>
                <c:pt idx="566">
                  <c:v>41743</c:v>
                </c:pt>
                <c:pt idx="567">
                  <c:v>41744</c:v>
                </c:pt>
                <c:pt idx="568">
                  <c:v>41745</c:v>
                </c:pt>
                <c:pt idx="569">
                  <c:v>41746</c:v>
                </c:pt>
                <c:pt idx="570">
                  <c:v>41747</c:v>
                </c:pt>
                <c:pt idx="571">
                  <c:v>41750</c:v>
                </c:pt>
                <c:pt idx="572">
                  <c:v>41751</c:v>
                </c:pt>
                <c:pt idx="573">
                  <c:v>41752</c:v>
                </c:pt>
                <c:pt idx="574">
                  <c:v>41753</c:v>
                </c:pt>
                <c:pt idx="575">
                  <c:v>41754</c:v>
                </c:pt>
                <c:pt idx="576">
                  <c:v>41757</c:v>
                </c:pt>
                <c:pt idx="577">
                  <c:v>41758</c:v>
                </c:pt>
                <c:pt idx="578">
                  <c:v>41759</c:v>
                </c:pt>
                <c:pt idx="579">
                  <c:v>41764</c:v>
                </c:pt>
                <c:pt idx="580">
                  <c:v>41765</c:v>
                </c:pt>
                <c:pt idx="581">
                  <c:v>41766</c:v>
                </c:pt>
                <c:pt idx="582">
                  <c:v>41767</c:v>
                </c:pt>
                <c:pt idx="583">
                  <c:v>41771</c:v>
                </c:pt>
                <c:pt idx="584">
                  <c:v>41772</c:v>
                </c:pt>
                <c:pt idx="585">
                  <c:v>41773</c:v>
                </c:pt>
                <c:pt idx="586">
                  <c:v>41774</c:v>
                </c:pt>
                <c:pt idx="587">
                  <c:v>41775</c:v>
                </c:pt>
                <c:pt idx="588">
                  <c:v>41778</c:v>
                </c:pt>
                <c:pt idx="589">
                  <c:v>41779</c:v>
                </c:pt>
                <c:pt idx="590">
                  <c:v>41780</c:v>
                </c:pt>
                <c:pt idx="591">
                  <c:v>41781</c:v>
                </c:pt>
                <c:pt idx="592">
                  <c:v>41782</c:v>
                </c:pt>
                <c:pt idx="593">
                  <c:v>41785</c:v>
                </c:pt>
                <c:pt idx="594">
                  <c:v>41786</c:v>
                </c:pt>
                <c:pt idx="595">
                  <c:v>41787</c:v>
                </c:pt>
                <c:pt idx="596">
                  <c:v>41788</c:v>
                </c:pt>
                <c:pt idx="597">
                  <c:v>41789</c:v>
                </c:pt>
                <c:pt idx="598">
                  <c:v>41792</c:v>
                </c:pt>
                <c:pt idx="599">
                  <c:v>41793</c:v>
                </c:pt>
                <c:pt idx="600">
                  <c:v>41794</c:v>
                </c:pt>
                <c:pt idx="601">
                  <c:v>41795</c:v>
                </c:pt>
                <c:pt idx="602">
                  <c:v>41796</c:v>
                </c:pt>
                <c:pt idx="603">
                  <c:v>41799</c:v>
                </c:pt>
                <c:pt idx="604">
                  <c:v>41800</c:v>
                </c:pt>
                <c:pt idx="605">
                  <c:v>41801</c:v>
                </c:pt>
                <c:pt idx="606">
                  <c:v>41806</c:v>
                </c:pt>
                <c:pt idx="607">
                  <c:v>41807</c:v>
                </c:pt>
                <c:pt idx="608">
                  <c:v>41808</c:v>
                </c:pt>
                <c:pt idx="609">
                  <c:v>41809</c:v>
                </c:pt>
                <c:pt idx="610">
                  <c:v>41810</c:v>
                </c:pt>
                <c:pt idx="611">
                  <c:v>41813</c:v>
                </c:pt>
                <c:pt idx="612">
                  <c:v>41814</c:v>
                </c:pt>
                <c:pt idx="613">
                  <c:v>41815</c:v>
                </c:pt>
                <c:pt idx="614">
                  <c:v>41816</c:v>
                </c:pt>
                <c:pt idx="615">
                  <c:v>41817</c:v>
                </c:pt>
                <c:pt idx="616">
                  <c:v>41820</c:v>
                </c:pt>
                <c:pt idx="617">
                  <c:v>41821</c:v>
                </c:pt>
                <c:pt idx="618">
                  <c:v>41822</c:v>
                </c:pt>
                <c:pt idx="619">
                  <c:v>41823</c:v>
                </c:pt>
                <c:pt idx="620">
                  <c:v>41824</c:v>
                </c:pt>
                <c:pt idx="621">
                  <c:v>41827</c:v>
                </c:pt>
                <c:pt idx="622">
                  <c:v>41828</c:v>
                </c:pt>
                <c:pt idx="623">
                  <c:v>41829</c:v>
                </c:pt>
                <c:pt idx="624">
                  <c:v>41830</c:v>
                </c:pt>
                <c:pt idx="625">
                  <c:v>41831</c:v>
                </c:pt>
                <c:pt idx="626">
                  <c:v>41834</c:v>
                </c:pt>
                <c:pt idx="627">
                  <c:v>41835</c:v>
                </c:pt>
                <c:pt idx="628">
                  <c:v>41836</c:v>
                </c:pt>
                <c:pt idx="629">
                  <c:v>41837</c:v>
                </c:pt>
                <c:pt idx="630">
                  <c:v>41838</c:v>
                </c:pt>
                <c:pt idx="631">
                  <c:v>41841</c:v>
                </c:pt>
                <c:pt idx="632">
                  <c:v>41842</c:v>
                </c:pt>
                <c:pt idx="633">
                  <c:v>41843</c:v>
                </c:pt>
                <c:pt idx="634">
                  <c:v>41844</c:v>
                </c:pt>
                <c:pt idx="635">
                  <c:v>41845</c:v>
                </c:pt>
                <c:pt idx="636">
                  <c:v>41848</c:v>
                </c:pt>
                <c:pt idx="637">
                  <c:v>41849</c:v>
                </c:pt>
                <c:pt idx="638">
                  <c:v>41850</c:v>
                </c:pt>
                <c:pt idx="639">
                  <c:v>41851</c:v>
                </c:pt>
                <c:pt idx="640">
                  <c:v>41852</c:v>
                </c:pt>
                <c:pt idx="641">
                  <c:v>41855</c:v>
                </c:pt>
                <c:pt idx="642">
                  <c:v>41856</c:v>
                </c:pt>
                <c:pt idx="643">
                  <c:v>41857</c:v>
                </c:pt>
                <c:pt idx="644">
                  <c:v>41858</c:v>
                </c:pt>
                <c:pt idx="645">
                  <c:v>41859</c:v>
                </c:pt>
                <c:pt idx="646">
                  <c:v>41862</c:v>
                </c:pt>
                <c:pt idx="647">
                  <c:v>41863</c:v>
                </c:pt>
                <c:pt idx="648">
                  <c:v>41864</c:v>
                </c:pt>
                <c:pt idx="649">
                  <c:v>41865</c:v>
                </c:pt>
                <c:pt idx="650">
                  <c:v>41866</c:v>
                </c:pt>
                <c:pt idx="651">
                  <c:v>41869</c:v>
                </c:pt>
                <c:pt idx="652">
                  <c:v>41870</c:v>
                </c:pt>
                <c:pt idx="653">
                  <c:v>41871</c:v>
                </c:pt>
                <c:pt idx="654">
                  <c:v>41872</c:v>
                </c:pt>
                <c:pt idx="655">
                  <c:v>41873</c:v>
                </c:pt>
                <c:pt idx="656">
                  <c:v>41876</c:v>
                </c:pt>
                <c:pt idx="657">
                  <c:v>41877</c:v>
                </c:pt>
                <c:pt idx="658">
                  <c:v>41878</c:v>
                </c:pt>
                <c:pt idx="659">
                  <c:v>41879</c:v>
                </c:pt>
                <c:pt idx="660">
                  <c:v>41880</c:v>
                </c:pt>
                <c:pt idx="661">
                  <c:v>41883</c:v>
                </c:pt>
                <c:pt idx="662">
                  <c:v>41884</c:v>
                </c:pt>
                <c:pt idx="663">
                  <c:v>41885</c:v>
                </c:pt>
                <c:pt idx="664">
                  <c:v>41886</c:v>
                </c:pt>
                <c:pt idx="665">
                  <c:v>41887</c:v>
                </c:pt>
                <c:pt idx="666">
                  <c:v>41890</c:v>
                </c:pt>
                <c:pt idx="667">
                  <c:v>41891</c:v>
                </c:pt>
                <c:pt idx="668">
                  <c:v>41892</c:v>
                </c:pt>
                <c:pt idx="669">
                  <c:v>41893</c:v>
                </c:pt>
                <c:pt idx="670">
                  <c:v>41894</c:v>
                </c:pt>
                <c:pt idx="671">
                  <c:v>41897</c:v>
                </c:pt>
                <c:pt idx="672">
                  <c:v>41898</c:v>
                </c:pt>
                <c:pt idx="673">
                  <c:v>41899</c:v>
                </c:pt>
                <c:pt idx="674">
                  <c:v>41900</c:v>
                </c:pt>
                <c:pt idx="675">
                  <c:v>41901</c:v>
                </c:pt>
                <c:pt idx="676">
                  <c:v>41904</c:v>
                </c:pt>
                <c:pt idx="677">
                  <c:v>41905</c:v>
                </c:pt>
                <c:pt idx="678">
                  <c:v>41906</c:v>
                </c:pt>
                <c:pt idx="679">
                  <c:v>41907</c:v>
                </c:pt>
                <c:pt idx="680">
                  <c:v>41908</c:v>
                </c:pt>
                <c:pt idx="681">
                  <c:v>41911</c:v>
                </c:pt>
                <c:pt idx="682">
                  <c:v>41912</c:v>
                </c:pt>
                <c:pt idx="683">
                  <c:v>41913</c:v>
                </c:pt>
                <c:pt idx="684">
                  <c:v>41914</c:v>
                </c:pt>
                <c:pt idx="685">
                  <c:v>41915</c:v>
                </c:pt>
                <c:pt idx="686">
                  <c:v>41918</c:v>
                </c:pt>
                <c:pt idx="687">
                  <c:v>41919</c:v>
                </c:pt>
                <c:pt idx="688">
                  <c:v>41920</c:v>
                </c:pt>
                <c:pt idx="689">
                  <c:v>41921</c:v>
                </c:pt>
                <c:pt idx="690">
                  <c:v>41922</c:v>
                </c:pt>
                <c:pt idx="691">
                  <c:v>41925</c:v>
                </c:pt>
                <c:pt idx="692">
                  <c:v>41926</c:v>
                </c:pt>
                <c:pt idx="693">
                  <c:v>41927</c:v>
                </c:pt>
                <c:pt idx="694">
                  <c:v>41928</c:v>
                </c:pt>
                <c:pt idx="695">
                  <c:v>41929</c:v>
                </c:pt>
                <c:pt idx="696">
                  <c:v>41932</c:v>
                </c:pt>
                <c:pt idx="697">
                  <c:v>41933</c:v>
                </c:pt>
                <c:pt idx="698">
                  <c:v>41934</c:v>
                </c:pt>
                <c:pt idx="699">
                  <c:v>41935</c:v>
                </c:pt>
                <c:pt idx="700">
                  <c:v>41936</c:v>
                </c:pt>
                <c:pt idx="701">
                  <c:v>41939</c:v>
                </c:pt>
                <c:pt idx="702">
                  <c:v>41940</c:v>
                </c:pt>
                <c:pt idx="703">
                  <c:v>41941</c:v>
                </c:pt>
                <c:pt idx="704">
                  <c:v>41942</c:v>
                </c:pt>
                <c:pt idx="705">
                  <c:v>41943</c:v>
                </c:pt>
                <c:pt idx="706">
                  <c:v>41948</c:v>
                </c:pt>
                <c:pt idx="707">
                  <c:v>41949</c:v>
                </c:pt>
                <c:pt idx="708">
                  <c:v>41950</c:v>
                </c:pt>
                <c:pt idx="709">
                  <c:v>41953</c:v>
                </c:pt>
                <c:pt idx="710">
                  <c:v>41954</c:v>
                </c:pt>
                <c:pt idx="711">
                  <c:v>41955</c:v>
                </c:pt>
                <c:pt idx="712">
                  <c:v>41956</c:v>
                </c:pt>
                <c:pt idx="713">
                  <c:v>41957</c:v>
                </c:pt>
                <c:pt idx="714">
                  <c:v>41960</c:v>
                </c:pt>
                <c:pt idx="715">
                  <c:v>41961</c:v>
                </c:pt>
                <c:pt idx="716">
                  <c:v>41962</c:v>
                </c:pt>
                <c:pt idx="717">
                  <c:v>41963</c:v>
                </c:pt>
                <c:pt idx="718">
                  <c:v>41964</c:v>
                </c:pt>
                <c:pt idx="719">
                  <c:v>41967</c:v>
                </c:pt>
                <c:pt idx="720">
                  <c:v>41968</c:v>
                </c:pt>
                <c:pt idx="721">
                  <c:v>41969</c:v>
                </c:pt>
                <c:pt idx="722">
                  <c:v>41970</c:v>
                </c:pt>
                <c:pt idx="723">
                  <c:v>41971</c:v>
                </c:pt>
                <c:pt idx="724">
                  <c:v>41974</c:v>
                </c:pt>
                <c:pt idx="725">
                  <c:v>41975</c:v>
                </c:pt>
                <c:pt idx="726">
                  <c:v>41976</c:v>
                </c:pt>
                <c:pt idx="727">
                  <c:v>41977</c:v>
                </c:pt>
                <c:pt idx="728">
                  <c:v>41978</c:v>
                </c:pt>
                <c:pt idx="729">
                  <c:v>41981</c:v>
                </c:pt>
                <c:pt idx="730">
                  <c:v>41982</c:v>
                </c:pt>
                <c:pt idx="731">
                  <c:v>41983</c:v>
                </c:pt>
                <c:pt idx="732">
                  <c:v>41984</c:v>
                </c:pt>
                <c:pt idx="733">
                  <c:v>41985</c:v>
                </c:pt>
                <c:pt idx="734">
                  <c:v>41988</c:v>
                </c:pt>
                <c:pt idx="735">
                  <c:v>41989</c:v>
                </c:pt>
                <c:pt idx="736">
                  <c:v>41990</c:v>
                </c:pt>
                <c:pt idx="737">
                  <c:v>41991</c:v>
                </c:pt>
                <c:pt idx="738">
                  <c:v>41992</c:v>
                </c:pt>
                <c:pt idx="739">
                  <c:v>41995</c:v>
                </c:pt>
                <c:pt idx="740">
                  <c:v>41996</c:v>
                </c:pt>
                <c:pt idx="741">
                  <c:v>41997</c:v>
                </c:pt>
                <c:pt idx="742">
                  <c:v>41998</c:v>
                </c:pt>
                <c:pt idx="743">
                  <c:v>41999</c:v>
                </c:pt>
                <c:pt idx="744">
                  <c:v>42016</c:v>
                </c:pt>
                <c:pt idx="745">
                  <c:v>42017</c:v>
                </c:pt>
                <c:pt idx="746">
                  <c:v>42018</c:v>
                </c:pt>
                <c:pt idx="747">
                  <c:v>42019</c:v>
                </c:pt>
                <c:pt idx="748">
                  <c:v>42020</c:v>
                </c:pt>
                <c:pt idx="749">
                  <c:v>42023</c:v>
                </c:pt>
                <c:pt idx="750">
                  <c:v>42024</c:v>
                </c:pt>
                <c:pt idx="751">
                  <c:v>42025</c:v>
                </c:pt>
                <c:pt idx="752">
                  <c:v>42026</c:v>
                </c:pt>
                <c:pt idx="753">
                  <c:v>42027</c:v>
                </c:pt>
                <c:pt idx="754">
                  <c:v>42030</c:v>
                </c:pt>
                <c:pt idx="755">
                  <c:v>42031</c:v>
                </c:pt>
              </c:numCache>
            </c:numRef>
          </c:cat>
          <c:val>
            <c:numRef>
              <c:f>Индексы_Мир_СПбМТСБ!$I$707:$I$1462</c:f>
              <c:numCache>
                <c:formatCode>General</c:formatCode>
                <c:ptCount val="756"/>
                <c:pt idx="0">
                  <c:v>28486</c:v>
                </c:pt>
                <c:pt idx="1">
                  <c:v>28045</c:v>
                </c:pt>
                <c:pt idx="2">
                  <c:v>28493</c:v>
                </c:pt>
                <c:pt idx="3">
                  <c:v>28493</c:v>
                </c:pt>
                <c:pt idx="4">
                  <c:v>28389</c:v>
                </c:pt>
                <c:pt idx="5">
                  <c:v>28193</c:v>
                </c:pt>
                <c:pt idx="6">
                  <c:v>28293</c:v>
                </c:pt>
                <c:pt idx="7">
                  <c:v>28293</c:v>
                </c:pt>
                <c:pt idx="8">
                  <c:v>28142</c:v>
                </c:pt>
                <c:pt idx="9">
                  <c:v>28539</c:v>
                </c:pt>
                <c:pt idx="10">
                  <c:v>28608</c:v>
                </c:pt>
                <c:pt idx="11">
                  <c:v>28549</c:v>
                </c:pt>
                <c:pt idx="12">
                  <c:v>28571</c:v>
                </c:pt>
                <c:pt idx="13">
                  <c:v>28225</c:v>
                </c:pt>
                <c:pt idx="14">
                  <c:v>28439</c:v>
                </c:pt>
                <c:pt idx="15">
                  <c:v>28439</c:v>
                </c:pt>
                <c:pt idx="16">
                  <c:v>28539</c:v>
                </c:pt>
                <c:pt idx="17">
                  <c:v>28539</c:v>
                </c:pt>
                <c:pt idx="18">
                  <c:v>28439</c:v>
                </c:pt>
                <c:pt idx="19">
                  <c:v>28405</c:v>
                </c:pt>
                <c:pt idx="20">
                  <c:v>28439</c:v>
                </c:pt>
                <c:pt idx="21">
                  <c:v>28239</c:v>
                </c:pt>
                <c:pt idx="22">
                  <c:v>28239</c:v>
                </c:pt>
                <c:pt idx="23">
                  <c:v>28239</c:v>
                </c:pt>
                <c:pt idx="24">
                  <c:v>27839</c:v>
                </c:pt>
                <c:pt idx="25">
                  <c:v>27789</c:v>
                </c:pt>
                <c:pt idx="26">
                  <c:v>27314</c:v>
                </c:pt>
                <c:pt idx="27">
                  <c:v>27244</c:v>
                </c:pt>
                <c:pt idx="28">
                  <c:v>27244</c:v>
                </c:pt>
                <c:pt idx="29">
                  <c:v>27256</c:v>
                </c:pt>
                <c:pt idx="30">
                  <c:v>27239</c:v>
                </c:pt>
                <c:pt idx="31">
                  <c:v>27374</c:v>
                </c:pt>
                <c:pt idx="32">
                  <c:v>27399</c:v>
                </c:pt>
                <c:pt idx="33">
                  <c:v>27399</c:v>
                </c:pt>
                <c:pt idx="34">
                  <c:v>27361</c:v>
                </c:pt>
                <c:pt idx="35">
                  <c:v>27647</c:v>
                </c:pt>
                <c:pt idx="36">
                  <c:v>27647</c:v>
                </c:pt>
                <c:pt idx="37">
                  <c:v>27647</c:v>
                </c:pt>
                <c:pt idx="38">
                  <c:v>27647</c:v>
                </c:pt>
                <c:pt idx="39">
                  <c:v>28989</c:v>
                </c:pt>
                <c:pt idx="40">
                  <c:v>29343</c:v>
                </c:pt>
                <c:pt idx="41">
                  <c:v>29598</c:v>
                </c:pt>
                <c:pt idx="42">
                  <c:v>30339</c:v>
                </c:pt>
                <c:pt idx="43">
                  <c:v>30039</c:v>
                </c:pt>
                <c:pt idx="44">
                  <c:v>30018</c:v>
                </c:pt>
                <c:pt idx="45">
                  <c:v>29489</c:v>
                </c:pt>
                <c:pt idx="46">
                  <c:v>30044</c:v>
                </c:pt>
                <c:pt idx="47">
                  <c:v>30054</c:v>
                </c:pt>
                <c:pt idx="48">
                  <c:v>29930</c:v>
                </c:pt>
                <c:pt idx="49">
                  <c:v>30049</c:v>
                </c:pt>
                <c:pt idx="50">
                  <c:v>29390</c:v>
                </c:pt>
                <c:pt idx="51">
                  <c:v>29390</c:v>
                </c:pt>
                <c:pt idx="52">
                  <c:v>29390</c:v>
                </c:pt>
                <c:pt idx="53">
                  <c:v>29390</c:v>
                </c:pt>
                <c:pt idx="54">
                  <c:v>29390</c:v>
                </c:pt>
                <c:pt idx="55">
                  <c:v>30439</c:v>
                </c:pt>
                <c:pt idx="56">
                  <c:v>30439</c:v>
                </c:pt>
                <c:pt idx="57">
                  <c:v>30439</c:v>
                </c:pt>
                <c:pt idx="58">
                  <c:v>30439</c:v>
                </c:pt>
                <c:pt idx="59">
                  <c:v>31168</c:v>
                </c:pt>
                <c:pt idx="60">
                  <c:v>31814</c:v>
                </c:pt>
                <c:pt idx="61">
                  <c:v>30439</c:v>
                </c:pt>
                <c:pt idx="62">
                  <c:v>32107</c:v>
                </c:pt>
                <c:pt idx="63">
                  <c:v>30131</c:v>
                </c:pt>
                <c:pt idx="64">
                  <c:v>31239</c:v>
                </c:pt>
                <c:pt idx="65">
                  <c:v>32462</c:v>
                </c:pt>
                <c:pt idx="66">
                  <c:v>32945</c:v>
                </c:pt>
                <c:pt idx="67">
                  <c:v>33104</c:v>
                </c:pt>
                <c:pt idx="68">
                  <c:v>30462</c:v>
                </c:pt>
                <c:pt idx="69">
                  <c:v>33418</c:v>
                </c:pt>
                <c:pt idx="70">
                  <c:v>33630</c:v>
                </c:pt>
                <c:pt idx="71">
                  <c:v>33830</c:v>
                </c:pt>
                <c:pt idx="72">
                  <c:v>33975</c:v>
                </c:pt>
                <c:pt idx="73">
                  <c:v>34067</c:v>
                </c:pt>
                <c:pt idx="74">
                  <c:v>34130</c:v>
                </c:pt>
                <c:pt idx="75">
                  <c:v>34349</c:v>
                </c:pt>
                <c:pt idx="76">
                  <c:v>34489</c:v>
                </c:pt>
                <c:pt idx="77">
                  <c:v>34809</c:v>
                </c:pt>
                <c:pt idx="78">
                  <c:v>34809</c:v>
                </c:pt>
                <c:pt idx="79">
                  <c:v>35059</c:v>
                </c:pt>
                <c:pt idx="80">
                  <c:v>34446</c:v>
                </c:pt>
                <c:pt idx="81">
                  <c:v>34975</c:v>
                </c:pt>
                <c:pt idx="82">
                  <c:v>31677</c:v>
                </c:pt>
                <c:pt idx="83">
                  <c:v>35313</c:v>
                </c:pt>
                <c:pt idx="84">
                  <c:v>35534</c:v>
                </c:pt>
                <c:pt idx="85">
                  <c:v>35561</c:v>
                </c:pt>
                <c:pt idx="86">
                  <c:v>35750</c:v>
                </c:pt>
                <c:pt idx="87">
                  <c:v>35583</c:v>
                </c:pt>
                <c:pt idx="88">
                  <c:v>35773</c:v>
                </c:pt>
                <c:pt idx="89">
                  <c:v>35163</c:v>
                </c:pt>
                <c:pt idx="90">
                  <c:v>35953</c:v>
                </c:pt>
                <c:pt idx="91">
                  <c:v>35713</c:v>
                </c:pt>
                <c:pt idx="92">
                  <c:v>35711</c:v>
                </c:pt>
                <c:pt idx="93">
                  <c:v>36203</c:v>
                </c:pt>
                <c:pt idx="94">
                  <c:v>35966</c:v>
                </c:pt>
                <c:pt idx="95">
                  <c:v>35673</c:v>
                </c:pt>
                <c:pt idx="96">
                  <c:v>35951</c:v>
                </c:pt>
                <c:pt idx="97">
                  <c:v>35653</c:v>
                </c:pt>
                <c:pt idx="98">
                  <c:v>36303</c:v>
                </c:pt>
                <c:pt idx="99">
                  <c:v>34228</c:v>
                </c:pt>
                <c:pt idx="100">
                  <c:v>35601</c:v>
                </c:pt>
                <c:pt idx="101">
                  <c:v>35694</c:v>
                </c:pt>
                <c:pt idx="102">
                  <c:v>35808</c:v>
                </c:pt>
                <c:pt idx="103">
                  <c:v>35896</c:v>
                </c:pt>
                <c:pt idx="104">
                  <c:v>35639</c:v>
                </c:pt>
                <c:pt idx="105">
                  <c:v>35818</c:v>
                </c:pt>
                <c:pt idx="106">
                  <c:v>35627</c:v>
                </c:pt>
                <c:pt idx="107">
                  <c:v>35640</c:v>
                </c:pt>
                <c:pt idx="108">
                  <c:v>35530</c:v>
                </c:pt>
                <c:pt idx="109">
                  <c:v>35636</c:v>
                </c:pt>
                <c:pt idx="110">
                  <c:v>35766</c:v>
                </c:pt>
                <c:pt idx="111">
                  <c:v>35745</c:v>
                </c:pt>
                <c:pt idx="112">
                  <c:v>35749</c:v>
                </c:pt>
                <c:pt idx="113">
                  <c:v>35468</c:v>
                </c:pt>
                <c:pt idx="114">
                  <c:v>35240</c:v>
                </c:pt>
                <c:pt idx="115">
                  <c:v>35030</c:v>
                </c:pt>
                <c:pt idx="116">
                  <c:v>35149</c:v>
                </c:pt>
                <c:pt idx="117">
                  <c:v>34701</c:v>
                </c:pt>
                <c:pt idx="118">
                  <c:v>34701</c:v>
                </c:pt>
                <c:pt idx="119">
                  <c:v>34701</c:v>
                </c:pt>
                <c:pt idx="120">
                  <c:v>34889</c:v>
                </c:pt>
                <c:pt idx="121">
                  <c:v>34747</c:v>
                </c:pt>
                <c:pt idx="122">
                  <c:v>34636</c:v>
                </c:pt>
                <c:pt idx="123">
                  <c:v>34410</c:v>
                </c:pt>
                <c:pt idx="124">
                  <c:v>33886</c:v>
                </c:pt>
                <c:pt idx="125">
                  <c:v>32774</c:v>
                </c:pt>
                <c:pt idx="126">
                  <c:v>34089</c:v>
                </c:pt>
                <c:pt idx="127">
                  <c:v>34139</c:v>
                </c:pt>
                <c:pt idx="128">
                  <c:v>34138</c:v>
                </c:pt>
                <c:pt idx="129">
                  <c:v>34239</c:v>
                </c:pt>
                <c:pt idx="130">
                  <c:v>34239</c:v>
                </c:pt>
                <c:pt idx="131">
                  <c:v>34239</c:v>
                </c:pt>
                <c:pt idx="132">
                  <c:v>34289</c:v>
                </c:pt>
                <c:pt idx="133">
                  <c:v>34349</c:v>
                </c:pt>
                <c:pt idx="134">
                  <c:v>34367</c:v>
                </c:pt>
                <c:pt idx="135">
                  <c:v>34424</c:v>
                </c:pt>
                <c:pt idx="136">
                  <c:v>34339</c:v>
                </c:pt>
                <c:pt idx="137">
                  <c:v>34389</c:v>
                </c:pt>
                <c:pt idx="138">
                  <c:v>34059</c:v>
                </c:pt>
                <c:pt idx="139">
                  <c:v>34059</c:v>
                </c:pt>
                <c:pt idx="140">
                  <c:v>34059</c:v>
                </c:pt>
                <c:pt idx="141">
                  <c:v>34059</c:v>
                </c:pt>
                <c:pt idx="142">
                  <c:v>34059</c:v>
                </c:pt>
                <c:pt idx="143">
                  <c:v>34059</c:v>
                </c:pt>
                <c:pt idx="144">
                  <c:v>34059</c:v>
                </c:pt>
                <c:pt idx="145">
                  <c:v>34059</c:v>
                </c:pt>
                <c:pt idx="146">
                  <c:v>34059</c:v>
                </c:pt>
                <c:pt idx="147">
                  <c:v>34059</c:v>
                </c:pt>
                <c:pt idx="148">
                  <c:v>33950</c:v>
                </c:pt>
                <c:pt idx="149">
                  <c:v>34695</c:v>
                </c:pt>
                <c:pt idx="150">
                  <c:v>33972</c:v>
                </c:pt>
                <c:pt idx="151">
                  <c:v>34196</c:v>
                </c:pt>
                <c:pt idx="152">
                  <c:v>34339</c:v>
                </c:pt>
                <c:pt idx="153">
                  <c:v>34508</c:v>
                </c:pt>
                <c:pt idx="154">
                  <c:v>34608</c:v>
                </c:pt>
                <c:pt idx="155">
                  <c:v>34559</c:v>
                </c:pt>
                <c:pt idx="156">
                  <c:v>34839</c:v>
                </c:pt>
                <c:pt idx="157">
                  <c:v>35066</c:v>
                </c:pt>
                <c:pt idx="158">
                  <c:v>35289</c:v>
                </c:pt>
                <c:pt idx="159">
                  <c:v>35359</c:v>
                </c:pt>
                <c:pt idx="160">
                  <c:v>35239</c:v>
                </c:pt>
                <c:pt idx="161">
                  <c:v>35617</c:v>
                </c:pt>
                <c:pt idx="162">
                  <c:v>35308</c:v>
                </c:pt>
                <c:pt idx="163">
                  <c:v>35477</c:v>
                </c:pt>
                <c:pt idx="164">
                  <c:v>35477</c:v>
                </c:pt>
                <c:pt idx="165">
                  <c:v>35508</c:v>
                </c:pt>
                <c:pt idx="166">
                  <c:v>35764</c:v>
                </c:pt>
                <c:pt idx="167">
                  <c:v>35947</c:v>
                </c:pt>
                <c:pt idx="168">
                  <c:v>35976</c:v>
                </c:pt>
                <c:pt idx="169">
                  <c:v>35939</c:v>
                </c:pt>
                <c:pt idx="170">
                  <c:v>36258</c:v>
                </c:pt>
                <c:pt idx="171">
                  <c:v>37009</c:v>
                </c:pt>
                <c:pt idx="172">
                  <c:v>37765</c:v>
                </c:pt>
                <c:pt idx="173">
                  <c:v>38443</c:v>
                </c:pt>
                <c:pt idx="174">
                  <c:v>38926</c:v>
                </c:pt>
                <c:pt idx="175">
                  <c:v>38955</c:v>
                </c:pt>
                <c:pt idx="176">
                  <c:v>38856</c:v>
                </c:pt>
                <c:pt idx="177">
                  <c:v>38359</c:v>
                </c:pt>
                <c:pt idx="178">
                  <c:v>37980</c:v>
                </c:pt>
                <c:pt idx="179">
                  <c:v>38678</c:v>
                </c:pt>
                <c:pt idx="180">
                  <c:v>38966</c:v>
                </c:pt>
                <c:pt idx="181">
                  <c:v>38769</c:v>
                </c:pt>
                <c:pt idx="182">
                  <c:v>39341</c:v>
                </c:pt>
                <c:pt idx="183">
                  <c:v>39594</c:v>
                </c:pt>
                <c:pt idx="184">
                  <c:v>40424</c:v>
                </c:pt>
                <c:pt idx="185">
                  <c:v>40388</c:v>
                </c:pt>
                <c:pt idx="186">
                  <c:v>40218</c:v>
                </c:pt>
                <c:pt idx="187">
                  <c:v>40271</c:v>
                </c:pt>
                <c:pt idx="188">
                  <c:v>40630</c:v>
                </c:pt>
                <c:pt idx="189">
                  <c:v>40546</c:v>
                </c:pt>
                <c:pt idx="190">
                  <c:v>40576</c:v>
                </c:pt>
                <c:pt idx="191">
                  <c:v>40587</c:v>
                </c:pt>
                <c:pt idx="192">
                  <c:v>40594</c:v>
                </c:pt>
                <c:pt idx="193">
                  <c:v>40358</c:v>
                </c:pt>
                <c:pt idx="194">
                  <c:v>40152</c:v>
                </c:pt>
                <c:pt idx="195">
                  <c:v>39706</c:v>
                </c:pt>
                <c:pt idx="196">
                  <c:v>39431</c:v>
                </c:pt>
                <c:pt idx="197">
                  <c:v>39070</c:v>
                </c:pt>
                <c:pt idx="198">
                  <c:v>39027</c:v>
                </c:pt>
                <c:pt idx="199">
                  <c:v>38546</c:v>
                </c:pt>
                <c:pt idx="200">
                  <c:v>38339</c:v>
                </c:pt>
                <c:pt idx="201">
                  <c:v>37905</c:v>
                </c:pt>
                <c:pt idx="202">
                  <c:v>37914</c:v>
                </c:pt>
                <c:pt idx="203">
                  <c:v>37653</c:v>
                </c:pt>
                <c:pt idx="204">
                  <c:v>37401</c:v>
                </c:pt>
                <c:pt idx="205">
                  <c:v>37439</c:v>
                </c:pt>
                <c:pt idx="206">
                  <c:v>36217</c:v>
                </c:pt>
                <c:pt idx="207">
                  <c:v>35210</c:v>
                </c:pt>
                <c:pt idx="208">
                  <c:v>35416</c:v>
                </c:pt>
                <c:pt idx="209">
                  <c:v>35353</c:v>
                </c:pt>
                <c:pt idx="210">
                  <c:v>35292</c:v>
                </c:pt>
                <c:pt idx="211">
                  <c:v>34983</c:v>
                </c:pt>
                <c:pt idx="212">
                  <c:v>34433</c:v>
                </c:pt>
                <c:pt idx="213">
                  <c:v>34208</c:v>
                </c:pt>
                <c:pt idx="214">
                  <c:v>34126</c:v>
                </c:pt>
                <c:pt idx="215">
                  <c:v>33884</c:v>
                </c:pt>
                <c:pt idx="216">
                  <c:v>33849</c:v>
                </c:pt>
                <c:pt idx="217">
                  <c:v>33818</c:v>
                </c:pt>
                <c:pt idx="218">
                  <c:v>34058</c:v>
                </c:pt>
                <c:pt idx="219">
                  <c:v>34187</c:v>
                </c:pt>
                <c:pt idx="220">
                  <c:v>34097</c:v>
                </c:pt>
                <c:pt idx="221">
                  <c:v>33750</c:v>
                </c:pt>
                <c:pt idx="222">
                  <c:v>33577</c:v>
                </c:pt>
                <c:pt idx="223">
                  <c:v>33648</c:v>
                </c:pt>
                <c:pt idx="224">
                  <c:v>33484</c:v>
                </c:pt>
                <c:pt idx="225">
                  <c:v>33187</c:v>
                </c:pt>
                <c:pt idx="226">
                  <c:v>33197</c:v>
                </c:pt>
                <c:pt idx="227">
                  <c:v>33184</c:v>
                </c:pt>
                <c:pt idx="228">
                  <c:v>33154</c:v>
                </c:pt>
                <c:pt idx="229">
                  <c:v>33097</c:v>
                </c:pt>
                <c:pt idx="230">
                  <c:v>33194</c:v>
                </c:pt>
                <c:pt idx="231">
                  <c:v>33142</c:v>
                </c:pt>
                <c:pt idx="232">
                  <c:v>33142</c:v>
                </c:pt>
                <c:pt idx="233">
                  <c:v>32981</c:v>
                </c:pt>
                <c:pt idx="234">
                  <c:v>32782</c:v>
                </c:pt>
                <c:pt idx="235">
                  <c:v>32112</c:v>
                </c:pt>
                <c:pt idx="236">
                  <c:v>31584</c:v>
                </c:pt>
                <c:pt idx="237">
                  <c:v>30935</c:v>
                </c:pt>
                <c:pt idx="238">
                  <c:v>30821</c:v>
                </c:pt>
                <c:pt idx="239">
                  <c:v>30454</c:v>
                </c:pt>
                <c:pt idx="240">
                  <c:v>29728</c:v>
                </c:pt>
                <c:pt idx="241">
                  <c:v>29040</c:v>
                </c:pt>
                <c:pt idx="242">
                  <c:v>28927</c:v>
                </c:pt>
                <c:pt idx="243">
                  <c:v>28787</c:v>
                </c:pt>
                <c:pt idx="244">
                  <c:v>28735</c:v>
                </c:pt>
                <c:pt idx="245">
                  <c:v>28727</c:v>
                </c:pt>
                <c:pt idx="246">
                  <c:v>28572</c:v>
                </c:pt>
                <c:pt idx="247">
                  <c:v>28523</c:v>
                </c:pt>
                <c:pt idx="248">
                  <c:v>28423</c:v>
                </c:pt>
                <c:pt idx="249">
                  <c:v>28679</c:v>
                </c:pt>
                <c:pt idx="250">
                  <c:v>31039</c:v>
                </c:pt>
                <c:pt idx="251">
                  <c:v>31039</c:v>
                </c:pt>
                <c:pt idx="252">
                  <c:v>31039</c:v>
                </c:pt>
                <c:pt idx="253">
                  <c:v>31039</c:v>
                </c:pt>
                <c:pt idx="254">
                  <c:v>31039</c:v>
                </c:pt>
                <c:pt idx="255">
                  <c:v>29239</c:v>
                </c:pt>
                <c:pt idx="256">
                  <c:v>29773</c:v>
                </c:pt>
                <c:pt idx="257">
                  <c:v>30913</c:v>
                </c:pt>
                <c:pt idx="258">
                  <c:v>32316</c:v>
                </c:pt>
                <c:pt idx="259">
                  <c:v>31998</c:v>
                </c:pt>
                <c:pt idx="260">
                  <c:v>31371</c:v>
                </c:pt>
                <c:pt idx="261">
                  <c:v>31386</c:v>
                </c:pt>
                <c:pt idx="262">
                  <c:v>31641</c:v>
                </c:pt>
                <c:pt idx="263">
                  <c:v>31409</c:v>
                </c:pt>
                <c:pt idx="264">
                  <c:v>31586</c:v>
                </c:pt>
                <c:pt idx="265">
                  <c:v>31475</c:v>
                </c:pt>
                <c:pt idx="266">
                  <c:v>31348</c:v>
                </c:pt>
                <c:pt idx="267">
                  <c:v>31304</c:v>
                </c:pt>
                <c:pt idx="268">
                  <c:v>31282</c:v>
                </c:pt>
                <c:pt idx="269">
                  <c:v>31362</c:v>
                </c:pt>
                <c:pt idx="270">
                  <c:v>31498</c:v>
                </c:pt>
                <c:pt idx="271">
                  <c:v>31602</c:v>
                </c:pt>
                <c:pt idx="272">
                  <c:v>32455</c:v>
                </c:pt>
                <c:pt idx="273">
                  <c:v>32812</c:v>
                </c:pt>
                <c:pt idx="274">
                  <c:v>32395</c:v>
                </c:pt>
                <c:pt idx="275">
                  <c:v>33295</c:v>
                </c:pt>
                <c:pt idx="276">
                  <c:v>33834</c:v>
                </c:pt>
                <c:pt idx="277">
                  <c:v>33457</c:v>
                </c:pt>
                <c:pt idx="278">
                  <c:v>33507</c:v>
                </c:pt>
                <c:pt idx="279">
                  <c:v>32922</c:v>
                </c:pt>
                <c:pt idx="280">
                  <c:v>32802</c:v>
                </c:pt>
                <c:pt idx="281">
                  <c:v>32641</c:v>
                </c:pt>
                <c:pt idx="282">
                  <c:v>32612</c:v>
                </c:pt>
                <c:pt idx="283">
                  <c:v>32747</c:v>
                </c:pt>
                <c:pt idx="284">
                  <c:v>32707</c:v>
                </c:pt>
                <c:pt idx="285">
                  <c:v>32701</c:v>
                </c:pt>
                <c:pt idx="286">
                  <c:v>32718</c:v>
                </c:pt>
                <c:pt idx="287">
                  <c:v>32371</c:v>
                </c:pt>
                <c:pt idx="288">
                  <c:v>32208</c:v>
                </c:pt>
                <c:pt idx="289">
                  <c:v>31993</c:v>
                </c:pt>
                <c:pt idx="290">
                  <c:v>32009</c:v>
                </c:pt>
                <c:pt idx="291">
                  <c:v>31901</c:v>
                </c:pt>
                <c:pt idx="292">
                  <c:v>31903</c:v>
                </c:pt>
                <c:pt idx="293">
                  <c:v>31943</c:v>
                </c:pt>
                <c:pt idx="294">
                  <c:v>31849</c:v>
                </c:pt>
                <c:pt idx="295">
                  <c:v>31807</c:v>
                </c:pt>
                <c:pt idx="296">
                  <c:v>31541</c:v>
                </c:pt>
                <c:pt idx="297">
                  <c:v>31291</c:v>
                </c:pt>
                <c:pt idx="298">
                  <c:v>31145</c:v>
                </c:pt>
                <c:pt idx="299">
                  <c:v>31107</c:v>
                </c:pt>
                <c:pt idx="300">
                  <c:v>30846</c:v>
                </c:pt>
                <c:pt idx="301">
                  <c:v>30754</c:v>
                </c:pt>
                <c:pt idx="302">
                  <c:v>30567</c:v>
                </c:pt>
                <c:pt idx="303">
                  <c:v>30973</c:v>
                </c:pt>
                <c:pt idx="304">
                  <c:v>30907</c:v>
                </c:pt>
                <c:pt idx="305">
                  <c:v>30907</c:v>
                </c:pt>
                <c:pt idx="306">
                  <c:v>31189</c:v>
                </c:pt>
                <c:pt idx="307">
                  <c:v>32085</c:v>
                </c:pt>
                <c:pt idx="308">
                  <c:v>31696</c:v>
                </c:pt>
                <c:pt idx="309">
                  <c:v>31006</c:v>
                </c:pt>
                <c:pt idx="310">
                  <c:v>31205</c:v>
                </c:pt>
                <c:pt idx="311">
                  <c:v>31106</c:v>
                </c:pt>
                <c:pt idx="312">
                  <c:v>31165</c:v>
                </c:pt>
                <c:pt idx="313">
                  <c:v>31786</c:v>
                </c:pt>
                <c:pt idx="314">
                  <c:v>31404</c:v>
                </c:pt>
                <c:pt idx="315">
                  <c:v>31422</c:v>
                </c:pt>
                <c:pt idx="316">
                  <c:v>32241</c:v>
                </c:pt>
                <c:pt idx="317">
                  <c:v>32013</c:v>
                </c:pt>
                <c:pt idx="318">
                  <c:v>32129</c:v>
                </c:pt>
                <c:pt idx="319">
                  <c:v>32345</c:v>
                </c:pt>
                <c:pt idx="320">
                  <c:v>32460</c:v>
                </c:pt>
                <c:pt idx="321">
                  <c:v>32491</c:v>
                </c:pt>
                <c:pt idx="322">
                  <c:v>32518</c:v>
                </c:pt>
                <c:pt idx="323">
                  <c:v>32407</c:v>
                </c:pt>
                <c:pt idx="324">
                  <c:v>32119</c:v>
                </c:pt>
                <c:pt idx="325">
                  <c:v>31541</c:v>
                </c:pt>
                <c:pt idx="326">
                  <c:v>31589</c:v>
                </c:pt>
                <c:pt idx="327">
                  <c:v>31275</c:v>
                </c:pt>
                <c:pt idx="328">
                  <c:v>30975</c:v>
                </c:pt>
                <c:pt idx="329">
                  <c:v>29973</c:v>
                </c:pt>
                <c:pt idx="330">
                  <c:v>30106</c:v>
                </c:pt>
                <c:pt idx="331">
                  <c:v>30092</c:v>
                </c:pt>
                <c:pt idx="332">
                  <c:v>30129</c:v>
                </c:pt>
                <c:pt idx="333">
                  <c:v>30009</c:v>
                </c:pt>
                <c:pt idx="334">
                  <c:v>30116</c:v>
                </c:pt>
                <c:pt idx="335">
                  <c:v>30038</c:v>
                </c:pt>
                <c:pt idx="336">
                  <c:v>30038</c:v>
                </c:pt>
                <c:pt idx="337">
                  <c:v>30702</c:v>
                </c:pt>
                <c:pt idx="338">
                  <c:v>30887</c:v>
                </c:pt>
                <c:pt idx="339">
                  <c:v>30887</c:v>
                </c:pt>
                <c:pt idx="340">
                  <c:v>29896</c:v>
                </c:pt>
                <c:pt idx="341">
                  <c:v>29975</c:v>
                </c:pt>
                <c:pt idx="342">
                  <c:v>30780</c:v>
                </c:pt>
                <c:pt idx="343">
                  <c:v>30617</c:v>
                </c:pt>
                <c:pt idx="344">
                  <c:v>31064</c:v>
                </c:pt>
                <c:pt idx="345">
                  <c:v>30692</c:v>
                </c:pt>
                <c:pt idx="346">
                  <c:v>30787</c:v>
                </c:pt>
                <c:pt idx="347">
                  <c:v>30470</c:v>
                </c:pt>
                <c:pt idx="348">
                  <c:v>30679</c:v>
                </c:pt>
                <c:pt idx="349">
                  <c:v>30980</c:v>
                </c:pt>
                <c:pt idx="350">
                  <c:v>31011</c:v>
                </c:pt>
                <c:pt idx="351">
                  <c:v>30719</c:v>
                </c:pt>
                <c:pt idx="352">
                  <c:v>30478</c:v>
                </c:pt>
                <c:pt idx="353">
                  <c:v>30493</c:v>
                </c:pt>
                <c:pt idx="354">
                  <c:v>31018</c:v>
                </c:pt>
                <c:pt idx="355">
                  <c:v>30597</c:v>
                </c:pt>
                <c:pt idx="356">
                  <c:v>30966</c:v>
                </c:pt>
                <c:pt idx="357">
                  <c:v>30575</c:v>
                </c:pt>
                <c:pt idx="358">
                  <c:v>30368</c:v>
                </c:pt>
                <c:pt idx="359">
                  <c:v>30563</c:v>
                </c:pt>
                <c:pt idx="360">
                  <c:v>30541</c:v>
                </c:pt>
                <c:pt idx="361">
                  <c:v>30546</c:v>
                </c:pt>
                <c:pt idx="362">
                  <c:v>30249</c:v>
                </c:pt>
                <c:pt idx="363">
                  <c:v>30800</c:v>
                </c:pt>
                <c:pt idx="364">
                  <c:v>30800</c:v>
                </c:pt>
                <c:pt idx="365">
                  <c:v>30441</c:v>
                </c:pt>
                <c:pt idx="366">
                  <c:v>30739</c:v>
                </c:pt>
                <c:pt idx="367">
                  <c:v>30822</c:v>
                </c:pt>
                <c:pt idx="368">
                  <c:v>30638</c:v>
                </c:pt>
                <c:pt idx="369">
                  <c:v>30397</c:v>
                </c:pt>
                <c:pt idx="370">
                  <c:v>30496</c:v>
                </c:pt>
                <c:pt idx="371">
                  <c:v>31165</c:v>
                </c:pt>
                <c:pt idx="372">
                  <c:v>31363</c:v>
                </c:pt>
                <c:pt idx="373">
                  <c:v>31509</c:v>
                </c:pt>
                <c:pt idx="374">
                  <c:v>32069</c:v>
                </c:pt>
                <c:pt idx="375">
                  <c:v>32297</c:v>
                </c:pt>
                <c:pt idx="376">
                  <c:v>32491</c:v>
                </c:pt>
                <c:pt idx="377">
                  <c:v>32440</c:v>
                </c:pt>
                <c:pt idx="378">
                  <c:v>32739</c:v>
                </c:pt>
                <c:pt idx="379">
                  <c:v>32773</c:v>
                </c:pt>
                <c:pt idx="380">
                  <c:v>32631</c:v>
                </c:pt>
                <c:pt idx="381">
                  <c:v>32868</c:v>
                </c:pt>
                <c:pt idx="382">
                  <c:v>33113</c:v>
                </c:pt>
                <c:pt idx="383">
                  <c:v>33778</c:v>
                </c:pt>
                <c:pt idx="384">
                  <c:v>34568</c:v>
                </c:pt>
                <c:pt idx="385">
                  <c:v>35379</c:v>
                </c:pt>
                <c:pt idx="386">
                  <c:v>35077</c:v>
                </c:pt>
                <c:pt idx="387">
                  <c:v>35628</c:v>
                </c:pt>
                <c:pt idx="388">
                  <c:v>36095</c:v>
                </c:pt>
                <c:pt idx="389">
                  <c:v>37033</c:v>
                </c:pt>
                <c:pt idx="390">
                  <c:v>38196</c:v>
                </c:pt>
                <c:pt idx="391">
                  <c:v>38187</c:v>
                </c:pt>
                <c:pt idx="392">
                  <c:v>39095</c:v>
                </c:pt>
                <c:pt idx="393">
                  <c:v>39837</c:v>
                </c:pt>
                <c:pt idx="394">
                  <c:v>39949</c:v>
                </c:pt>
                <c:pt idx="395">
                  <c:v>40143</c:v>
                </c:pt>
                <c:pt idx="396">
                  <c:v>40241</c:v>
                </c:pt>
                <c:pt idx="397">
                  <c:v>39733</c:v>
                </c:pt>
                <c:pt idx="398">
                  <c:v>39707</c:v>
                </c:pt>
                <c:pt idx="399">
                  <c:v>39710</c:v>
                </c:pt>
                <c:pt idx="400">
                  <c:v>39747</c:v>
                </c:pt>
                <c:pt idx="401">
                  <c:v>39870</c:v>
                </c:pt>
                <c:pt idx="402">
                  <c:v>39981</c:v>
                </c:pt>
                <c:pt idx="403">
                  <c:v>39884</c:v>
                </c:pt>
                <c:pt idx="404">
                  <c:v>39973</c:v>
                </c:pt>
                <c:pt idx="405">
                  <c:v>40029</c:v>
                </c:pt>
                <c:pt idx="406">
                  <c:v>40250</c:v>
                </c:pt>
                <c:pt idx="407">
                  <c:v>40326</c:v>
                </c:pt>
                <c:pt idx="408">
                  <c:v>37675</c:v>
                </c:pt>
                <c:pt idx="409">
                  <c:v>40581</c:v>
                </c:pt>
                <c:pt idx="410">
                  <c:v>40798</c:v>
                </c:pt>
                <c:pt idx="411">
                  <c:v>40828</c:v>
                </c:pt>
                <c:pt idx="412">
                  <c:v>40936</c:v>
                </c:pt>
                <c:pt idx="413">
                  <c:v>40985</c:v>
                </c:pt>
                <c:pt idx="414">
                  <c:v>40779</c:v>
                </c:pt>
                <c:pt idx="415">
                  <c:v>40661</c:v>
                </c:pt>
                <c:pt idx="416">
                  <c:v>40483</c:v>
                </c:pt>
                <c:pt idx="417">
                  <c:v>40617</c:v>
                </c:pt>
                <c:pt idx="418">
                  <c:v>40688</c:v>
                </c:pt>
                <c:pt idx="419">
                  <c:v>40606</c:v>
                </c:pt>
                <c:pt idx="420">
                  <c:v>40495</c:v>
                </c:pt>
                <c:pt idx="421">
                  <c:v>40403</c:v>
                </c:pt>
                <c:pt idx="422">
                  <c:v>40553</c:v>
                </c:pt>
                <c:pt idx="423">
                  <c:v>40400</c:v>
                </c:pt>
                <c:pt idx="424">
                  <c:v>40158</c:v>
                </c:pt>
                <c:pt idx="425">
                  <c:v>39806</c:v>
                </c:pt>
                <c:pt idx="426">
                  <c:v>39643</c:v>
                </c:pt>
                <c:pt idx="427">
                  <c:v>39318</c:v>
                </c:pt>
                <c:pt idx="428">
                  <c:v>39373</c:v>
                </c:pt>
                <c:pt idx="429">
                  <c:v>39048</c:v>
                </c:pt>
                <c:pt idx="430">
                  <c:v>39341</c:v>
                </c:pt>
                <c:pt idx="431">
                  <c:v>38885</c:v>
                </c:pt>
                <c:pt idx="432">
                  <c:v>38596</c:v>
                </c:pt>
                <c:pt idx="433">
                  <c:v>38059</c:v>
                </c:pt>
                <c:pt idx="434">
                  <c:v>37970</c:v>
                </c:pt>
                <c:pt idx="435">
                  <c:v>37873</c:v>
                </c:pt>
                <c:pt idx="436">
                  <c:v>37953</c:v>
                </c:pt>
                <c:pt idx="437">
                  <c:v>37985</c:v>
                </c:pt>
                <c:pt idx="438">
                  <c:v>38032</c:v>
                </c:pt>
                <c:pt idx="439">
                  <c:v>38300</c:v>
                </c:pt>
                <c:pt idx="440">
                  <c:v>38627</c:v>
                </c:pt>
                <c:pt idx="441">
                  <c:v>38616</c:v>
                </c:pt>
                <c:pt idx="442">
                  <c:v>38622</c:v>
                </c:pt>
                <c:pt idx="443">
                  <c:v>38654</c:v>
                </c:pt>
                <c:pt idx="444">
                  <c:v>38518</c:v>
                </c:pt>
                <c:pt idx="445">
                  <c:v>38417</c:v>
                </c:pt>
                <c:pt idx="446">
                  <c:v>38329</c:v>
                </c:pt>
                <c:pt idx="447">
                  <c:v>38430</c:v>
                </c:pt>
                <c:pt idx="448">
                  <c:v>38624</c:v>
                </c:pt>
                <c:pt idx="449">
                  <c:v>38399</c:v>
                </c:pt>
                <c:pt idx="450">
                  <c:v>38355</c:v>
                </c:pt>
                <c:pt idx="451">
                  <c:v>38189</c:v>
                </c:pt>
                <c:pt idx="452">
                  <c:v>38154</c:v>
                </c:pt>
                <c:pt idx="453">
                  <c:v>37704</c:v>
                </c:pt>
                <c:pt idx="454">
                  <c:v>37450</c:v>
                </c:pt>
                <c:pt idx="455">
                  <c:v>37330</c:v>
                </c:pt>
                <c:pt idx="456">
                  <c:v>37094</c:v>
                </c:pt>
                <c:pt idx="457">
                  <c:v>37606</c:v>
                </c:pt>
                <c:pt idx="458">
                  <c:v>37182</c:v>
                </c:pt>
                <c:pt idx="459">
                  <c:v>37489</c:v>
                </c:pt>
                <c:pt idx="460">
                  <c:v>37733</c:v>
                </c:pt>
                <c:pt idx="461">
                  <c:v>37763</c:v>
                </c:pt>
                <c:pt idx="462">
                  <c:v>37675</c:v>
                </c:pt>
                <c:pt idx="463">
                  <c:v>37901</c:v>
                </c:pt>
                <c:pt idx="464">
                  <c:v>37815</c:v>
                </c:pt>
                <c:pt idx="465">
                  <c:v>37444</c:v>
                </c:pt>
                <c:pt idx="466">
                  <c:v>37264</c:v>
                </c:pt>
                <c:pt idx="467">
                  <c:v>37376</c:v>
                </c:pt>
                <c:pt idx="468">
                  <c:v>36800</c:v>
                </c:pt>
                <c:pt idx="469">
                  <c:v>36330</c:v>
                </c:pt>
                <c:pt idx="470">
                  <c:v>37179</c:v>
                </c:pt>
                <c:pt idx="471">
                  <c:v>35667</c:v>
                </c:pt>
                <c:pt idx="472">
                  <c:v>36804</c:v>
                </c:pt>
                <c:pt idx="473">
                  <c:v>34595</c:v>
                </c:pt>
                <c:pt idx="474">
                  <c:v>33620</c:v>
                </c:pt>
                <c:pt idx="475">
                  <c:v>34004</c:v>
                </c:pt>
                <c:pt idx="476">
                  <c:v>33366</c:v>
                </c:pt>
                <c:pt idx="477">
                  <c:v>32538</c:v>
                </c:pt>
                <c:pt idx="478">
                  <c:v>32542</c:v>
                </c:pt>
                <c:pt idx="479">
                  <c:v>32167</c:v>
                </c:pt>
                <c:pt idx="480">
                  <c:v>32151</c:v>
                </c:pt>
                <c:pt idx="481">
                  <c:v>32179</c:v>
                </c:pt>
                <c:pt idx="482">
                  <c:v>32401</c:v>
                </c:pt>
                <c:pt idx="483">
                  <c:v>32184</c:v>
                </c:pt>
                <c:pt idx="484">
                  <c:v>32200</c:v>
                </c:pt>
                <c:pt idx="485">
                  <c:v>32162</c:v>
                </c:pt>
                <c:pt idx="486">
                  <c:v>32209</c:v>
                </c:pt>
                <c:pt idx="487">
                  <c:v>32268</c:v>
                </c:pt>
                <c:pt idx="488">
                  <c:v>32310</c:v>
                </c:pt>
                <c:pt idx="489">
                  <c:v>32241</c:v>
                </c:pt>
                <c:pt idx="490">
                  <c:v>32011</c:v>
                </c:pt>
                <c:pt idx="491">
                  <c:v>32062</c:v>
                </c:pt>
                <c:pt idx="492">
                  <c:v>32024</c:v>
                </c:pt>
                <c:pt idx="493">
                  <c:v>32015</c:v>
                </c:pt>
                <c:pt idx="494">
                  <c:v>32033</c:v>
                </c:pt>
                <c:pt idx="495">
                  <c:v>32144</c:v>
                </c:pt>
                <c:pt idx="496">
                  <c:v>32315</c:v>
                </c:pt>
                <c:pt idx="497">
                  <c:v>32195</c:v>
                </c:pt>
                <c:pt idx="498">
                  <c:v>32380</c:v>
                </c:pt>
                <c:pt idx="499">
                  <c:v>32231</c:v>
                </c:pt>
                <c:pt idx="500">
                  <c:v>32053</c:v>
                </c:pt>
                <c:pt idx="501">
                  <c:v>32002</c:v>
                </c:pt>
                <c:pt idx="502">
                  <c:v>31972</c:v>
                </c:pt>
                <c:pt idx="503">
                  <c:v>31964</c:v>
                </c:pt>
                <c:pt idx="504">
                  <c:v>32133</c:v>
                </c:pt>
                <c:pt idx="505">
                  <c:v>32114</c:v>
                </c:pt>
                <c:pt idx="506">
                  <c:v>32200</c:v>
                </c:pt>
                <c:pt idx="507">
                  <c:v>32401</c:v>
                </c:pt>
                <c:pt idx="508">
                  <c:v>32685</c:v>
                </c:pt>
                <c:pt idx="509">
                  <c:v>33156</c:v>
                </c:pt>
                <c:pt idx="510">
                  <c:v>33619</c:v>
                </c:pt>
                <c:pt idx="511">
                  <c:v>33476</c:v>
                </c:pt>
                <c:pt idx="512">
                  <c:v>33387</c:v>
                </c:pt>
                <c:pt idx="513">
                  <c:v>33583</c:v>
                </c:pt>
                <c:pt idx="514">
                  <c:v>34052</c:v>
                </c:pt>
                <c:pt idx="515">
                  <c:v>34325</c:v>
                </c:pt>
                <c:pt idx="516">
                  <c:v>34580</c:v>
                </c:pt>
                <c:pt idx="517">
                  <c:v>34464</c:v>
                </c:pt>
                <c:pt idx="518">
                  <c:v>34265</c:v>
                </c:pt>
                <c:pt idx="519">
                  <c:v>34573</c:v>
                </c:pt>
                <c:pt idx="520">
                  <c:v>34513</c:v>
                </c:pt>
                <c:pt idx="521">
                  <c:v>34547</c:v>
                </c:pt>
                <c:pt idx="522">
                  <c:v>34455</c:v>
                </c:pt>
                <c:pt idx="523">
                  <c:v>34461</c:v>
                </c:pt>
                <c:pt idx="524">
                  <c:v>34399</c:v>
                </c:pt>
                <c:pt idx="525">
                  <c:v>34731</c:v>
                </c:pt>
                <c:pt idx="526">
                  <c:v>35155</c:v>
                </c:pt>
                <c:pt idx="527">
                  <c:v>34951</c:v>
                </c:pt>
                <c:pt idx="528">
                  <c:v>35528</c:v>
                </c:pt>
                <c:pt idx="529">
                  <c:v>35396</c:v>
                </c:pt>
                <c:pt idx="530">
                  <c:v>35521</c:v>
                </c:pt>
                <c:pt idx="531">
                  <c:v>35595</c:v>
                </c:pt>
                <c:pt idx="532">
                  <c:v>35487</c:v>
                </c:pt>
                <c:pt idx="533">
                  <c:v>35393</c:v>
                </c:pt>
                <c:pt idx="534">
                  <c:v>35203</c:v>
                </c:pt>
                <c:pt idx="535">
                  <c:v>35252</c:v>
                </c:pt>
                <c:pt idx="536">
                  <c:v>35622</c:v>
                </c:pt>
                <c:pt idx="537">
                  <c:v>35894</c:v>
                </c:pt>
                <c:pt idx="538">
                  <c:v>37563</c:v>
                </c:pt>
                <c:pt idx="539">
                  <c:v>37251</c:v>
                </c:pt>
                <c:pt idx="540">
                  <c:v>36715</c:v>
                </c:pt>
                <c:pt idx="541">
                  <c:v>36786</c:v>
                </c:pt>
                <c:pt idx="542">
                  <c:v>36820</c:v>
                </c:pt>
                <c:pt idx="543">
                  <c:v>36899</c:v>
                </c:pt>
                <c:pt idx="544">
                  <c:v>36790</c:v>
                </c:pt>
                <c:pt idx="545">
                  <c:v>36599</c:v>
                </c:pt>
                <c:pt idx="546">
                  <c:v>36463</c:v>
                </c:pt>
                <c:pt idx="547">
                  <c:v>35984</c:v>
                </c:pt>
                <c:pt idx="548">
                  <c:v>35792</c:v>
                </c:pt>
                <c:pt idx="549">
                  <c:v>35885</c:v>
                </c:pt>
                <c:pt idx="550">
                  <c:v>35896</c:v>
                </c:pt>
                <c:pt idx="551">
                  <c:v>35906</c:v>
                </c:pt>
                <c:pt idx="552">
                  <c:v>35797</c:v>
                </c:pt>
                <c:pt idx="553">
                  <c:v>35624</c:v>
                </c:pt>
                <c:pt idx="554">
                  <c:v>35683</c:v>
                </c:pt>
                <c:pt idx="555">
                  <c:v>35748</c:v>
                </c:pt>
                <c:pt idx="556">
                  <c:v>35803</c:v>
                </c:pt>
                <c:pt idx="557">
                  <c:v>36066</c:v>
                </c:pt>
                <c:pt idx="558">
                  <c:v>36135</c:v>
                </c:pt>
                <c:pt idx="559">
                  <c:v>36414</c:v>
                </c:pt>
                <c:pt idx="560">
                  <c:v>36288</c:v>
                </c:pt>
                <c:pt idx="561">
                  <c:v>36111</c:v>
                </c:pt>
                <c:pt idx="562">
                  <c:v>36070</c:v>
                </c:pt>
                <c:pt idx="563">
                  <c:v>36137</c:v>
                </c:pt>
                <c:pt idx="564">
                  <c:v>36251</c:v>
                </c:pt>
                <c:pt idx="565">
                  <c:v>36125</c:v>
                </c:pt>
                <c:pt idx="566">
                  <c:v>36014</c:v>
                </c:pt>
                <c:pt idx="567">
                  <c:v>35944</c:v>
                </c:pt>
                <c:pt idx="568">
                  <c:v>35820</c:v>
                </c:pt>
                <c:pt idx="575">
                  <c:v>35842</c:v>
                </c:pt>
                <c:pt idx="576">
                  <c:v>35911</c:v>
                </c:pt>
                <c:pt idx="577">
                  <c:v>36228</c:v>
                </c:pt>
                <c:pt idx="578">
                  <c:v>36117</c:v>
                </c:pt>
                <c:pt idx="579">
                  <c:v>36054</c:v>
                </c:pt>
                <c:pt idx="580">
                  <c:v>36186</c:v>
                </c:pt>
                <c:pt idx="581">
                  <c:v>36289</c:v>
                </c:pt>
                <c:pt idx="582">
                  <c:v>36391</c:v>
                </c:pt>
                <c:pt idx="583">
                  <c:v>36427</c:v>
                </c:pt>
                <c:pt idx="584">
                  <c:v>36562</c:v>
                </c:pt>
                <c:pt idx="585">
                  <c:v>36857</c:v>
                </c:pt>
                <c:pt idx="586">
                  <c:v>37361</c:v>
                </c:pt>
                <c:pt idx="587">
                  <c:v>37521</c:v>
                </c:pt>
                <c:pt idx="588">
                  <c:v>37546</c:v>
                </c:pt>
                <c:pt idx="589">
                  <c:v>37518</c:v>
                </c:pt>
                <c:pt idx="590">
                  <c:v>37547</c:v>
                </c:pt>
                <c:pt idx="591">
                  <c:v>37705</c:v>
                </c:pt>
                <c:pt idx="592">
                  <c:v>37932</c:v>
                </c:pt>
                <c:pt idx="593">
                  <c:v>37925</c:v>
                </c:pt>
                <c:pt idx="594">
                  <c:v>37897</c:v>
                </c:pt>
                <c:pt idx="595">
                  <c:v>37934</c:v>
                </c:pt>
                <c:pt idx="596">
                  <c:v>38070</c:v>
                </c:pt>
                <c:pt idx="597">
                  <c:v>38377</c:v>
                </c:pt>
                <c:pt idx="598">
                  <c:v>38433</c:v>
                </c:pt>
                <c:pt idx="599">
                  <c:v>38585</c:v>
                </c:pt>
                <c:pt idx="600">
                  <c:v>38429</c:v>
                </c:pt>
                <c:pt idx="601">
                  <c:v>38453</c:v>
                </c:pt>
                <c:pt idx="602">
                  <c:v>38463</c:v>
                </c:pt>
                <c:pt idx="603">
                  <c:v>38348</c:v>
                </c:pt>
                <c:pt idx="604">
                  <c:v>38323</c:v>
                </c:pt>
                <c:pt idx="605">
                  <c:v>38459</c:v>
                </c:pt>
                <c:pt idx="606">
                  <c:v>38588</c:v>
                </c:pt>
                <c:pt idx="607">
                  <c:v>38917</c:v>
                </c:pt>
                <c:pt idx="608">
                  <c:v>39118</c:v>
                </c:pt>
                <c:pt idx="609">
                  <c:v>39433</c:v>
                </c:pt>
                <c:pt idx="610">
                  <c:v>39670</c:v>
                </c:pt>
                <c:pt idx="611">
                  <c:v>39818</c:v>
                </c:pt>
                <c:pt idx="612">
                  <c:v>39964</c:v>
                </c:pt>
                <c:pt idx="613">
                  <c:v>39915</c:v>
                </c:pt>
                <c:pt idx="614">
                  <c:v>40180</c:v>
                </c:pt>
                <c:pt idx="615">
                  <c:v>40320</c:v>
                </c:pt>
                <c:pt idx="616">
                  <c:v>40363</c:v>
                </c:pt>
                <c:pt idx="617">
                  <c:v>40532</c:v>
                </c:pt>
                <c:pt idx="618">
                  <c:v>40519</c:v>
                </c:pt>
                <c:pt idx="619">
                  <c:v>40834</c:v>
                </c:pt>
                <c:pt idx="620">
                  <c:v>41015</c:v>
                </c:pt>
                <c:pt idx="621">
                  <c:v>41042</c:v>
                </c:pt>
                <c:pt idx="622">
                  <c:v>41196</c:v>
                </c:pt>
                <c:pt idx="623">
                  <c:v>41564</c:v>
                </c:pt>
                <c:pt idx="624">
                  <c:v>41600</c:v>
                </c:pt>
                <c:pt idx="625">
                  <c:v>41293</c:v>
                </c:pt>
                <c:pt idx="626">
                  <c:v>40870</c:v>
                </c:pt>
                <c:pt idx="627">
                  <c:v>40849</c:v>
                </c:pt>
                <c:pt idx="628">
                  <c:v>40711</c:v>
                </c:pt>
                <c:pt idx="629">
                  <c:v>40669</c:v>
                </c:pt>
                <c:pt idx="630">
                  <c:v>40647</c:v>
                </c:pt>
                <c:pt idx="631">
                  <c:v>40684</c:v>
                </c:pt>
                <c:pt idx="632">
                  <c:v>40844</c:v>
                </c:pt>
                <c:pt idx="633">
                  <c:v>40878</c:v>
                </c:pt>
                <c:pt idx="634">
                  <c:v>41084</c:v>
                </c:pt>
                <c:pt idx="635">
                  <c:v>41383</c:v>
                </c:pt>
                <c:pt idx="636">
                  <c:v>41405</c:v>
                </c:pt>
                <c:pt idx="637">
                  <c:v>41505</c:v>
                </c:pt>
                <c:pt idx="638">
                  <c:v>41626</c:v>
                </c:pt>
                <c:pt idx="639">
                  <c:v>41736</c:v>
                </c:pt>
                <c:pt idx="640">
                  <c:v>41728</c:v>
                </c:pt>
                <c:pt idx="641">
                  <c:v>41651</c:v>
                </c:pt>
                <c:pt idx="642">
                  <c:v>41533</c:v>
                </c:pt>
                <c:pt idx="643">
                  <c:v>41602</c:v>
                </c:pt>
                <c:pt idx="644">
                  <c:v>41603</c:v>
                </c:pt>
                <c:pt idx="645">
                  <c:v>41556</c:v>
                </c:pt>
                <c:pt idx="646">
                  <c:v>41506</c:v>
                </c:pt>
                <c:pt idx="647">
                  <c:v>41385</c:v>
                </c:pt>
                <c:pt idx="648">
                  <c:v>41229</c:v>
                </c:pt>
                <c:pt idx="649">
                  <c:v>41167</c:v>
                </c:pt>
                <c:pt idx="650">
                  <c:v>41137</c:v>
                </c:pt>
                <c:pt idx="651">
                  <c:v>41212</c:v>
                </c:pt>
                <c:pt idx="652">
                  <c:v>41397</c:v>
                </c:pt>
                <c:pt idx="653">
                  <c:v>41614</c:v>
                </c:pt>
                <c:pt idx="654">
                  <c:v>41579</c:v>
                </c:pt>
                <c:pt idx="655">
                  <c:v>41630</c:v>
                </c:pt>
                <c:pt idx="656">
                  <c:v>41642</c:v>
                </c:pt>
                <c:pt idx="657">
                  <c:v>41724</c:v>
                </c:pt>
                <c:pt idx="658">
                  <c:v>41828</c:v>
                </c:pt>
                <c:pt idx="659">
                  <c:v>41837</c:v>
                </c:pt>
                <c:pt idx="660">
                  <c:v>41756</c:v>
                </c:pt>
                <c:pt idx="661">
                  <c:v>41856</c:v>
                </c:pt>
                <c:pt idx="662">
                  <c:v>42091</c:v>
                </c:pt>
                <c:pt idx="663">
                  <c:v>42401</c:v>
                </c:pt>
                <c:pt idx="664">
                  <c:v>42516</c:v>
                </c:pt>
                <c:pt idx="665">
                  <c:v>42528</c:v>
                </c:pt>
                <c:pt idx="666">
                  <c:v>42504</c:v>
                </c:pt>
                <c:pt idx="667">
                  <c:v>42422</c:v>
                </c:pt>
                <c:pt idx="668">
                  <c:v>42217</c:v>
                </c:pt>
                <c:pt idx="669">
                  <c:v>41961</c:v>
                </c:pt>
                <c:pt idx="670">
                  <c:v>41889</c:v>
                </c:pt>
                <c:pt idx="671">
                  <c:v>41889</c:v>
                </c:pt>
                <c:pt idx="672">
                  <c:v>42041</c:v>
                </c:pt>
                <c:pt idx="673">
                  <c:v>42270</c:v>
                </c:pt>
                <c:pt idx="674">
                  <c:v>42373</c:v>
                </c:pt>
                <c:pt idx="675">
                  <c:v>42345</c:v>
                </c:pt>
                <c:pt idx="676">
                  <c:v>42355</c:v>
                </c:pt>
                <c:pt idx="677">
                  <c:v>42462</c:v>
                </c:pt>
                <c:pt idx="678">
                  <c:v>42576</c:v>
                </c:pt>
                <c:pt idx="679">
                  <c:v>42738</c:v>
                </c:pt>
                <c:pt idx="680">
                  <c:v>43187</c:v>
                </c:pt>
                <c:pt idx="681">
                  <c:v>43306</c:v>
                </c:pt>
                <c:pt idx="682">
                  <c:v>43422</c:v>
                </c:pt>
                <c:pt idx="683">
                  <c:v>43969</c:v>
                </c:pt>
                <c:pt idx="684">
                  <c:v>43731</c:v>
                </c:pt>
                <c:pt idx="685">
                  <c:v>43852</c:v>
                </c:pt>
                <c:pt idx="686">
                  <c:v>43935</c:v>
                </c:pt>
                <c:pt idx="687">
                  <c:v>43997</c:v>
                </c:pt>
                <c:pt idx="688">
                  <c:v>44187</c:v>
                </c:pt>
                <c:pt idx="689">
                  <c:v>44338</c:v>
                </c:pt>
                <c:pt idx="690">
                  <c:v>44376</c:v>
                </c:pt>
                <c:pt idx="691">
                  <c:v>44459</c:v>
                </c:pt>
                <c:pt idx="692">
                  <c:v>44716</c:v>
                </c:pt>
                <c:pt idx="693">
                  <c:v>44952</c:v>
                </c:pt>
                <c:pt idx="694">
                  <c:v>45252</c:v>
                </c:pt>
                <c:pt idx="695">
                  <c:v>45359</c:v>
                </c:pt>
                <c:pt idx="696">
                  <c:v>45233</c:v>
                </c:pt>
                <c:pt idx="697">
                  <c:v>44955</c:v>
                </c:pt>
                <c:pt idx="698">
                  <c:v>44002</c:v>
                </c:pt>
                <c:pt idx="699">
                  <c:v>43145</c:v>
                </c:pt>
                <c:pt idx="700">
                  <c:v>42847</c:v>
                </c:pt>
                <c:pt idx="701">
                  <c:v>42869</c:v>
                </c:pt>
                <c:pt idx="702">
                  <c:v>43007</c:v>
                </c:pt>
                <c:pt idx="703">
                  <c:v>42834</c:v>
                </c:pt>
                <c:pt idx="704">
                  <c:v>42041</c:v>
                </c:pt>
                <c:pt idx="705">
                  <c:v>41895</c:v>
                </c:pt>
                <c:pt idx="706">
                  <c:v>41825</c:v>
                </c:pt>
                <c:pt idx="707">
                  <c:v>41768</c:v>
                </c:pt>
                <c:pt idx="708">
                  <c:v>41528</c:v>
                </c:pt>
                <c:pt idx="709">
                  <c:v>41295</c:v>
                </c:pt>
                <c:pt idx="710">
                  <c:v>41961</c:v>
                </c:pt>
                <c:pt idx="711">
                  <c:v>41732</c:v>
                </c:pt>
                <c:pt idx="712">
                  <c:v>41494</c:v>
                </c:pt>
                <c:pt idx="713">
                  <c:v>40799</c:v>
                </c:pt>
                <c:pt idx="714">
                  <c:v>40646</c:v>
                </c:pt>
                <c:pt idx="715">
                  <c:v>40401</c:v>
                </c:pt>
                <c:pt idx="716">
                  <c:v>40147</c:v>
                </c:pt>
                <c:pt idx="717">
                  <c:v>39632</c:v>
                </c:pt>
                <c:pt idx="718">
                  <c:v>39062</c:v>
                </c:pt>
                <c:pt idx="719">
                  <c:v>39029</c:v>
                </c:pt>
                <c:pt idx="720">
                  <c:v>38617</c:v>
                </c:pt>
                <c:pt idx="721">
                  <c:v>37543</c:v>
                </c:pt>
                <c:pt idx="722">
                  <c:v>36592</c:v>
                </c:pt>
                <c:pt idx="723">
                  <c:v>36016</c:v>
                </c:pt>
                <c:pt idx="724">
                  <c:v>35804</c:v>
                </c:pt>
                <c:pt idx="725">
                  <c:v>35758</c:v>
                </c:pt>
                <c:pt idx="726">
                  <c:v>35765</c:v>
                </c:pt>
                <c:pt idx="727">
                  <c:v>35633</c:v>
                </c:pt>
                <c:pt idx="728">
                  <c:v>34596</c:v>
                </c:pt>
                <c:pt idx="729">
                  <c:v>33952</c:v>
                </c:pt>
                <c:pt idx="730">
                  <c:v>33383</c:v>
                </c:pt>
                <c:pt idx="731">
                  <c:v>33354</c:v>
                </c:pt>
                <c:pt idx="732">
                  <c:v>33444</c:v>
                </c:pt>
                <c:pt idx="733">
                  <c:v>33538</c:v>
                </c:pt>
                <c:pt idx="734">
                  <c:v>33520</c:v>
                </c:pt>
                <c:pt idx="735">
                  <c:v>32779</c:v>
                </c:pt>
                <c:pt idx="736">
                  <c:v>32024</c:v>
                </c:pt>
                <c:pt idx="737">
                  <c:v>31815</c:v>
                </c:pt>
                <c:pt idx="738">
                  <c:v>32099</c:v>
                </c:pt>
                <c:pt idx="739">
                  <c:v>32726</c:v>
                </c:pt>
                <c:pt idx="740">
                  <c:v>33800</c:v>
                </c:pt>
                <c:pt idx="741">
                  <c:v>33940</c:v>
                </c:pt>
                <c:pt idx="742">
                  <c:v>33869</c:v>
                </c:pt>
                <c:pt idx="743">
                  <c:v>34588</c:v>
                </c:pt>
                <c:pt idx="744">
                  <c:v>34432</c:v>
                </c:pt>
                <c:pt idx="745">
                  <c:v>34443</c:v>
                </c:pt>
                <c:pt idx="746">
                  <c:v>34510</c:v>
                </c:pt>
                <c:pt idx="747">
                  <c:v>34279</c:v>
                </c:pt>
                <c:pt idx="748">
                  <c:v>33866</c:v>
                </c:pt>
                <c:pt idx="749">
                  <c:v>34009</c:v>
                </c:pt>
                <c:pt idx="750">
                  <c:v>33928</c:v>
                </c:pt>
                <c:pt idx="751">
                  <c:v>32683</c:v>
                </c:pt>
                <c:pt idx="752">
                  <c:v>32337</c:v>
                </c:pt>
                <c:pt idx="753">
                  <c:v>32491</c:v>
                </c:pt>
                <c:pt idx="754">
                  <c:v>32962</c:v>
                </c:pt>
                <c:pt idx="755">
                  <c:v>3385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Индексы_Мир_СПбМТСБ!$K$2</c:f>
              <c:strCache>
                <c:ptCount val="1"/>
                <c:pt idx="0">
                  <c:v>Индекс СПбМТСБ-ДТ летнее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Индексы_Мир_СПбМТСБ!$F$707:$F$1462</c:f>
              <c:numCache>
                <c:formatCode>m/d/yyyy</c:formatCode>
                <c:ptCount val="756"/>
                <c:pt idx="0">
                  <c:v>40911</c:v>
                </c:pt>
                <c:pt idx="1">
                  <c:v>40912</c:v>
                </c:pt>
                <c:pt idx="2">
                  <c:v>40913</c:v>
                </c:pt>
                <c:pt idx="3">
                  <c:v>40914</c:v>
                </c:pt>
                <c:pt idx="4">
                  <c:v>40917</c:v>
                </c:pt>
                <c:pt idx="5">
                  <c:v>40918</c:v>
                </c:pt>
                <c:pt idx="6">
                  <c:v>40919</c:v>
                </c:pt>
                <c:pt idx="7">
                  <c:v>40920</c:v>
                </c:pt>
                <c:pt idx="8">
                  <c:v>40921</c:v>
                </c:pt>
                <c:pt idx="9">
                  <c:v>40924</c:v>
                </c:pt>
                <c:pt idx="10">
                  <c:v>40925</c:v>
                </c:pt>
                <c:pt idx="11">
                  <c:v>40926</c:v>
                </c:pt>
                <c:pt idx="12">
                  <c:v>40927</c:v>
                </c:pt>
                <c:pt idx="13">
                  <c:v>40928</c:v>
                </c:pt>
                <c:pt idx="14">
                  <c:v>40931</c:v>
                </c:pt>
                <c:pt idx="15">
                  <c:v>40932</c:v>
                </c:pt>
                <c:pt idx="16">
                  <c:v>40933</c:v>
                </c:pt>
                <c:pt idx="17">
                  <c:v>40934</c:v>
                </c:pt>
                <c:pt idx="18">
                  <c:v>40935</c:v>
                </c:pt>
                <c:pt idx="19">
                  <c:v>40938</c:v>
                </c:pt>
                <c:pt idx="20">
                  <c:v>40939</c:v>
                </c:pt>
                <c:pt idx="21">
                  <c:v>40940</c:v>
                </c:pt>
                <c:pt idx="22">
                  <c:v>40941</c:v>
                </c:pt>
                <c:pt idx="23">
                  <c:v>40942</c:v>
                </c:pt>
                <c:pt idx="24">
                  <c:v>40945</c:v>
                </c:pt>
                <c:pt idx="25">
                  <c:v>40946</c:v>
                </c:pt>
                <c:pt idx="26">
                  <c:v>40947</c:v>
                </c:pt>
                <c:pt idx="27">
                  <c:v>40948</c:v>
                </c:pt>
                <c:pt idx="28">
                  <c:v>40949</c:v>
                </c:pt>
                <c:pt idx="29">
                  <c:v>40952</c:v>
                </c:pt>
                <c:pt idx="30">
                  <c:v>40953</c:v>
                </c:pt>
                <c:pt idx="31">
                  <c:v>40954</c:v>
                </c:pt>
                <c:pt idx="32">
                  <c:v>40955</c:v>
                </c:pt>
                <c:pt idx="33">
                  <c:v>40956</c:v>
                </c:pt>
                <c:pt idx="34">
                  <c:v>40959</c:v>
                </c:pt>
                <c:pt idx="35">
                  <c:v>40960</c:v>
                </c:pt>
                <c:pt idx="36">
                  <c:v>40961</c:v>
                </c:pt>
                <c:pt idx="37">
                  <c:v>40963</c:v>
                </c:pt>
                <c:pt idx="38">
                  <c:v>40966</c:v>
                </c:pt>
                <c:pt idx="39">
                  <c:v>40967</c:v>
                </c:pt>
                <c:pt idx="40">
                  <c:v>40968</c:v>
                </c:pt>
                <c:pt idx="41">
                  <c:v>40969</c:v>
                </c:pt>
                <c:pt idx="42">
                  <c:v>40970</c:v>
                </c:pt>
                <c:pt idx="43">
                  <c:v>40973</c:v>
                </c:pt>
                <c:pt idx="44">
                  <c:v>40974</c:v>
                </c:pt>
                <c:pt idx="45">
                  <c:v>40975</c:v>
                </c:pt>
                <c:pt idx="46">
                  <c:v>40979</c:v>
                </c:pt>
                <c:pt idx="47">
                  <c:v>40980</c:v>
                </c:pt>
                <c:pt idx="48">
                  <c:v>40981</c:v>
                </c:pt>
                <c:pt idx="49">
                  <c:v>40982</c:v>
                </c:pt>
                <c:pt idx="50">
                  <c:v>40983</c:v>
                </c:pt>
                <c:pt idx="51">
                  <c:v>40984</c:v>
                </c:pt>
                <c:pt idx="52">
                  <c:v>40987</c:v>
                </c:pt>
                <c:pt idx="53">
                  <c:v>40988</c:v>
                </c:pt>
                <c:pt idx="54">
                  <c:v>40989</c:v>
                </c:pt>
                <c:pt idx="55">
                  <c:v>40990</c:v>
                </c:pt>
                <c:pt idx="56">
                  <c:v>40991</c:v>
                </c:pt>
                <c:pt idx="57">
                  <c:v>40994</c:v>
                </c:pt>
                <c:pt idx="58">
                  <c:v>40995</c:v>
                </c:pt>
                <c:pt idx="59">
                  <c:v>40996</c:v>
                </c:pt>
                <c:pt idx="60">
                  <c:v>40997</c:v>
                </c:pt>
                <c:pt idx="61">
                  <c:v>40998</c:v>
                </c:pt>
                <c:pt idx="62">
                  <c:v>41001</c:v>
                </c:pt>
                <c:pt idx="63">
                  <c:v>41002</c:v>
                </c:pt>
                <c:pt idx="64">
                  <c:v>41003</c:v>
                </c:pt>
                <c:pt idx="65">
                  <c:v>41004</c:v>
                </c:pt>
                <c:pt idx="66">
                  <c:v>41005</c:v>
                </c:pt>
                <c:pt idx="67">
                  <c:v>41008</c:v>
                </c:pt>
                <c:pt idx="68">
                  <c:v>41009</c:v>
                </c:pt>
                <c:pt idx="69">
                  <c:v>41010</c:v>
                </c:pt>
                <c:pt idx="70">
                  <c:v>41011</c:v>
                </c:pt>
                <c:pt idx="71">
                  <c:v>41012</c:v>
                </c:pt>
                <c:pt idx="72">
                  <c:v>41015</c:v>
                </c:pt>
                <c:pt idx="73">
                  <c:v>41016</c:v>
                </c:pt>
                <c:pt idx="74">
                  <c:v>41017</c:v>
                </c:pt>
                <c:pt idx="75">
                  <c:v>41018</c:v>
                </c:pt>
                <c:pt idx="76">
                  <c:v>41019</c:v>
                </c:pt>
                <c:pt idx="77">
                  <c:v>41022</c:v>
                </c:pt>
                <c:pt idx="78">
                  <c:v>41023</c:v>
                </c:pt>
                <c:pt idx="79">
                  <c:v>41024</c:v>
                </c:pt>
                <c:pt idx="80">
                  <c:v>41025</c:v>
                </c:pt>
                <c:pt idx="81">
                  <c:v>41026</c:v>
                </c:pt>
                <c:pt idx="82">
                  <c:v>41027</c:v>
                </c:pt>
                <c:pt idx="83">
                  <c:v>41031</c:v>
                </c:pt>
                <c:pt idx="84">
                  <c:v>41032</c:v>
                </c:pt>
                <c:pt idx="85">
                  <c:v>41033</c:v>
                </c:pt>
                <c:pt idx="86">
                  <c:v>41034</c:v>
                </c:pt>
                <c:pt idx="87">
                  <c:v>41036</c:v>
                </c:pt>
                <c:pt idx="88">
                  <c:v>41037</c:v>
                </c:pt>
                <c:pt idx="89">
                  <c:v>41039</c:v>
                </c:pt>
                <c:pt idx="90">
                  <c:v>41040</c:v>
                </c:pt>
                <c:pt idx="91">
                  <c:v>41041</c:v>
                </c:pt>
                <c:pt idx="92">
                  <c:v>41043</c:v>
                </c:pt>
                <c:pt idx="93">
                  <c:v>41044</c:v>
                </c:pt>
                <c:pt idx="94">
                  <c:v>41045</c:v>
                </c:pt>
                <c:pt idx="95">
                  <c:v>41046</c:v>
                </c:pt>
                <c:pt idx="96">
                  <c:v>41047</c:v>
                </c:pt>
                <c:pt idx="97">
                  <c:v>41050</c:v>
                </c:pt>
                <c:pt idx="98">
                  <c:v>41051</c:v>
                </c:pt>
                <c:pt idx="99">
                  <c:v>41052</c:v>
                </c:pt>
                <c:pt idx="100">
                  <c:v>41053</c:v>
                </c:pt>
                <c:pt idx="101">
                  <c:v>41054</c:v>
                </c:pt>
                <c:pt idx="102">
                  <c:v>41057</c:v>
                </c:pt>
                <c:pt idx="103">
                  <c:v>41058</c:v>
                </c:pt>
                <c:pt idx="104">
                  <c:v>41059</c:v>
                </c:pt>
                <c:pt idx="105">
                  <c:v>41060</c:v>
                </c:pt>
                <c:pt idx="106">
                  <c:v>41061</c:v>
                </c:pt>
                <c:pt idx="107">
                  <c:v>41064</c:v>
                </c:pt>
                <c:pt idx="108">
                  <c:v>41065</c:v>
                </c:pt>
                <c:pt idx="109">
                  <c:v>41066</c:v>
                </c:pt>
                <c:pt idx="110">
                  <c:v>41067</c:v>
                </c:pt>
                <c:pt idx="111">
                  <c:v>41068</c:v>
                </c:pt>
                <c:pt idx="112">
                  <c:v>41069</c:v>
                </c:pt>
                <c:pt idx="113">
                  <c:v>41073</c:v>
                </c:pt>
                <c:pt idx="114">
                  <c:v>41074</c:v>
                </c:pt>
                <c:pt idx="115">
                  <c:v>41075</c:v>
                </c:pt>
                <c:pt idx="116">
                  <c:v>41078</c:v>
                </c:pt>
                <c:pt idx="117">
                  <c:v>41079</c:v>
                </c:pt>
                <c:pt idx="118">
                  <c:v>41080</c:v>
                </c:pt>
                <c:pt idx="119">
                  <c:v>41081</c:v>
                </c:pt>
                <c:pt idx="120">
                  <c:v>41082</c:v>
                </c:pt>
                <c:pt idx="121">
                  <c:v>41085</c:v>
                </c:pt>
                <c:pt idx="122">
                  <c:v>41086</c:v>
                </c:pt>
                <c:pt idx="123">
                  <c:v>41087</c:v>
                </c:pt>
                <c:pt idx="124">
                  <c:v>41088</c:v>
                </c:pt>
                <c:pt idx="125">
                  <c:v>41089</c:v>
                </c:pt>
                <c:pt idx="126">
                  <c:v>41092</c:v>
                </c:pt>
                <c:pt idx="127">
                  <c:v>41093</c:v>
                </c:pt>
                <c:pt idx="128">
                  <c:v>41094</c:v>
                </c:pt>
                <c:pt idx="129">
                  <c:v>41095</c:v>
                </c:pt>
                <c:pt idx="130">
                  <c:v>41096</c:v>
                </c:pt>
                <c:pt idx="131">
                  <c:v>41099</c:v>
                </c:pt>
                <c:pt idx="132">
                  <c:v>41100</c:v>
                </c:pt>
                <c:pt idx="133">
                  <c:v>41101</c:v>
                </c:pt>
                <c:pt idx="134">
                  <c:v>41102</c:v>
                </c:pt>
                <c:pt idx="135">
                  <c:v>41103</c:v>
                </c:pt>
                <c:pt idx="136">
                  <c:v>41106</c:v>
                </c:pt>
                <c:pt idx="137">
                  <c:v>41107</c:v>
                </c:pt>
                <c:pt idx="138">
                  <c:v>41108</c:v>
                </c:pt>
                <c:pt idx="139">
                  <c:v>41109</c:v>
                </c:pt>
                <c:pt idx="140">
                  <c:v>41110</c:v>
                </c:pt>
                <c:pt idx="141">
                  <c:v>41113</c:v>
                </c:pt>
                <c:pt idx="142">
                  <c:v>41114</c:v>
                </c:pt>
                <c:pt idx="143">
                  <c:v>41115</c:v>
                </c:pt>
                <c:pt idx="144">
                  <c:v>41116</c:v>
                </c:pt>
                <c:pt idx="145">
                  <c:v>41117</c:v>
                </c:pt>
                <c:pt idx="146">
                  <c:v>41120</c:v>
                </c:pt>
                <c:pt idx="147">
                  <c:v>41121</c:v>
                </c:pt>
                <c:pt idx="148">
                  <c:v>41122</c:v>
                </c:pt>
                <c:pt idx="149">
                  <c:v>41123</c:v>
                </c:pt>
                <c:pt idx="150">
                  <c:v>41124</c:v>
                </c:pt>
                <c:pt idx="151">
                  <c:v>41127</c:v>
                </c:pt>
                <c:pt idx="152">
                  <c:v>41128</c:v>
                </c:pt>
                <c:pt idx="153">
                  <c:v>41129</c:v>
                </c:pt>
                <c:pt idx="154">
                  <c:v>41130</c:v>
                </c:pt>
                <c:pt idx="155">
                  <c:v>41131</c:v>
                </c:pt>
                <c:pt idx="156">
                  <c:v>41134</c:v>
                </c:pt>
                <c:pt idx="157">
                  <c:v>41135</c:v>
                </c:pt>
                <c:pt idx="158">
                  <c:v>41136</c:v>
                </c:pt>
                <c:pt idx="159">
                  <c:v>41137</c:v>
                </c:pt>
                <c:pt idx="160">
                  <c:v>41138</c:v>
                </c:pt>
                <c:pt idx="161">
                  <c:v>41141</c:v>
                </c:pt>
                <c:pt idx="162">
                  <c:v>41142</c:v>
                </c:pt>
                <c:pt idx="163">
                  <c:v>41143</c:v>
                </c:pt>
                <c:pt idx="164">
                  <c:v>41144</c:v>
                </c:pt>
                <c:pt idx="165">
                  <c:v>41145</c:v>
                </c:pt>
                <c:pt idx="166">
                  <c:v>41148</c:v>
                </c:pt>
                <c:pt idx="167">
                  <c:v>41149</c:v>
                </c:pt>
                <c:pt idx="168">
                  <c:v>41150</c:v>
                </c:pt>
                <c:pt idx="169">
                  <c:v>41151</c:v>
                </c:pt>
                <c:pt idx="170">
                  <c:v>41152</c:v>
                </c:pt>
                <c:pt idx="171">
                  <c:v>41155</c:v>
                </c:pt>
                <c:pt idx="172">
                  <c:v>41156</c:v>
                </c:pt>
                <c:pt idx="173">
                  <c:v>41157</c:v>
                </c:pt>
                <c:pt idx="174">
                  <c:v>41158</c:v>
                </c:pt>
                <c:pt idx="175">
                  <c:v>41159</c:v>
                </c:pt>
                <c:pt idx="176">
                  <c:v>41162</c:v>
                </c:pt>
                <c:pt idx="177">
                  <c:v>41163</c:v>
                </c:pt>
                <c:pt idx="178">
                  <c:v>41164</c:v>
                </c:pt>
                <c:pt idx="179">
                  <c:v>41165</c:v>
                </c:pt>
                <c:pt idx="180">
                  <c:v>41166</c:v>
                </c:pt>
                <c:pt idx="181">
                  <c:v>41169</c:v>
                </c:pt>
                <c:pt idx="182">
                  <c:v>41170</c:v>
                </c:pt>
                <c:pt idx="183">
                  <c:v>41171</c:v>
                </c:pt>
                <c:pt idx="184">
                  <c:v>41172</c:v>
                </c:pt>
                <c:pt idx="185">
                  <c:v>41173</c:v>
                </c:pt>
                <c:pt idx="186">
                  <c:v>41176</c:v>
                </c:pt>
                <c:pt idx="187">
                  <c:v>41177</c:v>
                </c:pt>
                <c:pt idx="188">
                  <c:v>41178</c:v>
                </c:pt>
                <c:pt idx="189">
                  <c:v>41179</c:v>
                </c:pt>
                <c:pt idx="190">
                  <c:v>41180</c:v>
                </c:pt>
                <c:pt idx="191">
                  <c:v>41183</c:v>
                </c:pt>
                <c:pt idx="192">
                  <c:v>41184</c:v>
                </c:pt>
                <c:pt idx="193">
                  <c:v>41185</c:v>
                </c:pt>
                <c:pt idx="194">
                  <c:v>41186</c:v>
                </c:pt>
                <c:pt idx="195">
                  <c:v>41187</c:v>
                </c:pt>
                <c:pt idx="196">
                  <c:v>41190</c:v>
                </c:pt>
                <c:pt idx="197">
                  <c:v>41191</c:v>
                </c:pt>
                <c:pt idx="198">
                  <c:v>41192</c:v>
                </c:pt>
                <c:pt idx="199">
                  <c:v>41193</c:v>
                </c:pt>
                <c:pt idx="200">
                  <c:v>41194</c:v>
                </c:pt>
                <c:pt idx="201">
                  <c:v>41197</c:v>
                </c:pt>
                <c:pt idx="202">
                  <c:v>41198</c:v>
                </c:pt>
                <c:pt idx="203">
                  <c:v>41199</c:v>
                </c:pt>
                <c:pt idx="204">
                  <c:v>41200</c:v>
                </c:pt>
                <c:pt idx="205">
                  <c:v>41201</c:v>
                </c:pt>
                <c:pt idx="206">
                  <c:v>41204</c:v>
                </c:pt>
                <c:pt idx="207">
                  <c:v>41205</c:v>
                </c:pt>
                <c:pt idx="208">
                  <c:v>41206</c:v>
                </c:pt>
                <c:pt idx="209">
                  <c:v>41207</c:v>
                </c:pt>
                <c:pt idx="210">
                  <c:v>41208</c:v>
                </c:pt>
                <c:pt idx="211">
                  <c:v>41211</c:v>
                </c:pt>
                <c:pt idx="212">
                  <c:v>41212</c:v>
                </c:pt>
                <c:pt idx="213">
                  <c:v>41213</c:v>
                </c:pt>
                <c:pt idx="214">
                  <c:v>41214</c:v>
                </c:pt>
                <c:pt idx="215">
                  <c:v>41215</c:v>
                </c:pt>
                <c:pt idx="216">
                  <c:v>41219</c:v>
                </c:pt>
                <c:pt idx="217">
                  <c:v>41220</c:v>
                </c:pt>
                <c:pt idx="218">
                  <c:v>41221</c:v>
                </c:pt>
                <c:pt idx="219">
                  <c:v>41222</c:v>
                </c:pt>
                <c:pt idx="220">
                  <c:v>41225</c:v>
                </c:pt>
                <c:pt idx="221">
                  <c:v>41226</c:v>
                </c:pt>
                <c:pt idx="222">
                  <c:v>41227</c:v>
                </c:pt>
                <c:pt idx="223">
                  <c:v>41228</c:v>
                </c:pt>
                <c:pt idx="224">
                  <c:v>41229</c:v>
                </c:pt>
                <c:pt idx="225">
                  <c:v>41232</c:v>
                </c:pt>
                <c:pt idx="226">
                  <c:v>41233</c:v>
                </c:pt>
                <c:pt idx="227">
                  <c:v>41234</c:v>
                </c:pt>
                <c:pt idx="228">
                  <c:v>41235</c:v>
                </c:pt>
                <c:pt idx="229">
                  <c:v>41236</c:v>
                </c:pt>
                <c:pt idx="230">
                  <c:v>41239</c:v>
                </c:pt>
                <c:pt idx="231">
                  <c:v>41240</c:v>
                </c:pt>
                <c:pt idx="232">
                  <c:v>41241</c:v>
                </c:pt>
                <c:pt idx="233">
                  <c:v>41242</c:v>
                </c:pt>
                <c:pt idx="234">
                  <c:v>41243</c:v>
                </c:pt>
                <c:pt idx="235">
                  <c:v>41246</c:v>
                </c:pt>
                <c:pt idx="236">
                  <c:v>41247</c:v>
                </c:pt>
                <c:pt idx="237">
                  <c:v>41248</c:v>
                </c:pt>
                <c:pt idx="238">
                  <c:v>41249</c:v>
                </c:pt>
                <c:pt idx="239">
                  <c:v>41250</c:v>
                </c:pt>
                <c:pt idx="240">
                  <c:v>41253</c:v>
                </c:pt>
                <c:pt idx="241">
                  <c:v>41254</c:v>
                </c:pt>
                <c:pt idx="242">
                  <c:v>41255</c:v>
                </c:pt>
                <c:pt idx="243">
                  <c:v>41256</c:v>
                </c:pt>
                <c:pt idx="244">
                  <c:v>41257</c:v>
                </c:pt>
                <c:pt idx="245">
                  <c:v>41260</c:v>
                </c:pt>
                <c:pt idx="246">
                  <c:v>41261</c:v>
                </c:pt>
                <c:pt idx="247">
                  <c:v>41262</c:v>
                </c:pt>
                <c:pt idx="248">
                  <c:v>41263</c:v>
                </c:pt>
                <c:pt idx="249">
                  <c:v>41264</c:v>
                </c:pt>
                <c:pt idx="250">
                  <c:v>41267</c:v>
                </c:pt>
                <c:pt idx="251">
                  <c:v>41268</c:v>
                </c:pt>
                <c:pt idx="252">
                  <c:v>41269</c:v>
                </c:pt>
                <c:pt idx="253">
                  <c:v>41270</c:v>
                </c:pt>
                <c:pt idx="254">
                  <c:v>41271</c:v>
                </c:pt>
                <c:pt idx="255">
                  <c:v>41283</c:v>
                </c:pt>
                <c:pt idx="256">
                  <c:v>41284</c:v>
                </c:pt>
                <c:pt idx="257">
                  <c:v>41285</c:v>
                </c:pt>
                <c:pt idx="258">
                  <c:v>41288</c:v>
                </c:pt>
                <c:pt idx="259">
                  <c:v>41289</c:v>
                </c:pt>
                <c:pt idx="260">
                  <c:v>41290</c:v>
                </c:pt>
                <c:pt idx="261">
                  <c:v>41291</c:v>
                </c:pt>
                <c:pt idx="262">
                  <c:v>41292</c:v>
                </c:pt>
                <c:pt idx="263">
                  <c:v>41295</c:v>
                </c:pt>
                <c:pt idx="264">
                  <c:v>41296</c:v>
                </c:pt>
                <c:pt idx="265">
                  <c:v>41297</c:v>
                </c:pt>
                <c:pt idx="266">
                  <c:v>41298</c:v>
                </c:pt>
                <c:pt idx="267">
                  <c:v>41299</c:v>
                </c:pt>
                <c:pt idx="268">
                  <c:v>41302</c:v>
                </c:pt>
                <c:pt idx="269">
                  <c:v>41303</c:v>
                </c:pt>
                <c:pt idx="270">
                  <c:v>41304</c:v>
                </c:pt>
                <c:pt idx="271">
                  <c:v>41305</c:v>
                </c:pt>
                <c:pt idx="272">
                  <c:v>41306</c:v>
                </c:pt>
                <c:pt idx="273">
                  <c:v>41309</c:v>
                </c:pt>
                <c:pt idx="274">
                  <c:v>41310</c:v>
                </c:pt>
                <c:pt idx="275">
                  <c:v>41311</c:v>
                </c:pt>
                <c:pt idx="276">
                  <c:v>41312</c:v>
                </c:pt>
                <c:pt idx="277">
                  <c:v>41313</c:v>
                </c:pt>
                <c:pt idx="278">
                  <c:v>41316</c:v>
                </c:pt>
                <c:pt idx="279">
                  <c:v>41317</c:v>
                </c:pt>
                <c:pt idx="280">
                  <c:v>41318</c:v>
                </c:pt>
                <c:pt idx="281">
                  <c:v>41319</c:v>
                </c:pt>
                <c:pt idx="282">
                  <c:v>41320</c:v>
                </c:pt>
                <c:pt idx="283">
                  <c:v>41323</c:v>
                </c:pt>
                <c:pt idx="284">
                  <c:v>41324</c:v>
                </c:pt>
                <c:pt idx="285">
                  <c:v>41325</c:v>
                </c:pt>
                <c:pt idx="286">
                  <c:v>41326</c:v>
                </c:pt>
                <c:pt idx="287">
                  <c:v>41327</c:v>
                </c:pt>
                <c:pt idx="288">
                  <c:v>41330</c:v>
                </c:pt>
                <c:pt idx="289">
                  <c:v>41331</c:v>
                </c:pt>
                <c:pt idx="290">
                  <c:v>41332</c:v>
                </c:pt>
                <c:pt idx="291">
                  <c:v>41333</c:v>
                </c:pt>
                <c:pt idx="292">
                  <c:v>41334</c:v>
                </c:pt>
                <c:pt idx="293">
                  <c:v>41337</c:v>
                </c:pt>
                <c:pt idx="294">
                  <c:v>41338</c:v>
                </c:pt>
                <c:pt idx="295">
                  <c:v>41339</c:v>
                </c:pt>
                <c:pt idx="296">
                  <c:v>41340</c:v>
                </c:pt>
                <c:pt idx="297">
                  <c:v>41344</c:v>
                </c:pt>
                <c:pt idx="298">
                  <c:v>41345</c:v>
                </c:pt>
                <c:pt idx="299">
                  <c:v>41346</c:v>
                </c:pt>
                <c:pt idx="300">
                  <c:v>41347</c:v>
                </c:pt>
                <c:pt idx="301">
                  <c:v>41348</c:v>
                </c:pt>
                <c:pt idx="302">
                  <c:v>41351</c:v>
                </c:pt>
                <c:pt idx="303">
                  <c:v>41352</c:v>
                </c:pt>
                <c:pt idx="304">
                  <c:v>41353</c:v>
                </c:pt>
                <c:pt idx="305">
                  <c:v>41354</c:v>
                </c:pt>
                <c:pt idx="306">
                  <c:v>41355</c:v>
                </c:pt>
                <c:pt idx="307">
                  <c:v>41358</c:v>
                </c:pt>
                <c:pt idx="308">
                  <c:v>41359</c:v>
                </c:pt>
                <c:pt idx="309">
                  <c:v>41360</c:v>
                </c:pt>
                <c:pt idx="310">
                  <c:v>41361</c:v>
                </c:pt>
                <c:pt idx="311">
                  <c:v>41362</c:v>
                </c:pt>
                <c:pt idx="312">
                  <c:v>41365</c:v>
                </c:pt>
                <c:pt idx="313">
                  <c:v>41366</c:v>
                </c:pt>
                <c:pt idx="314">
                  <c:v>41367</c:v>
                </c:pt>
                <c:pt idx="315">
                  <c:v>41368</c:v>
                </c:pt>
                <c:pt idx="316">
                  <c:v>41369</c:v>
                </c:pt>
                <c:pt idx="317">
                  <c:v>41372</c:v>
                </c:pt>
                <c:pt idx="318">
                  <c:v>41373</c:v>
                </c:pt>
                <c:pt idx="319">
                  <c:v>41374</c:v>
                </c:pt>
                <c:pt idx="320">
                  <c:v>41375</c:v>
                </c:pt>
                <c:pt idx="321">
                  <c:v>41376</c:v>
                </c:pt>
                <c:pt idx="322">
                  <c:v>41379</c:v>
                </c:pt>
                <c:pt idx="323">
                  <c:v>41380</c:v>
                </c:pt>
                <c:pt idx="324">
                  <c:v>41381</c:v>
                </c:pt>
                <c:pt idx="325">
                  <c:v>41382</c:v>
                </c:pt>
                <c:pt idx="326">
                  <c:v>41383</c:v>
                </c:pt>
                <c:pt idx="327">
                  <c:v>41386</c:v>
                </c:pt>
                <c:pt idx="328">
                  <c:v>41387</c:v>
                </c:pt>
                <c:pt idx="329">
                  <c:v>41388</c:v>
                </c:pt>
                <c:pt idx="330">
                  <c:v>41389</c:v>
                </c:pt>
                <c:pt idx="331">
                  <c:v>41390</c:v>
                </c:pt>
                <c:pt idx="332">
                  <c:v>41393</c:v>
                </c:pt>
                <c:pt idx="333">
                  <c:v>41394</c:v>
                </c:pt>
                <c:pt idx="334">
                  <c:v>41400</c:v>
                </c:pt>
                <c:pt idx="335">
                  <c:v>41401</c:v>
                </c:pt>
                <c:pt idx="336">
                  <c:v>41402</c:v>
                </c:pt>
                <c:pt idx="337">
                  <c:v>41407</c:v>
                </c:pt>
                <c:pt idx="338">
                  <c:v>41408</c:v>
                </c:pt>
                <c:pt idx="339">
                  <c:v>41409</c:v>
                </c:pt>
                <c:pt idx="340">
                  <c:v>41410</c:v>
                </c:pt>
                <c:pt idx="341">
                  <c:v>41411</c:v>
                </c:pt>
                <c:pt idx="342">
                  <c:v>41414</c:v>
                </c:pt>
                <c:pt idx="343">
                  <c:v>41415</c:v>
                </c:pt>
                <c:pt idx="344">
                  <c:v>41416</c:v>
                </c:pt>
                <c:pt idx="345">
                  <c:v>41417</c:v>
                </c:pt>
                <c:pt idx="346">
                  <c:v>41418</c:v>
                </c:pt>
                <c:pt idx="347">
                  <c:v>41421</c:v>
                </c:pt>
                <c:pt idx="348">
                  <c:v>41422</c:v>
                </c:pt>
                <c:pt idx="349">
                  <c:v>41423</c:v>
                </c:pt>
                <c:pt idx="350">
                  <c:v>41424</c:v>
                </c:pt>
                <c:pt idx="351">
                  <c:v>41425</c:v>
                </c:pt>
                <c:pt idx="352">
                  <c:v>41428</c:v>
                </c:pt>
                <c:pt idx="353">
                  <c:v>41429</c:v>
                </c:pt>
                <c:pt idx="354">
                  <c:v>41430</c:v>
                </c:pt>
                <c:pt idx="355">
                  <c:v>41431</c:v>
                </c:pt>
                <c:pt idx="356">
                  <c:v>41432</c:v>
                </c:pt>
                <c:pt idx="357">
                  <c:v>41435</c:v>
                </c:pt>
                <c:pt idx="358">
                  <c:v>41436</c:v>
                </c:pt>
                <c:pt idx="359">
                  <c:v>41438</c:v>
                </c:pt>
                <c:pt idx="360">
                  <c:v>41439</c:v>
                </c:pt>
                <c:pt idx="361">
                  <c:v>41442</c:v>
                </c:pt>
                <c:pt idx="362">
                  <c:v>41443</c:v>
                </c:pt>
                <c:pt idx="363">
                  <c:v>41444</c:v>
                </c:pt>
                <c:pt idx="364">
                  <c:v>41445</c:v>
                </c:pt>
                <c:pt idx="365">
                  <c:v>41446</c:v>
                </c:pt>
                <c:pt idx="366">
                  <c:v>41449</c:v>
                </c:pt>
                <c:pt idx="367">
                  <c:v>41450</c:v>
                </c:pt>
                <c:pt idx="368">
                  <c:v>41451</c:v>
                </c:pt>
                <c:pt idx="369">
                  <c:v>41452</c:v>
                </c:pt>
                <c:pt idx="370">
                  <c:v>41453</c:v>
                </c:pt>
                <c:pt idx="371">
                  <c:v>41456</c:v>
                </c:pt>
                <c:pt idx="372">
                  <c:v>41457</c:v>
                </c:pt>
                <c:pt idx="373">
                  <c:v>41458</c:v>
                </c:pt>
                <c:pt idx="374">
                  <c:v>41459</c:v>
                </c:pt>
                <c:pt idx="375">
                  <c:v>41460</c:v>
                </c:pt>
                <c:pt idx="376">
                  <c:v>41463</c:v>
                </c:pt>
                <c:pt idx="377">
                  <c:v>41464</c:v>
                </c:pt>
                <c:pt idx="378">
                  <c:v>41465</c:v>
                </c:pt>
                <c:pt idx="379">
                  <c:v>41466</c:v>
                </c:pt>
                <c:pt idx="380">
                  <c:v>41467</c:v>
                </c:pt>
                <c:pt idx="381">
                  <c:v>41470</c:v>
                </c:pt>
                <c:pt idx="382">
                  <c:v>41471</c:v>
                </c:pt>
                <c:pt idx="383">
                  <c:v>41472</c:v>
                </c:pt>
                <c:pt idx="384">
                  <c:v>41473</c:v>
                </c:pt>
                <c:pt idx="385">
                  <c:v>41474</c:v>
                </c:pt>
                <c:pt idx="386">
                  <c:v>41477</c:v>
                </c:pt>
                <c:pt idx="387">
                  <c:v>41478</c:v>
                </c:pt>
                <c:pt idx="388">
                  <c:v>41479</c:v>
                </c:pt>
                <c:pt idx="389">
                  <c:v>41480</c:v>
                </c:pt>
                <c:pt idx="390">
                  <c:v>41481</c:v>
                </c:pt>
                <c:pt idx="391">
                  <c:v>41484</c:v>
                </c:pt>
                <c:pt idx="392">
                  <c:v>41485</c:v>
                </c:pt>
                <c:pt idx="393">
                  <c:v>41486</c:v>
                </c:pt>
                <c:pt idx="394">
                  <c:v>41487</c:v>
                </c:pt>
                <c:pt idx="395">
                  <c:v>41488</c:v>
                </c:pt>
                <c:pt idx="396">
                  <c:v>41491</c:v>
                </c:pt>
                <c:pt idx="397">
                  <c:v>41492</c:v>
                </c:pt>
                <c:pt idx="398">
                  <c:v>41493</c:v>
                </c:pt>
                <c:pt idx="399">
                  <c:v>41494</c:v>
                </c:pt>
                <c:pt idx="400">
                  <c:v>41495</c:v>
                </c:pt>
                <c:pt idx="401">
                  <c:v>41498</c:v>
                </c:pt>
                <c:pt idx="402">
                  <c:v>41499</c:v>
                </c:pt>
                <c:pt idx="403">
                  <c:v>41500</c:v>
                </c:pt>
                <c:pt idx="404">
                  <c:v>41501</c:v>
                </c:pt>
                <c:pt idx="405">
                  <c:v>41502</c:v>
                </c:pt>
                <c:pt idx="406">
                  <c:v>41505</c:v>
                </c:pt>
                <c:pt idx="407">
                  <c:v>41506</c:v>
                </c:pt>
                <c:pt idx="408">
                  <c:v>41507</c:v>
                </c:pt>
                <c:pt idx="409">
                  <c:v>41508</c:v>
                </c:pt>
                <c:pt idx="410">
                  <c:v>41509</c:v>
                </c:pt>
                <c:pt idx="411">
                  <c:v>41512</c:v>
                </c:pt>
                <c:pt idx="412">
                  <c:v>41513</c:v>
                </c:pt>
                <c:pt idx="413">
                  <c:v>41514</c:v>
                </c:pt>
                <c:pt idx="414">
                  <c:v>41515</c:v>
                </c:pt>
                <c:pt idx="415">
                  <c:v>41516</c:v>
                </c:pt>
                <c:pt idx="416">
                  <c:v>41519</c:v>
                </c:pt>
                <c:pt idx="417">
                  <c:v>41520</c:v>
                </c:pt>
                <c:pt idx="418">
                  <c:v>41521</c:v>
                </c:pt>
                <c:pt idx="419">
                  <c:v>41522</c:v>
                </c:pt>
                <c:pt idx="420">
                  <c:v>41523</c:v>
                </c:pt>
                <c:pt idx="421">
                  <c:v>41526</c:v>
                </c:pt>
                <c:pt idx="422">
                  <c:v>41527</c:v>
                </c:pt>
                <c:pt idx="423">
                  <c:v>41528</c:v>
                </c:pt>
                <c:pt idx="424">
                  <c:v>41529</c:v>
                </c:pt>
                <c:pt idx="425">
                  <c:v>41530</c:v>
                </c:pt>
                <c:pt idx="426">
                  <c:v>41533</c:v>
                </c:pt>
                <c:pt idx="427">
                  <c:v>41534</c:v>
                </c:pt>
                <c:pt idx="428">
                  <c:v>41535</c:v>
                </c:pt>
                <c:pt idx="429">
                  <c:v>41536</c:v>
                </c:pt>
                <c:pt idx="430">
                  <c:v>41537</c:v>
                </c:pt>
                <c:pt idx="431">
                  <c:v>41540</c:v>
                </c:pt>
                <c:pt idx="432">
                  <c:v>41541</c:v>
                </c:pt>
                <c:pt idx="433">
                  <c:v>41542</c:v>
                </c:pt>
                <c:pt idx="434">
                  <c:v>41543</c:v>
                </c:pt>
                <c:pt idx="435">
                  <c:v>41544</c:v>
                </c:pt>
                <c:pt idx="436">
                  <c:v>41547</c:v>
                </c:pt>
                <c:pt idx="437">
                  <c:v>41548</c:v>
                </c:pt>
                <c:pt idx="438">
                  <c:v>41549</c:v>
                </c:pt>
                <c:pt idx="439">
                  <c:v>41550</c:v>
                </c:pt>
                <c:pt idx="440">
                  <c:v>41551</c:v>
                </c:pt>
                <c:pt idx="441">
                  <c:v>41554</c:v>
                </c:pt>
                <c:pt idx="442">
                  <c:v>41555</c:v>
                </c:pt>
                <c:pt idx="443">
                  <c:v>41556</c:v>
                </c:pt>
                <c:pt idx="444">
                  <c:v>41557</c:v>
                </c:pt>
                <c:pt idx="445">
                  <c:v>41558</c:v>
                </c:pt>
                <c:pt idx="446">
                  <c:v>41561</c:v>
                </c:pt>
                <c:pt idx="447">
                  <c:v>41562</c:v>
                </c:pt>
                <c:pt idx="448">
                  <c:v>41563</c:v>
                </c:pt>
                <c:pt idx="449">
                  <c:v>41564</c:v>
                </c:pt>
                <c:pt idx="450">
                  <c:v>41565</c:v>
                </c:pt>
                <c:pt idx="451">
                  <c:v>41568</c:v>
                </c:pt>
                <c:pt idx="452">
                  <c:v>41569</c:v>
                </c:pt>
                <c:pt idx="453">
                  <c:v>41570</c:v>
                </c:pt>
                <c:pt idx="454">
                  <c:v>41571</c:v>
                </c:pt>
                <c:pt idx="455">
                  <c:v>41572</c:v>
                </c:pt>
                <c:pt idx="456">
                  <c:v>41575</c:v>
                </c:pt>
                <c:pt idx="457">
                  <c:v>41576</c:v>
                </c:pt>
                <c:pt idx="458">
                  <c:v>41577</c:v>
                </c:pt>
                <c:pt idx="459">
                  <c:v>41578</c:v>
                </c:pt>
                <c:pt idx="460">
                  <c:v>41579</c:v>
                </c:pt>
                <c:pt idx="461">
                  <c:v>41583</c:v>
                </c:pt>
                <c:pt idx="462">
                  <c:v>41584</c:v>
                </c:pt>
                <c:pt idx="463">
                  <c:v>41585</c:v>
                </c:pt>
                <c:pt idx="464">
                  <c:v>41586</c:v>
                </c:pt>
                <c:pt idx="465">
                  <c:v>41589</c:v>
                </c:pt>
                <c:pt idx="466">
                  <c:v>41590</c:v>
                </c:pt>
                <c:pt idx="467">
                  <c:v>41591</c:v>
                </c:pt>
                <c:pt idx="468">
                  <c:v>41592</c:v>
                </c:pt>
                <c:pt idx="469">
                  <c:v>41593</c:v>
                </c:pt>
                <c:pt idx="470">
                  <c:v>41596</c:v>
                </c:pt>
                <c:pt idx="471">
                  <c:v>41597</c:v>
                </c:pt>
                <c:pt idx="472">
                  <c:v>41598</c:v>
                </c:pt>
                <c:pt idx="473">
                  <c:v>41599</c:v>
                </c:pt>
                <c:pt idx="474">
                  <c:v>41600</c:v>
                </c:pt>
                <c:pt idx="475">
                  <c:v>41603</c:v>
                </c:pt>
                <c:pt idx="476">
                  <c:v>41604</c:v>
                </c:pt>
                <c:pt idx="477">
                  <c:v>41605</c:v>
                </c:pt>
                <c:pt idx="478">
                  <c:v>41606</c:v>
                </c:pt>
                <c:pt idx="479">
                  <c:v>41607</c:v>
                </c:pt>
                <c:pt idx="480">
                  <c:v>41610</c:v>
                </c:pt>
                <c:pt idx="481">
                  <c:v>41611</c:v>
                </c:pt>
                <c:pt idx="482">
                  <c:v>41612</c:v>
                </c:pt>
                <c:pt idx="483">
                  <c:v>41613</c:v>
                </c:pt>
                <c:pt idx="484">
                  <c:v>41614</c:v>
                </c:pt>
                <c:pt idx="485">
                  <c:v>41617</c:v>
                </c:pt>
                <c:pt idx="486">
                  <c:v>41618</c:v>
                </c:pt>
                <c:pt idx="487">
                  <c:v>41619</c:v>
                </c:pt>
                <c:pt idx="488">
                  <c:v>41620</c:v>
                </c:pt>
                <c:pt idx="489">
                  <c:v>41621</c:v>
                </c:pt>
                <c:pt idx="490">
                  <c:v>41624</c:v>
                </c:pt>
                <c:pt idx="491">
                  <c:v>41625</c:v>
                </c:pt>
                <c:pt idx="492">
                  <c:v>41626</c:v>
                </c:pt>
                <c:pt idx="493">
                  <c:v>41627</c:v>
                </c:pt>
                <c:pt idx="494">
                  <c:v>41628</c:v>
                </c:pt>
                <c:pt idx="495">
                  <c:v>41631</c:v>
                </c:pt>
                <c:pt idx="496">
                  <c:v>41632</c:v>
                </c:pt>
                <c:pt idx="497">
                  <c:v>41633</c:v>
                </c:pt>
                <c:pt idx="498">
                  <c:v>41634</c:v>
                </c:pt>
                <c:pt idx="499">
                  <c:v>41635</c:v>
                </c:pt>
                <c:pt idx="500">
                  <c:v>41648</c:v>
                </c:pt>
                <c:pt idx="501">
                  <c:v>41649</c:v>
                </c:pt>
                <c:pt idx="502">
                  <c:v>41652</c:v>
                </c:pt>
                <c:pt idx="503">
                  <c:v>41653</c:v>
                </c:pt>
                <c:pt idx="504">
                  <c:v>41654</c:v>
                </c:pt>
                <c:pt idx="505">
                  <c:v>41655</c:v>
                </c:pt>
                <c:pt idx="506">
                  <c:v>41656</c:v>
                </c:pt>
                <c:pt idx="507">
                  <c:v>41659</c:v>
                </c:pt>
                <c:pt idx="508">
                  <c:v>41660</c:v>
                </c:pt>
                <c:pt idx="509">
                  <c:v>41661</c:v>
                </c:pt>
                <c:pt idx="510">
                  <c:v>41662</c:v>
                </c:pt>
                <c:pt idx="511">
                  <c:v>41663</c:v>
                </c:pt>
                <c:pt idx="512">
                  <c:v>41666</c:v>
                </c:pt>
                <c:pt idx="513">
                  <c:v>41667</c:v>
                </c:pt>
                <c:pt idx="514">
                  <c:v>41668</c:v>
                </c:pt>
                <c:pt idx="515">
                  <c:v>41669</c:v>
                </c:pt>
                <c:pt idx="516">
                  <c:v>41670</c:v>
                </c:pt>
                <c:pt idx="517">
                  <c:v>41673</c:v>
                </c:pt>
                <c:pt idx="518">
                  <c:v>41674</c:v>
                </c:pt>
                <c:pt idx="519">
                  <c:v>41675</c:v>
                </c:pt>
                <c:pt idx="520">
                  <c:v>41676</c:v>
                </c:pt>
                <c:pt idx="521">
                  <c:v>41677</c:v>
                </c:pt>
                <c:pt idx="522">
                  <c:v>41680</c:v>
                </c:pt>
                <c:pt idx="523">
                  <c:v>41681</c:v>
                </c:pt>
                <c:pt idx="524">
                  <c:v>41682</c:v>
                </c:pt>
                <c:pt idx="525">
                  <c:v>41683</c:v>
                </c:pt>
                <c:pt idx="526">
                  <c:v>41684</c:v>
                </c:pt>
                <c:pt idx="527">
                  <c:v>41687</c:v>
                </c:pt>
                <c:pt idx="528">
                  <c:v>41688</c:v>
                </c:pt>
                <c:pt idx="529">
                  <c:v>41689</c:v>
                </c:pt>
                <c:pt idx="530">
                  <c:v>41690</c:v>
                </c:pt>
                <c:pt idx="531">
                  <c:v>41691</c:v>
                </c:pt>
                <c:pt idx="532">
                  <c:v>41694</c:v>
                </c:pt>
                <c:pt idx="533">
                  <c:v>41695</c:v>
                </c:pt>
                <c:pt idx="534">
                  <c:v>41696</c:v>
                </c:pt>
                <c:pt idx="535">
                  <c:v>41697</c:v>
                </c:pt>
                <c:pt idx="536">
                  <c:v>41698</c:v>
                </c:pt>
                <c:pt idx="537">
                  <c:v>41701</c:v>
                </c:pt>
                <c:pt idx="538">
                  <c:v>41702</c:v>
                </c:pt>
                <c:pt idx="539">
                  <c:v>41703</c:v>
                </c:pt>
                <c:pt idx="540">
                  <c:v>41704</c:v>
                </c:pt>
                <c:pt idx="541">
                  <c:v>41705</c:v>
                </c:pt>
                <c:pt idx="542">
                  <c:v>41709</c:v>
                </c:pt>
                <c:pt idx="543">
                  <c:v>41710</c:v>
                </c:pt>
                <c:pt idx="544">
                  <c:v>41711</c:v>
                </c:pt>
                <c:pt idx="545">
                  <c:v>41712</c:v>
                </c:pt>
                <c:pt idx="546">
                  <c:v>41715</c:v>
                </c:pt>
                <c:pt idx="547">
                  <c:v>41716</c:v>
                </c:pt>
                <c:pt idx="548">
                  <c:v>41717</c:v>
                </c:pt>
                <c:pt idx="549">
                  <c:v>41718</c:v>
                </c:pt>
                <c:pt idx="550">
                  <c:v>41719</c:v>
                </c:pt>
                <c:pt idx="551">
                  <c:v>41722</c:v>
                </c:pt>
                <c:pt idx="552">
                  <c:v>41723</c:v>
                </c:pt>
                <c:pt idx="553">
                  <c:v>41724</c:v>
                </c:pt>
                <c:pt idx="554">
                  <c:v>41725</c:v>
                </c:pt>
                <c:pt idx="555">
                  <c:v>41726</c:v>
                </c:pt>
                <c:pt idx="556">
                  <c:v>41729</c:v>
                </c:pt>
                <c:pt idx="557">
                  <c:v>41730</c:v>
                </c:pt>
                <c:pt idx="558">
                  <c:v>41731</c:v>
                </c:pt>
                <c:pt idx="559">
                  <c:v>41732</c:v>
                </c:pt>
                <c:pt idx="560">
                  <c:v>41733</c:v>
                </c:pt>
                <c:pt idx="561">
                  <c:v>41736</c:v>
                </c:pt>
                <c:pt idx="562">
                  <c:v>41737</c:v>
                </c:pt>
                <c:pt idx="563">
                  <c:v>41738</c:v>
                </c:pt>
                <c:pt idx="564">
                  <c:v>41739</c:v>
                </c:pt>
                <c:pt idx="565">
                  <c:v>41740</c:v>
                </c:pt>
                <c:pt idx="566">
                  <c:v>41743</c:v>
                </c:pt>
                <c:pt idx="567">
                  <c:v>41744</c:v>
                </c:pt>
                <c:pt idx="568">
                  <c:v>41745</c:v>
                </c:pt>
                <c:pt idx="569">
                  <c:v>41746</c:v>
                </c:pt>
                <c:pt idx="570">
                  <c:v>41747</c:v>
                </c:pt>
                <c:pt idx="571">
                  <c:v>41750</c:v>
                </c:pt>
                <c:pt idx="572">
                  <c:v>41751</c:v>
                </c:pt>
                <c:pt idx="573">
                  <c:v>41752</c:v>
                </c:pt>
                <c:pt idx="574">
                  <c:v>41753</c:v>
                </c:pt>
                <c:pt idx="575">
                  <c:v>41754</c:v>
                </c:pt>
                <c:pt idx="576">
                  <c:v>41757</c:v>
                </c:pt>
                <c:pt idx="577">
                  <c:v>41758</c:v>
                </c:pt>
                <c:pt idx="578">
                  <c:v>41759</c:v>
                </c:pt>
                <c:pt idx="579">
                  <c:v>41764</c:v>
                </c:pt>
                <c:pt idx="580">
                  <c:v>41765</c:v>
                </c:pt>
                <c:pt idx="581">
                  <c:v>41766</c:v>
                </c:pt>
                <c:pt idx="582">
                  <c:v>41767</c:v>
                </c:pt>
                <c:pt idx="583">
                  <c:v>41771</c:v>
                </c:pt>
                <c:pt idx="584">
                  <c:v>41772</c:v>
                </c:pt>
                <c:pt idx="585">
                  <c:v>41773</c:v>
                </c:pt>
                <c:pt idx="586">
                  <c:v>41774</c:v>
                </c:pt>
                <c:pt idx="587">
                  <c:v>41775</c:v>
                </c:pt>
                <c:pt idx="588">
                  <c:v>41778</c:v>
                </c:pt>
                <c:pt idx="589">
                  <c:v>41779</c:v>
                </c:pt>
                <c:pt idx="590">
                  <c:v>41780</c:v>
                </c:pt>
                <c:pt idx="591">
                  <c:v>41781</c:v>
                </c:pt>
                <c:pt idx="592">
                  <c:v>41782</c:v>
                </c:pt>
                <c:pt idx="593">
                  <c:v>41785</c:v>
                </c:pt>
                <c:pt idx="594">
                  <c:v>41786</c:v>
                </c:pt>
                <c:pt idx="595">
                  <c:v>41787</c:v>
                </c:pt>
                <c:pt idx="596">
                  <c:v>41788</c:v>
                </c:pt>
                <c:pt idx="597">
                  <c:v>41789</c:v>
                </c:pt>
                <c:pt idx="598">
                  <c:v>41792</c:v>
                </c:pt>
                <c:pt idx="599">
                  <c:v>41793</c:v>
                </c:pt>
                <c:pt idx="600">
                  <c:v>41794</c:v>
                </c:pt>
                <c:pt idx="601">
                  <c:v>41795</c:v>
                </c:pt>
                <c:pt idx="602">
                  <c:v>41796</c:v>
                </c:pt>
                <c:pt idx="603">
                  <c:v>41799</c:v>
                </c:pt>
                <c:pt idx="604">
                  <c:v>41800</c:v>
                </c:pt>
                <c:pt idx="605">
                  <c:v>41801</c:v>
                </c:pt>
                <c:pt idx="606">
                  <c:v>41806</c:v>
                </c:pt>
                <c:pt idx="607">
                  <c:v>41807</c:v>
                </c:pt>
                <c:pt idx="608">
                  <c:v>41808</c:v>
                </c:pt>
                <c:pt idx="609">
                  <c:v>41809</c:v>
                </c:pt>
                <c:pt idx="610">
                  <c:v>41810</c:v>
                </c:pt>
                <c:pt idx="611">
                  <c:v>41813</c:v>
                </c:pt>
                <c:pt idx="612">
                  <c:v>41814</c:v>
                </c:pt>
                <c:pt idx="613">
                  <c:v>41815</c:v>
                </c:pt>
                <c:pt idx="614">
                  <c:v>41816</c:v>
                </c:pt>
                <c:pt idx="615">
                  <c:v>41817</c:v>
                </c:pt>
                <c:pt idx="616">
                  <c:v>41820</c:v>
                </c:pt>
                <c:pt idx="617">
                  <c:v>41821</c:v>
                </c:pt>
                <c:pt idx="618">
                  <c:v>41822</c:v>
                </c:pt>
                <c:pt idx="619">
                  <c:v>41823</c:v>
                </c:pt>
                <c:pt idx="620">
                  <c:v>41824</c:v>
                </c:pt>
                <c:pt idx="621">
                  <c:v>41827</c:v>
                </c:pt>
                <c:pt idx="622">
                  <c:v>41828</c:v>
                </c:pt>
                <c:pt idx="623">
                  <c:v>41829</c:v>
                </c:pt>
                <c:pt idx="624">
                  <c:v>41830</c:v>
                </c:pt>
                <c:pt idx="625">
                  <c:v>41831</c:v>
                </c:pt>
                <c:pt idx="626">
                  <c:v>41834</c:v>
                </c:pt>
                <c:pt idx="627">
                  <c:v>41835</c:v>
                </c:pt>
                <c:pt idx="628">
                  <c:v>41836</c:v>
                </c:pt>
                <c:pt idx="629">
                  <c:v>41837</c:v>
                </c:pt>
                <c:pt idx="630">
                  <c:v>41838</c:v>
                </c:pt>
                <c:pt idx="631">
                  <c:v>41841</c:v>
                </c:pt>
                <c:pt idx="632">
                  <c:v>41842</c:v>
                </c:pt>
                <c:pt idx="633">
                  <c:v>41843</c:v>
                </c:pt>
                <c:pt idx="634">
                  <c:v>41844</c:v>
                </c:pt>
                <c:pt idx="635">
                  <c:v>41845</c:v>
                </c:pt>
                <c:pt idx="636">
                  <c:v>41848</c:v>
                </c:pt>
                <c:pt idx="637">
                  <c:v>41849</c:v>
                </c:pt>
                <c:pt idx="638">
                  <c:v>41850</c:v>
                </c:pt>
                <c:pt idx="639">
                  <c:v>41851</c:v>
                </c:pt>
                <c:pt idx="640">
                  <c:v>41852</c:v>
                </c:pt>
                <c:pt idx="641">
                  <c:v>41855</c:v>
                </c:pt>
                <c:pt idx="642">
                  <c:v>41856</c:v>
                </c:pt>
                <c:pt idx="643">
                  <c:v>41857</c:v>
                </c:pt>
                <c:pt idx="644">
                  <c:v>41858</c:v>
                </c:pt>
                <c:pt idx="645">
                  <c:v>41859</c:v>
                </c:pt>
                <c:pt idx="646">
                  <c:v>41862</c:v>
                </c:pt>
                <c:pt idx="647">
                  <c:v>41863</c:v>
                </c:pt>
                <c:pt idx="648">
                  <c:v>41864</c:v>
                </c:pt>
                <c:pt idx="649">
                  <c:v>41865</c:v>
                </c:pt>
                <c:pt idx="650">
                  <c:v>41866</c:v>
                </c:pt>
                <c:pt idx="651">
                  <c:v>41869</c:v>
                </c:pt>
                <c:pt idx="652">
                  <c:v>41870</c:v>
                </c:pt>
                <c:pt idx="653">
                  <c:v>41871</c:v>
                </c:pt>
                <c:pt idx="654">
                  <c:v>41872</c:v>
                </c:pt>
                <c:pt idx="655">
                  <c:v>41873</c:v>
                </c:pt>
                <c:pt idx="656">
                  <c:v>41876</c:v>
                </c:pt>
                <c:pt idx="657">
                  <c:v>41877</c:v>
                </c:pt>
                <c:pt idx="658">
                  <c:v>41878</c:v>
                </c:pt>
                <c:pt idx="659">
                  <c:v>41879</c:v>
                </c:pt>
                <c:pt idx="660">
                  <c:v>41880</c:v>
                </c:pt>
                <c:pt idx="661">
                  <c:v>41883</c:v>
                </c:pt>
                <c:pt idx="662">
                  <c:v>41884</c:v>
                </c:pt>
                <c:pt idx="663">
                  <c:v>41885</c:v>
                </c:pt>
                <c:pt idx="664">
                  <c:v>41886</c:v>
                </c:pt>
                <c:pt idx="665">
                  <c:v>41887</c:v>
                </c:pt>
                <c:pt idx="666">
                  <c:v>41890</c:v>
                </c:pt>
                <c:pt idx="667">
                  <c:v>41891</c:v>
                </c:pt>
                <c:pt idx="668">
                  <c:v>41892</c:v>
                </c:pt>
                <c:pt idx="669">
                  <c:v>41893</c:v>
                </c:pt>
                <c:pt idx="670">
                  <c:v>41894</c:v>
                </c:pt>
                <c:pt idx="671">
                  <c:v>41897</c:v>
                </c:pt>
                <c:pt idx="672">
                  <c:v>41898</c:v>
                </c:pt>
                <c:pt idx="673">
                  <c:v>41899</c:v>
                </c:pt>
                <c:pt idx="674">
                  <c:v>41900</c:v>
                </c:pt>
                <c:pt idx="675">
                  <c:v>41901</c:v>
                </c:pt>
                <c:pt idx="676">
                  <c:v>41904</c:v>
                </c:pt>
                <c:pt idx="677">
                  <c:v>41905</c:v>
                </c:pt>
                <c:pt idx="678">
                  <c:v>41906</c:v>
                </c:pt>
                <c:pt idx="679">
                  <c:v>41907</c:v>
                </c:pt>
                <c:pt idx="680">
                  <c:v>41908</c:v>
                </c:pt>
                <c:pt idx="681">
                  <c:v>41911</c:v>
                </c:pt>
                <c:pt idx="682">
                  <c:v>41912</c:v>
                </c:pt>
                <c:pt idx="683">
                  <c:v>41913</c:v>
                </c:pt>
                <c:pt idx="684">
                  <c:v>41914</c:v>
                </c:pt>
                <c:pt idx="685">
                  <c:v>41915</c:v>
                </c:pt>
                <c:pt idx="686">
                  <c:v>41918</c:v>
                </c:pt>
                <c:pt idx="687">
                  <c:v>41919</c:v>
                </c:pt>
                <c:pt idx="688">
                  <c:v>41920</c:v>
                </c:pt>
                <c:pt idx="689">
                  <c:v>41921</c:v>
                </c:pt>
                <c:pt idx="690">
                  <c:v>41922</c:v>
                </c:pt>
                <c:pt idx="691">
                  <c:v>41925</c:v>
                </c:pt>
                <c:pt idx="692">
                  <c:v>41926</c:v>
                </c:pt>
                <c:pt idx="693">
                  <c:v>41927</c:v>
                </c:pt>
                <c:pt idx="694">
                  <c:v>41928</c:v>
                </c:pt>
                <c:pt idx="695">
                  <c:v>41929</c:v>
                </c:pt>
                <c:pt idx="696">
                  <c:v>41932</c:v>
                </c:pt>
                <c:pt idx="697">
                  <c:v>41933</c:v>
                </c:pt>
                <c:pt idx="698">
                  <c:v>41934</c:v>
                </c:pt>
                <c:pt idx="699">
                  <c:v>41935</c:v>
                </c:pt>
                <c:pt idx="700">
                  <c:v>41936</c:v>
                </c:pt>
                <c:pt idx="701">
                  <c:v>41939</c:v>
                </c:pt>
                <c:pt idx="702">
                  <c:v>41940</c:v>
                </c:pt>
                <c:pt idx="703">
                  <c:v>41941</c:v>
                </c:pt>
                <c:pt idx="704">
                  <c:v>41942</c:v>
                </c:pt>
                <c:pt idx="705">
                  <c:v>41943</c:v>
                </c:pt>
                <c:pt idx="706">
                  <c:v>41948</c:v>
                </c:pt>
                <c:pt idx="707">
                  <c:v>41949</c:v>
                </c:pt>
                <c:pt idx="708">
                  <c:v>41950</c:v>
                </c:pt>
                <c:pt idx="709">
                  <c:v>41953</c:v>
                </c:pt>
                <c:pt idx="710">
                  <c:v>41954</c:v>
                </c:pt>
                <c:pt idx="711">
                  <c:v>41955</c:v>
                </c:pt>
                <c:pt idx="712">
                  <c:v>41956</c:v>
                </c:pt>
                <c:pt idx="713">
                  <c:v>41957</c:v>
                </c:pt>
                <c:pt idx="714">
                  <c:v>41960</c:v>
                </c:pt>
                <c:pt idx="715">
                  <c:v>41961</c:v>
                </c:pt>
                <c:pt idx="716">
                  <c:v>41962</c:v>
                </c:pt>
                <c:pt idx="717">
                  <c:v>41963</c:v>
                </c:pt>
                <c:pt idx="718">
                  <c:v>41964</c:v>
                </c:pt>
                <c:pt idx="719">
                  <c:v>41967</c:v>
                </c:pt>
                <c:pt idx="720">
                  <c:v>41968</c:v>
                </c:pt>
                <c:pt idx="721">
                  <c:v>41969</c:v>
                </c:pt>
                <c:pt idx="722">
                  <c:v>41970</c:v>
                </c:pt>
                <c:pt idx="723">
                  <c:v>41971</c:v>
                </c:pt>
                <c:pt idx="724">
                  <c:v>41974</c:v>
                </c:pt>
                <c:pt idx="725">
                  <c:v>41975</c:v>
                </c:pt>
                <c:pt idx="726">
                  <c:v>41976</c:v>
                </c:pt>
                <c:pt idx="727">
                  <c:v>41977</c:v>
                </c:pt>
                <c:pt idx="728">
                  <c:v>41978</c:v>
                </c:pt>
                <c:pt idx="729">
                  <c:v>41981</c:v>
                </c:pt>
                <c:pt idx="730">
                  <c:v>41982</c:v>
                </c:pt>
                <c:pt idx="731">
                  <c:v>41983</c:v>
                </c:pt>
                <c:pt idx="732">
                  <c:v>41984</c:v>
                </c:pt>
                <c:pt idx="733">
                  <c:v>41985</c:v>
                </c:pt>
                <c:pt idx="734">
                  <c:v>41988</c:v>
                </c:pt>
                <c:pt idx="735">
                  <c:v>41989</c:v>
                </c:pt>
                <c:pt idx="736">
                  <c:v>41990</c:v>
                </c:pt>
                <c:pt idx="737">
                  <c:v>41991</c:v>
                </c:pt>
                <c:pt idx="738">
                  <c:v>41992</c:v>
                </c:pt>
                <c:pt idx="739">
                  <c:v>41995</c:v>
                </c:pt>
                <c:pt idx="740">
                  <c:v>41996</c:v>
                </c:pt>
                <c:pt idx="741">
                  <c:v>41997</c:v>
                </c:pt>
                <c:pt idx="742">
                  <c:v>41998</c:v>
                </c:pt>
                <c:pt idx="743">
                  <c:v>41999</c:v>
                </c:pt>
                <c:pt idx="744">
                  <c:v>42016</c:v>
                </c:pt>
                <c:pt idx="745">
                  <c:v>42017</c:v>
                </c:pt>
                <c:pt idx="746">
                  <c:v>42018</c:v>
                </c:pt>
                <c:pt idx="747">
                  <c:v>42019</c:v>
                </c:pt>
                <c:pt idx="748">
                  <c:v>42020</c:v>
                </c:pt>
                <c:pt idx="749">
                  <c:v>42023</c:v>
                </c:pt>
                <c:pt idx="750">
                  <c:v>42024</c:v>
                </c:pt>
                <c:pt idx="751">
                  <c:v>42025</c:v>
                </c:pt>
                <c:pt idx="752">
                  <c:v>42026</c:v>
                </c:pt>
                <c:pt idx="753">
                  <c:v>42027</c:v>
                </c:pt>
                <c:pt idx="754">
                  <c:v>42030</c:v>
                </c:pt>
                <c:pt idx="755">
                  <c:v>42031</c:v>
                </c:pt>
              </c:numCache>
            </c:numRef>
          </c:cat>
          <c:val>
            <c:numRef>
              <c:f>Индексы_Мир_СПбМТСБ!$K$707:$K$1462</c:f>
              <c:numCache>
                <c:formatCode>General</c:formatCode>
                <c:ptCount val="756"/>
                <c:pt idx="0">
                  <c:v>26587</c:v>
                </c:pt>
                <c:pt idx="1">
                  <c:v>26201</c:v>
                </c:pt>
                <c:pt idx="2">
                  <c:v>26201</c:v>
                </c:pt>
                <c:pt idx="3">
                  <c:v>26985</c:v>
                </c:pt>
                <c:pt idx="4">
                  <c:v>26985</c:v>
                </c:pt>
                <c:pt idx="5">
                  <c:v>27087</c:v>
                </c:pt>
                <c:pt idx="6">
                  <c:v>27087</c:v>
                </c:pt>
                <c:pt idx="7">
                  <c:v>27087</c:v>
                </c:pt>
                <c:pt idx="8">
                  <c:v>27087</c:v>
                </c:pt>
                <c:pt idx="9">
                  <c:v>27087</c:v>
                </c:pt>
                <c:pt idx="10">
                  <c:v>27087</c:v>
                </c:pt>
                <c:pt idx="11">
                  <c:v>27087</c:v>
                </c:pt>
                <c:pt idx="12">
                  <c:v>27102</c:v>
                </c:pt>
                <c:pt idx="13">
                  <c:v>27102</c:v>
                </c:pt>
                <c:pt idx="14">
                  <c:v>27102</c:v>
                </c:pt>
                <c:pt idx="15">
                  <c:v>27102</c:v>
                </c:pt>
                <c:pt idx="16">
                  <c:v>27102</c:v>
                </c:pt>
                <c:pt idx="17">
                  <c:v>27102</c:v>
                </c:pt>
                <c:pt idx="18">
                  <c:v>26790</c:v>
                </c:pt>
                <c:pt idx="19">
                  <c:v>26790</c:v>
                </c:pt>
                <c:pt idx="20">
                  <c:v>26790</c:v>
                </c:pt>
                <c:pt idx="21">
                  <c:v>26790</c:v>
                </c:pt>
                <c:pt idx="22">
                  <c:v>26790</c:v>
                </c:pt>
                <c:pt idx="23">
                  <c:v>26635</c:v>
                </c:pt>
                <c:pt idx="24">
                  <c:v>26685</c:v>
                </c:pt>
                <c:pt idx="25">
                  <c:v>27025</c:v>
                </c:pt>
                <c:pt idx="26">
                  <c:v>27025</c:v>
                </c:pt>
                <c:pt idx="27">
                  <c:v>25397</c:v>
                </c:pt>
                <c:pt idx="28">
                  <c:v>25397</c:v>
                </c:pt>
                <c:pt idx="29">
                  <c:v>25397</c:v>
                </c:pt>
                <c:pt idx="30">
                  <c:v>25397</c:v>
                </c:pt>
                <c:pt idx="31">
                  <c:v>25754</c:v>
                </c:pt>
                <c:pt idx="32">
                  <c:v>26725</c:v>
                </c:pt>
                <c:pt idx="33">
                  <c:v>26725</c:v>
                </c:pt>
                <c:pt idx="34">
                  <c:v>26725</c:v>
                </c:pt>
                <c:pt idx="35">
                  <c:v>27658</c:v>
                </c:pt>
                <c:pt idx="36">
                  <c:v>27658</c:v>
                </c:pt>
                <c:pt idx="37">
                  <c:v>27198</c:v>
                </c:pt>
                <c:pt idx="38">
                  <c:v>27861</c:v>
                </c:pt>
                <c:pt idx="39">
                  <c:v>28063</c:v>
                </c:pt>
                <c:pt idx="40">
                  <c:v>27419</c:v>
                </c:pt>
                <c:pt idx="41">
                  <c:v>27419</c:v>
                </c:pt>
                <c:pt idx="42">
                  <c:v>27419</c:v>
                </c:pt>
                <c:pt idx="43">
                  <c:v>27419</c:v>
                </c:pt>
                <c:pt idx="44">
                  <c:v>27419</c:v>
                </c:pt>
                <c:pt idx="45">
                  <c:v>27680</c:v>
                </c:pt>
                <c:pt idx="46">
                  <c:v>26901</c:v>
                </c:pt>
                <c:pt idx="47">
                  <c:v>26901</c:v>
                </c:pt>
                <c:pt idx="48">
                  <c:v>26901</c:v>
                </c:pt>
                <c:pt idx="49">
                  <c:v>28659</c:v>
                </c:pt>
                <c:pt idx="50">
                  <c:v>29558</c:v>
                </c:pt>
                <c:pt idx="51">
                  <c:v>29558</c:v>
                </c:pt>
                <c:pt idx="52">
                  <c:v>28425</c:v>
                </c:pt>
                <c:pt idx="53">
                  <c:v>28001</c:v>
                </c:pt>
                <c:pt idx="54">
                  <c:v>28216</c:v>
                </c:pt>
                <c:pt idx="55">
                  <c:v>29558</c:v>
                </c:pt>
                <c:pt idx="56">
                  <c:v>28261</c:v>
                </c:pt>
                <c:pt idx="57">
                  <c:v>29558</c:v>
                </c:pt>
                <c:pt idx="58">
                  <c:v>29558</c:v>
                </c:pt>
                <c:pt idx="59">
                  <c:v>29558</c:v>
                </c:pt>
                <c:pt idx="60">
                  <c:v>28540</c:v>
                </c:pt>
                <c:pt idx="61">
                  <c:v>28150</c:v>
                </c:pt>
                <c:pt idx="62">
                  <c:v>28567</c:v>
                </c:pt>
                <c:pt idx="63">
                  <c:v>29476</c:v>
                </c:pt>
                <c:pt idx="64">
                  <c:v>28417</c:v>
                </c:pt>
                <c:pt idx="65">
                  <c:v>28190</c:v>
                </c:pt>
                <c:pt idx="66">
                  <c:v>27745</c:v>
                </c:pt>
                <c:pt idx="67">
                  <c:v>28608</c:v>
                </c:pt>
                <c:pt idx="68">
                  <c:v>27840</c:v>
                </c:pt>
                <c:pt idx="69">
                  <c:v>28210</c:v>
                </c:pt>
                <c:pt idx="70">
                  <c:v>28210</c:v>
                </c:pt>
                <c:pt idx="71">
                  <c:v>29558</c:v>
                </c:pt>
                <c:pt idx="72">
                  <c:v>28258</c:v>
                </c:pt>
                <c:pt idx="73">
                  <c:v>28397</c:v>
                </c:pt>
                <c:pt idx="74">
                  <c:v>28058</c:v>
                </c:pt>
                <c:pt idx="75">
                  <c:v>28107</c:v>
                </c:pt>
                <c:pt idx="76">
                  <c:v>28458</c:v>
                </c:pt>
                <c:pt idx="77">
                  <c:v>29252</c:v>
                </c:pt>
                <c:pt idx="78">
                  <c:v>29252</c:v>
                </c:pt>
                <c:pt idx="79">
                  <c:v>28409</c:v>
                </c:pt>
                <c:pt idx="80">
                  <c:v>28410</c:v>
                </c:pt>
                <c:pt idx="81">
                  <c:v>28558</c:v>
                </c:pt>
                <c:pt idx="82">
                  <c:v>28492</c:v>
                </c:pt>
                <c:pt idx="83">
                  <c:v>29031</c:v>
                </c:pt>
                <c:pt idx="84">
                  <c:v>28458</c:v>
                </c:pt>
                <c:pt idx="85">
                  <c:v>28458</c:v>
                </c:pt>
                <c:pt idx="86">
                  <c:v>28459</c:v>
                </c:pt>
                <c:pt idx="87">
                  <c:v>28361</c:v>
                </c:pt>
                <c:pt idx="88">
                  <c:v>28062</c:v>
                </c:pt>
                <c:pt idx="89">
                  <c:v>29434</c:v>
                </c:pt>
                <c:pt idx="90">
                  <c:v>27758</c:v>
                </c:pt>
                <c:pt idx="91">
                  <c:v>27587</c:v>
                </c:pt>
                <c:pt idx="92">
                  <c:v>28969</c:v>
                </c:pt>
                <c:pt idx="93">
                  <c:v>27626</c:v>
                </c:pt>
                <c:pt idx="94">
                  <c:v>27713</c:v>
                </c:pt>
                <c:pt idx="95">
                  <c:v>29104</c:v>
                </c:pt>
                <c:pt idx="96">
                  <c:v>27431</c:v>
                </c:pt>
                <c:pt idx="97">
                  <c:v>28063</c:v>
                </c:pt>
                <c:pt idx="98">
                  <c:v>27020</c:v>
                </c:pt>
                <c:pt idx="99">
                  <c:v>26922</c:v>
                </c:pt>
                <c:pt idx="100">
                  <c:v>26668</c:v>
                </c:pt>
                <c:pt idx="101">
                  <c:v>27550</c:v>
                </c:pt>
                <c:pt idx="102">
                  <c:v>27488</c:v>
                </c:pt>
                <c:pt idx="103">
                  <c:v>27684</c:v>
                </c:pt>
                <c:pt idx="104">
                  <c:v>27371</c:v>
                </c:pt>
                <c:pt idx="105">
                  <c:v>27301</c:v>
                </c:pt>
                <c:pt idx="106">
                  <c:v>27048</c:v>
                </c:pt>
                <c:pt idx="107">
                  <c:v>27204</c:v>
                </c:pt>
                <c:pt idx="108">
                  <c:v>27810</c:v>
                </c:pt>
                <c:pt idx="109">
                  <c:v>27415</c:v>
                </c:pt>
                <c:pt idx="110">
                  <c:v>27307</c:v>
                </c:pt>
                <c:pt idx="111">
                  <c:v>27594</c:v>
                </c:pt>
                <c:pt idx="112">
                  <c:v>27087</c:v>
                </c:pt>
                <c:pt idx="113">
                  <c:v>27679</c:v>
                </c:pt>
                <c:pt idx="114">
                  <c:v>27058</c:v>
                </c:pt>
                <c:pt idx="115">
                  <c:v>26974</c:v>
                </c:pt>
                <c:pt idx="116">
                  <c:v>26986</c:v>
                </c:pt>
                <c:pt idx="117">
                  <c:v>26937</c:v>
                </c:pt>
                <c:pt idx="118">
                  <c:v>27061</c:v>
                </c:pt>
                <c:pt idx="119">
                  <c:v>27555</c:v>
                </c:pt>
                <c:pt idx="120">
                  <c:v>26848</c:v>
                </c:pt>
                <c:pt idx="121">
                  <c:v>26451</c:v>
                </c:pt>
                <c:pt idx="122">
                  <c:v>26415</c:v>
                </c:pt>
                <c:pt idx="123">
                  <c:v>26351</c:v>
                </c:pt>
                <c:pt idx="124">
                  <c:v>26358</c:v>
                </c:pt>
                <c:pt idx="125">
                  <c:v>26873</c:v>
                </c:pt>
                <c:pt idx="126">
                  <c:v>26413</c:v>
                </c:pt>
                <c:pt idx="127">
                  <c:v>26904</c:v>
                </c:pt>
                <c:pt idx="128">
                  <c:v>27502</c:v>
                </c:pt>
                <c:pt idx="129">
                  <c:v>27193</c:v>
                </c:pt>
                <c:pt idx="130">
                  <c:v>26899</c:v>
                </c:pt>
                <c:pt idx="131">
                  <c:v>27168</c:v>
                </c:pt>
                <c:pt idx="132">
                  <c:v>27295</c:v>
                </c:pt>
                <c:pt idx="133">
                  <c:v>27630</c:v>
                </c:pt>
                <c:pt idx="134">
                  <c:v>27347</c:v>
                </c:pt>
                <c:pt idx="135">
                  <c:v>27329</c:v>
                </c:pt>
                <c:pt idx="136">
                  <c:v>27521</c:v>
                </c:pt>
                <c:pt idx="137">
                  <c:v>27208</c:v>
                </c:pt>
                <c:pt idx="138">
                  <c:v>27630</c:v>
                </c:pt>
                <c:pt idx="139">
                  <c:v>27515</c:v>
                </c:pt>
                <c:pt idx="140">
                  <c:v>28187</c:v>
                </c:pt>
                <c:pt idx="141">
                  <c:v>28148</c:v>
                </c:pt>
                <c:pt idx="142">
                  <c:v>28122</c:v>
                </c:pt>
                <c:pt idx="143">
                  <c:v>28302</c:v>
                </c:pt>
                <c:pt idx="144">
                  <c:v>28488</c:v>
                </c:pt>
                <c:pt idx="145">
                  <c:v>28965</c:v>
                </c:pt>
                <c:pt idx="146">
                  <c:v>29083</c:v>
                </c:pt>
                <c:pt idx="147">
                  <c:v>29186</c:v>
                </c:pt>
                <c:pt idx="148">
                  <c:v>29516</c:v>
                </c:pt>
                <c:pt idx="149">
                  <c:v>29640</c:v>
                </c:pt>
                <c:pt idx="150">
                  <c:v>29540</c:v>
                </c:pt>
                <c:pt idx="151">
                  <c:v>29753</c:v>
                </c:pt>
                <c:pt idx="152">
                  <c:v>29487</c:v>
                </c:pt>
                <c:pt idx="153">
                  <c:v>29614</c:v>
                </c:pt>
                <c:pt idx="154">
                  <c:v>30235</c:v>
                </c:pt>
                <c:pt idx="155">
                  <c:v>30114</c:v>
                </c:pt>
                <c:pt idx="156">
                  <c:v>30457</c:v>
                </c:pt>
                <c:pt idx="157">
                  <c:v>30343</c:v>
                </c:pt>
                <c:pt idx="158">
                  <c:v>30578</c:v>
                </c:pt>
                <c:pt idx="159">
                  <c:v>31929</c:v>
                </c:pt>
                <c:pt idx="160">
                  <c:v>30698</c:v>
                </c:pt>
                <c:pt idx="161">
                  <c:v>31190</c:v>
                </c:pt>
                <c:pt idx="162">
                  <c:v>30817</c:v>
                </c:pt>
                <c:pt idx="163">
                  <c:v>31027</c:v>
                </c:pt>
                <c:pt idx="164">
                  <c:v>31021</c:v>
                </c:pt>
                <c:pt idx="165">
                  <c:v>30524</c:v>
                </c:pt>
                <c:pt idx="166">
                  <c:v>31122</c:v>
                </c:pt>
                <c:pt idx="167">
                  <c:v>31405</c:v>
                </c:pt>
                <c:pt idx="168">
                  <c:v>31640</c:v>
                </c:pt>
                <c:pt idx="169">
                  <c:v>31879</c:v>
                </c:pt>
                <c:pt idx="170">
                  <c:v>31748</c:v>
                </c:pt>
                <c:pt idx="171">
                  <c:v>31692</c:v>
                </c:pt>
                <c:pt idx="172">
                  <c:v>31672</c:v>
                </c:pt>
                <c:pt idx="173">
                  <c:v>31945</c:v>
                </c:pt>
                <c:pt idx="174">
                  <c:v>31889</c:v>
                </c:pt>
                <c:pt idx="175">
                  <c:v>31399</c:v>
                </c:pt>
                <c:pt idx="176">
                  <c:v>32246</c:v>
                </c:pt>
                <c:pt idx="177">
                  <c:v>31964</c:v>
                </c:pt>
                <c:pt idx="178">
                  <c:v>31804</c:v>
                </c:pt>
                <c:pt idx="179">
                  <c:v>31692</c:v>
                </c:pt>
                <c:pt idx="180">
                  <c:v>31462</c:v>
                </c:pt>
                <c:pt idx="181">
                  <c:v>31287</c:v>
                </c:pt>
                <c:pt idx="182">
                  <c:v>31240</c:v>
                </c:pt>
                <c:pt idx="183">
                  <c:v>31807</c:v>
                </c:pt>
                <c:pt idx="184">
                  <c:v>30857</c:v>
                </c:pt>
                <c:pt idx="185">
                  <c:v>30577</c:v>
                </c:pt>
                <c:pt idx="186">
                  <c:v>32308</c:v>
                </c:pt>
                <c:pt idx="187">
                  <c:v>32308</c:v>
                </c:pt>
                <c:pt idx="188">
                  <c:v>30451</c:v>
                </c:pt>
                <c:pt idx="189">
                  <c:v>30451</c:v>
                </c:pt>
                <c:pt idx="190">
                  <c:v>30451</c:v>
                </c:pt>
                <c:pt idx="191">
                  <c:v>32308</c:v>
                </c:pt>
                <c:pt idx="192">
                  <c:v>31238</c:v>
                </c:pt>
                <c:pt idx="193">
                  <c:v>32308</c:v>
                </c:pt>
                <c:pt idx="194">
                  <c:v>30584</c:v>
                </c:pt>
                <c:pt idx="195">
                  <c:v>30865</c:v>
                </c:pt>
                <c:pt idx="196">
                  <c:v>30865</c:v>
                </c:pt>
                <c:pt idx="197">
                  <c:v>30865</c:v>
                </c:pt>
                <c:pt idx="198">
                  <c:v>30868</c:v>
                </c:pt>
                <c:pt idx="199">
                  <c:v>30655</c:v>
                </c:pt>
                <c:pt idx="200">
                  <c:v>30655</c:v>
                </c:pt>
                <c:pt idx="201">
                  <c:v>30655</c:v>
                </c:pt>
                <c:pt idx="202">
                  <c:v>30706</c:v>
                </c:pt>
                <c:pt idx="203">
                  <c:v>30810</c:v>
                </c:pt>
                <c:pt idx="204">
                  <c:v>30865</c:v>
                </c:pt>
                <c:pt idx="205">
                  <c:v>30773</c:v>
                </c:pt>
                <c:pt idx="206">
                  <c:v>30757</c:v>
                </c:pt>
                <c:pt idx="207">
                  <c:v>30757</c:v>
                </c:pt>
                <c:pt idx="208">
                  <c:v>30757</c:v>
                </c:pt>
                <c:pt idx="209">
                  <c:v>30750</c:v>
                </c:pt>
                <c:pt idx="210">
                  <c:v>30815</c:v>
                </c:pt>
                <c:pt idx="211">
                  <c:v>30859</c:v>
                </c:pt>
                <c:pt idx="212">
                  <c:v>30225</c:v>
                </c:pt>
                <c:pt idx="213">
                  <c:v>30225</c:v>
                </c:pt>
                <c:pt idx="214">
                  <c:v>30225</c:v>
                </c:pt>
                <c:pt idx="215">
                  <c:v>30225</c:v>
                </c:pt>
                <c:pt idx="216">
                  <c:v>31425</c:v>
                </c:pt>
                <c:pt idx="217">
                  <c:v>30888</c:v>
                </c:pt>
                <c:pt idx="218">
                  <c:v>31014</c:v>
                </c:pt>
                <c:pt idx="219">
                  <c:v>31014</c:v>
                </c:pt>
                <c:pt idx="220">
                  <c:v>31014</c:v>
                </c:pt>
                <c:pt idx="221">
                  <c:v>31014</c:v>
                </c:pt>
                <c:pt idx="222">
                  <c:v>30925</c:v>
                </c:pt>
                <c:pt idx="223">
                  <c:v>30925</c:v>
                </c:pt>
                <c:pt idx="224">
                  <c:v>30925</c:v>
                </c:pt>
                <c:pt idx="225">
                  <c:v>30925</c:v>
                </c:pt>
                <c:pt idx="226">
                  <c:v>31669</c:v>
                </c:pt>
                <c:pt idx="227">
                  <c:v>31485</c:v>
                </c:pt>
                <c:pt idx="228">
                  <c:v>31485</c:v>
                </c:pt>
                <c:pt idx="229">
                  <c:v>31327</c:v>
                </c:pt>
                <c:pt idx="230">
                  <c:v>31275</c:v>
                </c:pt>
                <c:pt idx="231">
                  <c:v>31275</c:v>
                </c:pt>
                <c:pt idx="232">
                  <c:v>31275</c:v>
                </c:pt>
                <c:pt idx="233">
                  <c:v>30011</c:v>
                </c:pt>
                <c:pt idx="234">
                  <c:v>31275</c:v>
                </c:pt>
                <c:pt idx="235">
                  <c:v>31275</c:v>
                </c:pt>
                <c:pt idx="236">
                  <c:v>31275</c:v>
                </c:pt>
                <c:pt idx="237">
                  <c:v>31275</c:v>
                </c:pt>
                <c:pt idx="238">
                  <c:v>31275</c:v>
                </c:pt>
                <c:pt idx="239">
                  <c:v>31275</c:v>
                </c:pt>
                <c:pt idx="240">
                  <c:v>29988</c:v>
                </c:pt>
                <c:pt idx="241">
                  <c:v>29988</c:v>
                </c:pt>
                <c:pt idx="242">
                  <c:v>29988</c:v>
                </c:pt>
                <c:pt idx="243">
                  <c:v>29988</c:v>
                </c:pt>
                <c:pt idx="244">
                  <c:v>29988</c:v>
                </c:pt>
                <c:pt idx="245">
                  <c:v>29988</c:v>
                </c:pt>
                <c:pt idx="246">
                  <c:v>29988</c:v>
                </c:pt>
                <c:pt idx="247">
                  <c:v>29988</c:v>
                </c:pt>
                <c:pt idx="248">
                  <c:v>29988</c:v>
                </c:pt>
                <c:pt idx="249">
                  <c:v>29988</c:v>
                </c:pt>
                <c:pt idx="250">
                  <c:v>29988</c:v>
                </c:pt>
                <c:pt idx="251">
                  <c:v>29988</c:v>
                </c:pt>
                <c:pt idx="252">
                  <c:v>29280</c:v>
                </c:pt>
                <c:pt idx="253">
                  <c:v>29280</c:v>
                </c:pt>
                <c:pt idx="254">
                  <c:v>30475</c:v>
                </c:pt>
                <c:pt idx="255">
                  <c:v>30475</c:v>
                </c:pt>
                <c:pt idx="256">
                  <c:v>30475</c:v>
                </c:pt>
                <c:pt idx="257">
                  <c:v>30475</c:v>
                </c:pt>
                <c:pt idx="258">
                  <c:v>29274</c:v>
                </c:pt>
                <c:pt idx="259">
                  <c:v>29274</c:v>
                </c:pt>
                <c:pt idx="260">
                  <c:v>29274</c:v>
                </c:pt>
                <c:pt idx="261">
                  <c:v>31174</c:v>
                </c:pt>
                <c:pt idx="262">
                  <c:v>31174</c:v>
                </c:pt>
                <c:pt idx="263">
                  <c:v>31174</c:v>
                </c:pt>
                <c:pt idx="264">
                  <c:v>31174</c:v>
                </c:pt>
                <c:pt idx="265">
                  <c:v>31174</c:v>
                </c:pt>
                <c:pt idx="266">
                  <c:v>31174</c:v>
                </c:pt>
                <c:pt idx="267">
                  <c:v>31174</c:v>
                </c:pt>
                <c:pt idx="268">
                  <c:v>31174</c:v>
                </c:pt>
                <c:pt idx="269">
                  <c:v>31174</c:v>
                </c:pt>
                <c:pt idx="270">
                  <c:v>31174</c:v>
                </c:pt>
                <c:pt idx="271">
                  <c:v>30654</c:v>
                </c:pt>
                <c:pt idx="272">
                  <c:v>28384</c:v>
                </c:pt>
                <c:pt idx="273">
                  <c:v>30654</c:v>
                </c:pt>
                <c:pt idx="274">
                  <c:v>30654</c:v>
                </c:pt>
                <c:pt idx="275">
                  <c:v>28875</c:v>
                </c:pt>
                <c:pt idx="276">
                  <c:v>30254</c:v>
                </c:pt>
                <c:pt idx="277">
                  <c:v>30465</c:v>
                </c:pt>
                <c:pt idx="278">
                  <c:v>30451</c:v>
                </c:pt>
                <c:pt idx="279">
                  <c:v>30442</c:v>
                </c:pt>
                <c:pt idx="280">
                  <c:v>30451</c:v>
                </c:pt>
                <c:pt idx="281">
                  <c:v>30686</c:v>
                </c:pt>
                <c:pt idx="282">
                  <c:v>30716</c:v>
                </c:pt>
                <c:pt idx="283">
                  <c:v>30876</c:v>
                </c:pt>
                <c:pt idx="284">
                  <c:v>30871</c:v>
                </c:pt>
                <c:pt idx="285">
                  <c:v>30867</c:v>
                </c:pt>
                <c:pt idx="286">
                  <c:v>30867</c:v>
                </c:pt>
                <c:pt idx="287">
                  <c:v>30867</c:v>
                </c:pt>
                <c:pt idx="288">
                  <c:v>30867</c:v>
                </c:pt>
                <c:pt idx="289">
                  <c:v>30891</c:v>
                </c:pt>
                <c:pt idx="290">
                  <c:v>30922</c:v>
                </c:pt>
                <c:pt idx="291">
                  <c:v>30649</c:v>
                </c:pt>
                <c:pt idx="292">
                  <c:v>30587</c:v>
                </c:pt>
                <c:pt idx="293">
                  <c:v>30989</c:v>
                </c:pt>
                <c:pt idx="294">
                  <c:v>30715</c:v>
                </c:pt>
                <c:pt idx="295">
                  <c:v>30630</c:v>
                </c:pt>
                <c:pt idx="296">
                  <c:v>30630</c:v>
                </c:pt>
                <c:pt idx="297">
                  <c:v>30867</c:v>
                </c:pt>
                <c:pt idx="298">
                  <c:v>30867</c:v>
                </c:pt>
                <c:pt idx="299">
                  <c:v>30174</c:v>
                </c:pt>
                <c:pt idx="300">
                  <c:v>30385</c:v>
                </c:pt>
                <c:pt idx="301">
                  <c:v>30235</c:v>
                </c:pt>
                <c:pt idx="302">
                  <c:v>30458</c:v>
                </c:pt>
                <c:pt idx="303">
                  <c:v>30174</c:v>
                </c:pt>
                <c:pt idx="304">
                  <c:v>30129</c:v>
                </c:pt>
                <c:pt idx="305">
                  <c:v>29928</c:v>
                </c:pt>
                <c:pt idx="306">
                  <c:v>29773</c:v>
                </c:pt>
                <c:pt idx="307">
                  <c:v>30120</c:v>
                </c:pt>
                <c:pt idx="308">
                  <c:v>30099</c:v>
                </c:pt>
                <c:pt idx="309">
                  <c:v>29997</c:v>
                </c:pt>
                <c:pt idx="310">
                  <c:v>30302</c:v>
                </c:pt>
                <c:pt idx="311">
                  <c:v>30339</c:v>
                </c:pt>
                <c:pt idx="312">
                  <c:v>30539</c:v>
                </c:pt>
                <c:pt idx="313">
                  <c:v>30573</c:v>
                </c:pt>
                <c:pt idx="314">
                  <c:v>30746</c:v>
                </c:pt>
                <c:pt idx="315">
                  <c:v>31031</c:v>
                </c:pt>
                <c:pt idx="316">
                  <c:v>31271</c:v>
                </c:pt>
                <c:pt idx="317">
                  <c:v>31469</c:v>
                </c:pt>
                <c:pt idx="318">
                  <c:v>31644</c:v>
                </c:pt>
                <c:pt idx="319">
                  <c:v>31684</c:v>
                </c:pt>
                <c:pt idx="320">
                  <c:v>31703</c:v>
                </c:pt>
                <c:pt idx="321">
                  <c:v>31484</c:v>
                </c:pt>
                <c:pt idx="322">
                  <c:v>31409</c:v>
                </c:pt>
                <c:pt idx="323">
                  <c:v>31348</c:v>
                </c:pt>
                <c:pt idx="324">
                  <c:v>31124</c:v>
                </c:pt>
                <c:pt idx="325">
                  <c:v>30927</c:v>
                </c:pt>
                <c:pt idx="326">
                  <c:v>30771</c:v>
                </c:pt>
                <c:pt idx="327">
                  <c:v>30080</c:v>
                </c:pt>
                <c:pt idx="328">
                  <c:v>30052</c:v>
                </c:pt>
                <c:pt idx="329">
                  <c:v>29875</c:v>
                </c:pt>
                <c:pt idx="330">
                  <c:v>29701</c:v>
                </c:pt>
                <c:pt idx="331">
                  <c:v>29502</c:v>
                </c:pt>
                <c:pt idx="332">
                  <c:v>29983</c:v>
                </c:pt>
                <c:pt idx="333">
                  <c:v>29989</c:v>
                </c:pt>
                <c:pt idx="334">
                  <c:v>30012</c:v>
                </c:pt>
                <c:pt idx="335">
                  <c:v>30266</c:v>
                </c:pt>
                <c:pt idx="336">
                  <c:v>29903</c:v>
                </c:pt>
                <c:pt idx="337">
                  <c:v>30108</c:v>
                </c:pt>
                <c:pt idx="338">
                  <c:v>30267</c:v>
                </c:pt>
                <c:pt idx="339">
                  <c:v>29647</c:v>
                </c:pt>
                <c:pt idx="340">
                  <c:v>29984</c:v>
                </c:pt>
                <c:pt idx="341">
                  <c:v>30339</c:v>
                </c:pt>
                <c:pt idx="342">
                  <c:v>30230</c:v>
                </c:pt>
                <c:pt idx="343">
                  <c:v>30109</c:v>
                </c:pt>
                <c:pt idx="344">
                  <c:v>29699</c:v>
                </c:pt>
                <c:pt idx="345">
                  <c:v>29489</c:v>
                </c:pt>
                <c:pt idx="346">
                  <c:v>29272</c:v>
                </c:pt>
                <c:pt idx="347">
                  <c:v>28998</c:v>
                </c:pt>
                <c:pt idx="348">
                  <c:v>29029</c:v>
                </c:pt>
                <c:pt idx="349">
                  <c:v>29137</c:v>
                </c:pt>
                <c:pt idx="350">
                  <c:v>29229</c:v>
                </c:pt>
                <c:pt idx="351">
                  <c:v>29335</c:v>
                </c:pt>
                <c:pt idx="352">
                  <c:v>29267</c:v>
                </c:pt>
                <c:pt idx="353">
                  <c:v>29321</c:v>
                </c:pt>
                <c:pt idx="354">
                  <c:v>29337</c:v>
                </c:pt>
                <c:pt idx="355">
                  <c:v>29170</c:v>
                </c:pt>
                <c:pt idx="356">
                  <c:v>29256</c:v>
                </c:pt>
                <c:pt idx="357">
                  <c:v>29228</c:v>
                </c:pt>
                <c:pt idx="358">
                  <c:v>29241</c:v>
                </c:pt>
                <c:pt idx="359">
                  <c:v>29287</c:v>
                </c:pt>
                <c:pt idx="360">
                  <c:v>29286</c:v>
                </c:pt>
                <c:pt idx="361">
                  <c:v>29301</c:v>
                </c:pt>
                <c:pt idx="362">
                  <c:v>29318</c:v>
                </c:pt>
                <c:pt idx="363">
                  <c:v>29294</c:v>
                </c:pt>
                <c:pt idx="364">
                  <c:v>29194</c:v>
                </c:pt>
                <c:pt idx="365">
                  <c:v>29277</c:v>
                </c:pt>
                <c:pt idx="366">
                  <c:v>29289</c:v>
                </c:pt>
                <c:pt idx="367">
                  <c:v>29383</c:v>
                </c:pt>
                <c:pt idx="368">
                  <c:v>29372</c:v>
                </c:pt>
                <c:pt idx="369">
                  <c:v>29467</c:v>
                </c:pt>
                <c:pt idx="370">
                  <c:v>29450</c:v>
                </c:pt>
                <c:pt idx="371">
                  <c:v>29655</c:v>
                </c:pt>
                <c:pt idx="372">
                  <c:v>29775</c:v>
                </c:pt>
                <c:pt idx="373">
                  <c:v>29811</c:v>
                </c:pt>
                <c:pt idx="374">
                  <c:v>30267</c:v>
                </c:pt>
                <c:pt idx="375">
                  <c:v>30596</c:v>
                </c:pt>
                <c:pt idx="376">
                  <c:v>30620</c:v>
                </c:pt>
                <c:pt idx="377">
                  <c:v>30677</c:v>
                </c:pt>
                <c:pt idx="378">
                  <c:v>31013</c:v>
                </c:pt>
                <c:pt idx="379">
                  <c:v>31066</c:v>
                </c:pt>
                <c:pt idx="380">
                  <c:v>30994</c:v>
                </c:pt>
                <c:pt idx="381">
                  <c:v>31021</c:v>
                </c:pt>
                <c:pt idx="382">
                  <c:v>31144</c:v>
                </c:pt>
                <c:pt idx="383">
                  <c:v>31323</c:v>
                </c:pt>
                <c:pt idx="384">
                  <c:v>31422</c:v>
                </c:pt>
                <c:pt idx="385">
                  <c:v>31441</c:v>
                </c:pt>
                <c:pt idx="386">
                  <c:v>31525</c:v>
                </c:pt>
                <c:pt idx="387">
                  <c:v>31527</c:v>
                </c:pt>
                <c:pt idx="388">
                  <c:v>31557</c:v>
                </c:pt>
                <c:pt idx="389">
                  <c:v>31610</c:v>
                </c:pt>
                <c:pt idx="390">
                  <c:v>31682</c:v>
                </c:pt>
                <c:pt idx="391">
                  <c:v>31557</c:v>
                </c:pt>
                <c:pt idx="392">
                  <c:v>31535</c:v>
                </c:pt>
                <c:pt idx="393">
                  <c:v>31723</c:v>
                </c:pt>
                <c:pt idx="394">
                  <c:v>31693</c:v>
                </c:pt>
                <c:pt idx="395">
                  <c:v>31875</c:v>
                </c:pt>
                <c:pt idx="396">
                  <c:v>31950</c:v>
                </c:pt>
                <c:pt idx="397">
                  <c:v>31863</c:v>
                </c:pt>
                <c:pt idx="398">
                  <c:v>31763</c:v>
                </c:pt>
                <c:pt idx="399">
                  <c:v>31700</c:v>
                </c:pt>
                <c:pt idx="400">
                  <c:v>31452</c:v>
                </c:pt>
                <c:pt idx="401">
                  <c:v>31171</c:v>
                </c:pt>
                <c:pt idx="402">
                  <c:v>31171</c:v>
                </c:pt>
                <c:pt idx="403">
                  <c:v>31048</c:v>
                </c:pt>
                <c:pt idx="404">
                  <c:v>31091</c:v>
                </c:pt>
                <c:pt idx="405">
                  <c:v>31097</c:v>
                </c:pt>
                <c:pt idx="406">
                  <c:v>31101</c:v>
                </c:pt>
                <c:pt idx="407">
                  <c:v>31103</c:v>
                </c:pt>
                <c:pt idx="408">
                  <c:v>31575</c:v>
                </c:pt>
                <c:pt idx="409">
                  <c:v>31631</c:v>
                </c:pt>
                <c:pt idx="410">
                  <c:v>31796</c:v>
                </c:pt>
                <c:pt idx="411">
                  <c:v>31832</c:v>
                </c:pt>
                <c:pt idx="412">
                  <c:v>31796</c:v>
                </c:pt>
                <c:pt idx="413">
                  <c:v>31940</c:v>
                </c:pt>
                <c:pt idx="414">
                  <c:v>32030</c:v>
                </c:pt>
                <c:pt idx="415">
                  <c:v>32175</c:v>
                </c:pt>
                <c:pt idx="416">
                  <c:v>32071</c:v>
                </c:pt>
                <c:pt idx="417">
                  <c:v>32262</c:v>
                </c:pt>
                <c:pt idx="418">
                  <c:v>32520</c:v>
                </c:pt>
                <c:pt idx="419">
                  <c:v>32544</c:v>
                </c:pt>
                <c:pt idx="420">
                  <c:v>32506</c:v>
                </c:pt>
                <c:pt idx="421">
                  <c:v>32525</c:v>
                </c:pt>
                <c:pt idx="422">
                  <c:v>32333</c:v>
                </c:pt>
                <c:pt idx="423">
                  <c:v>32049</c:v>
                </c:pt>
                <c:pt idx="424">
                  <c:v>31634</c:v>
                </c:pt>
                <c:pt idx="425">
                  <c:v>31464</c:v>
                </c:pt>
                <c:pt idx="426">
                  <c:v>31310</c:v>
                </c:pt>
                <c:pt idx="427">
                  <c:v>31832</c:v>
                </c:pt>
                <c:pt idx="428">
                  <c:v>31525</c:v>
                </c:pt>
                <c:pt idx="429">
                  <c:v>31580</c:v>
                </c:pt>
                <c:pt idx="430">
                  <c:v>31912</c:v>
                </c:pt>
                <c:pt idx="431">
                  <c:v>31648</c:v>
                </c:pt>
                <c:pt idx="432">
                  <c:v>31653</c:v>
                </c:pt>
                <c:pt idx="433">
                  <c:v>31493</c:v>
                </c:pt>
                <c:pt idx="434">
                  <c:v>31871</c:v>
                </c:pt>
                <c:pt idx="435">
                  <c:v>32080</c:v>
                </c:pt>
                <c:pt idx="436">
                  <c:v>32080</c:v>
                </c:pt>
                <c:pt idx="437">
                  <c:v>32209</c:v>
                </c:pt>
                <c:pt idx="438">
                  <c:v>31601</c:v>
                </c:pt>
                <c:pt idx="439">
                  <c:v>31675</c:v>
                </c:pt>
                <c:pt idx="440">
                  <c:v>31780</c:v>
                </c:pt>
                <c:pt idx="441">
                  <c:v>31630</c:v>
                </c:pt>
                <c:pt idx="442">
                  <c:v>31473</c:v>
                </c:pt>
                <c:pt idx="443">
                  <c:v>31368</c:v>
                </c:pt>
                <c:pt idx="444">
                  <c:v>31424</c:v>
                </c:pt>
                <c:pt idx="445">
                  <c:v>31614</c:v>
                </c:pt>
                <c:pt idx="446">
                  <c:v>31349</c:v>
                </c:pt>
                <c:pt idx="447">
                  <c:v>31705</c:v>
                </c:pt>
                <c:pt idx="448">
                  <c:v>31405</c:v>
                </c:pt>
                <c:pt idx="449">
                  <c:v>31492</c:v>
                </c:pt>
                <c:pt idx="450">
                  <c:v>31491</c:v>
                </c:pt>
                <c:pt idx="451">
                  <c:v>32466</c:v>
                </c:pt>
                <c:pt idx="452">
                  <c:v>31737</c:v>
                </c:pt>
                <c:pt idx="453">
                  <c:v>32387</c:v>
                </c:pt>
                <c:pt idx="454">
                  <c:v>31714</c:v>
                </c:pt>
                <c:pt idx="455">
                  <c:v>31629</c:v>
                </c:pt>
                <c:pt idx="456">
                  <c:v>31760</c:v>
                </c:pt>
                <c:pt idx="457">
                  <c:v>31864</c:v>
                </c:pt>
                <c:pt idx="458">
                  <c:v>31888</c:v>
                </c:pt>
                <c:pt idx="459">
                  <c:v>31888</c:v>
                </c:pt>
                <c:pt idx="460">
                  <c:v>32030</c:v>
                </c:pt>
                <c:pt idx="461">
                  <c:v>31830</c:v>
                </c:pt>
                <c:pt idx="462">
                  <c:v>31854</c:v>
                </c:pt>
                <c:pt idx="463">
                  <c:v>33062</c:v>
                </c:pt>
                <c:pt idx="464">
                  <c:v>32575</c:v>
                </c:pt>
                <c:pt idx="465">
                  <c:v>31809</c:v>
                </c:pt>
                <c:pt idx="466">
                  <c:v>32213</c:v>
                </c:pt>
                <c:pt idx="467">
                  <c:v>31990</c:v>
                </c:pt>
                <c:pt idx="468">
                  <c:v>32216</c:v>
                </c:pt>
                <c:pt idx="469">
                  <c:v>31844</c:v>
                </c:pt>
                <c:pt idx="470">
                  <c:v>32753</c:v>
                </c:pt>
                <c:pt idx="471">
                  <c:v>31846</c:v>
                </c:pt>
                <c:pt idx="472">
                  <c:v>32741</c:v>
                </c:pt>
                <c:pt idx="473">
                  <c:v>31342</c:v>
                </c:pt>
                <c:pt idx="474">
                  <c:v>31389</c:v>
                </c:pt>
                <c:pt idx="475">
                  <c:v>31441</c:v>
                </c:pt>
                <c:pt idx="476">
                  <c:v>31479</c:v>
                </c:pt>
                <c:pt idx="477">
                  <c:v>31543</c:v>
                </c:pt>
                <c:pt idx="478">
                  <c:v>31575</c:v>
                </c:pt>
                <c:pt idx="479">
                  <c:v>31616</c:v>
                </c:pt>
                <c:pt idx="480">
                  <c:v>31760</c:v>
                </c:pt>
                <c:pt idx="481">
                  <c:v>31593</c:v>
                </c:pt>
                <c:pt idx="482">
                  <c:v>31554</c:v>
                </c:pt>
                <c:pt idx="483">
                  <c:v>31743</c:v>
                </c:pt>
                <c:pt idx="484">
                  <c:v>31591</c:v>
                </c:pt>
                <c:pt idx="485">
                  <c:v>31798</c:v>
                </c:pt>
                <c:pt idx="486">
                  <c:v>31695</c:v>
                </c:pt>
                <c:pt idx="487">
                  <c:v>31798</c:v>
                </c:pt>
                <c:pt idx="488">
                  <c:v>31763</c:v>
                </c:pt>
                <c:pt idx="489">
                  <c:v>31162</c:v>
                </c:pt>
                <c:pt idx="490">
                  <c:v>30968</c:v>
                </c:pt>
                <c:pt idx="491">
                  <c:v>31253</c:v>
                </c:pt>
                <c:pt idx="492">
                  <c:v>31673</c:v>
                </c:pt>
                <c:pt idx="493">
                  <c:v>31321</c:v>
                </c:pt>
                <c:pt idx="494">
                  <c:v>30914</c:v>
                </c:pt>
                <c:pt idx="495">
                  <c:v>30967</c:v>
                </c:pt>
                <c:pt idx="496">
                  <c:v>30906</c:v>
                </c:pt>
                <c:pt idx="497">
                  <c:v>30863</c:v>
                </c:pt>
                <c:pt idx="498">
                  <c:v>31121</c:v>
                </c:pt>
                <c:pt idx="499">
                  <c:v>31537</c:v>
                </c:pt>
                <c:pt idx="500">
                  <c:v>30666</c:v>
                </c:pt>
                <c:pt idx="501">
                  <c:v>30676</c:v>
                </c:pt>
                <c:pt idx="502">
                  <c:v>30700</c:v>
                </c:pt>
                <c:pt idx="503">
                  <c:v>29985</c:v>
                </c:pt>
                <c:pt idx="504">
                  <c:v>29853</c:v>
                </c:pt>
                <c:pt idx="505">
                  <c:v>30412</c:v>
                </c:pt>
                <c:pt idx="506">
                  <c:v>30135</c:v>
                </c:pt>
                <c:pt idx="507">
                  <c:v>30535</c:v>
                </c:pt>
                <c:pt idx="508">
                  <c:v>30262</c:v>
                </c:pt>
                <c:pt idx="509">
                  <c:v>30634</c:v>
                </c:pt>
                <c:pt idx="510">
                  <c:v>30152</c:v>
                </c:pt>
                <c:pt idx="511">
                  <c:v>30331</c:v>
                </c:pt>
                <c:pt idx="512">
                  <c:v>31525</c:v>
                </c:pt>
                <c:pt idx="513">
                  <c:v>30557</c:v>
                </c:pt>
                <c:pt idx="514">
                  <c:v>30625</c:v>
                </c:pt>
                <c:pt idx="515">
                  <c:v>30713</c:v>
                </c:pt>
                <c:pt idx="516">
                  <c:v>31242</c:v>
                </c:pt>
                <c:pt idx="517">
                  <c:v>30848</c:v>
                </c:pt>
                <c:pt idx="518">
                  <c:v>31246</c:v>
                </c:pt>
                <c:pt idx="519">
                  <c:v>31519</c:v>
                </c:pt>
                <c:pt idx="520">
                  <c:v>30977</c:v>
                </c:pt>
                <c:pt idx="521">
                  <c:v>30842</c:v>
                </c:pt>
                <c:pt idx="522">
                  <c:v>30855</c:v>
                </c:pt>
                <c:pt idx="523">
                  <c:v>30627</c:v>
                </c:pt>
                <c:pt idx="524">
                  <c:v>30546</c:v>
                </c:pt>
                <c:pt idx="525">
                  <c:v>30678</c:v>
                </c:pt>
                <c:pt idx="526">
                  <c:v>30703</c:v>
                </c:pt>
                <c:pt idx="527">
                  <c:v>30854</c:v>
                </c:pt>
                <c:pt idx="528">
                  <c:v>30912</c:v>
                </c:pt>
                <c:pt idx="529">
                  <c:v>31055</c:v>
                </c:pt>
                <c:pt idx="530">
                  <c:v>31252</c:v>
                </c:pt>
                <c:pt idx="531">
                  <c:v>31537</c:v>
                </c:pt>
                <c:pt idx="532">
                  <c:v>31543</c:v>
                </c:pt>
                <c:pt idx="533">
                  <c:v>31792</c:v>
                </c:pt>
                <c:pt idx="534">
                  <c:v>31766</c:v>
                </c:pt>
                <c:pt idx="535">
                  <c:v>32387</c:v>
                </c:pt>
                <c:pt idx="536">
                  <c:v>32510</c:v>
                </c:pt>
                <c:pt idx="537">
                  <c:v>32826</c:v>
                </c:pt>
                <c:pt idx="538">
                  <c:v>33266</c:v>
                </c:pt>
                <c:pt idx="539">
                  <c:v>33210</c:v>
                </c:pt>
                <c:pt idx="540">
                  <c:v>33075</c:v>
                </c:pt>
                <c:pt idx="541">
                  <c:v>33025</c:v>
                </c:pt>
                <c:pt idx="542">
                  <c:v>32797</c:v>
                </c:pt>
                <c:pt idx="543">
                  <c:v>32685</c:v>
                </c:pt>
                <c:pt idx="544">
                  <c:v>32741</c:v>
                </c:pt>
                <c:pt idx="545">
                  <c:v>32630</c:v>
                </c:pt>
                <c:pt idx="546">
                  <c:v>32760</c:v>
                </c:pt>
                <c:pt idx="547">
                  <c:v>32578</c:v>
                </c:pt>
                <c:pt idx="548">
                  <c:v>32517</c:v>
                </c:pt>
                <c:pt idx="549">
                  <c:v>32560</c:v>
                </c:pt>
                <c:pt idx="550">
                  <c:v>32601</c:v>
                </c:pt>
                <c:pt idx="551">
                  <c:v>32552</c:v>
                </c:pt>
                <c:pt idx="552">
                  <c:v>32664</c:v>
                </c:pt>
                <c:pt idx="553">
                  <c:v>32724</c:v>
                </c:pt>
                <c:pt idx="554">
                  <c:v>33029</c:v>
                </c:pt>
                <c:pt idx="555">
                  <c:v>33008</c:v>
                </c:pt>
                <c:pt idx="556">
                  <c:v>33036</c:v>
                </c:pt>
                <c:pt idx="557">
                  <c:v>32641</c:v>
                </c:pt>
                <c:pt idx="558">
                  <c:v>32766</c:v>
                </c:pt>
                <c:pt idx="559">
                  <c:v>32918</c:v>
                </c:pt>
                <c:pt idx="560">
                  <c:v>32998</c:v>
                </c:pt>
                <c:pt idx="561">
                  <c:v>32966</c:v>
                </c:pt>
                <c:pt idx="562">
                  <c:v>32949</c:v>
                </c:pt>
                <c:pt idx="563">
                  <c:v>32852</c:v>
                </c:pt>
                <c:pt idx="564">
                  <c:v>32814</c:v>
                </c:pt>
                <c:pt idx="565">
                  <c:v>32862</c:v>
                </c:pt>
                <c:pt idx="566">
                  <c:v>32780</c:v>
                </c:pt>
                <c:pt idx="567">
                  <c:v>32806</c:v>
                </c:pt>
                <c:pt idx="568">
                  <c:v>32765</c:v>
                </c:pt>
                <c:pt idx="569">
                  <c:v>32786</c:v>
                </c:pt>
                <c:pt idx="570">
                  <c:v>32738</c:v>
                </c:pt>
                <c:pt idx="571">
                  <c:v>32727</c:v>
                </c:pt>
                <c:pt idx="572">
                  <c:v>32756</c:v>
                </c:pt>
                <c:pt idx="573">
                  <c:v>32833</c:v>
                </c:pt>
                <c:pt idx="574">
                  <c:v>32937</c:v>
                </c:pt>
                <c:pt idx="575">
                  <c:v>33075</c:v>
                </c:pt>
                <c:pt idx="576">
                  <c:v>33132</c:v>
                </c:pt>
                <c:pt idx="577">
                  <c:v>33172</c:v>
                </c:pt>
                <c:pt idx="578">
                  <c:v>33064</c:v>
                </c:pt>
                <c:pt idx="579">
                  <c:v>33186</c:v>
                </c:pt>
                <c:pt idx="580">
                  <c:v>33156</c:v>
                </c:pt>
                <c:pt idx="581">
                  <c:v>33246</c:v>
                </c:pt>
                <c:pt idx="582">
                  <c:v>33242</c:v>
                </c:pt>
                <c:pt idx="583">
                  <c:v>33180</c:v>
                </c:pt>
                <c:pt idx="584">
                  <c:v>33233</c:v>
                </c:pt>
                <c:pt idx="585">
                  <c:v>33265</c:v>
                </c:pt>
                <c:pt idx="586">
                  <c:v>33398</c:v>
                </c:pt>
                <c:pt idx="587">
                  <c:v>33427</c:v>
                </c:pt>
                <c:pt idx="588">
                  <c:v>33278</c:v>
                </c:pt>
                <c:pt idx="589">
                  <c:v>33194</c:v>
                </c:pt>
                <c:pt idx="590">
                  <c:v>33123</c:v>
                </c:pt>
                <c:pt idx="591">
                  <c:v>33193</c:v>
                </c:pt>
                <c:pt idx="592">
                  <c:v>33089</c:v>
                </c:pt>
                <c:pt idx="593">
                  <c:v>32927</c:v>
                </c:pt>
                <c:pt idx="594">
                  <c:v>32948</c:v>
                </c:pt>
                <c:pt idx="595">
                  <c:v>33020</c:v>
                </c:pt>
                <c:pt idx="596">
                  <c:v>32881</c:v>
                </c:pt>
                <c:pt idx="597">
                  <c:v>32832</c:v>
                </c:pt>
                <c:pt idx="598">
                  <c:v>32769</c:v>
                </c:pt>
                <c:pt idx="599">
                  <c:v>32779</c:v>
                </c:pt>
                <c:pt idx="600">
                  <c:v>32262</c:v>
                </c:pt>
                <c:pt idx="601">
                  <c:v>32120</c:v>
                </c:pt>
                <c:pt idx="602">
                  <c:v>32523</c:v>
                </c:pt>
                <c:pt idx="603">
                  <c:v>32428</c:v>
                </c:pt>
                <c:pt idx="604">
                  <c:v>32393</c:v>
                </c:pt>
                <c:pt idx="605">
                  <c:v>32240</c:v>
                </c:pt>
                <c:pt idx="606">
                  <c:v>32299</c:v>
                </c:pt>
                <c:pt idx="607">
                  <c:v>32460</c:v>
                </c:pt>
                <c:pt idx="608">
                  <c:v>32681</c:v>
                </c:pt>
                <c:pt idx="609">
                  <c:v>32940</c:v>
                </c:pt>
                <c:pt idx="610">
                  <c:v>32962</c:v>
                </c:pt>
                <c:pt idx="611">
                  <c:v>32936</c:v>
                </c:pt>
                <c:pt idx="612">
                  <c:v>32752</c:v>
                </c:pt>
                <c:pt idx="613">
                  <c:v>32754</c:v>
                </c:pt>
                <c:pt idx="614">
                  <c:v>32853</c:v>
                </c:pt>
                <c:pt idx="615">
                  <c:v>33006</c:v>
                </c:pt>
                <c:pt idx="616">
                  <c:v>32871</c:v>
                </c:pt>
                <c:pt idx="617">
                  <c:v>32894</c:v>
                </c:pt>
                <c:pt idx="618">
                  <c:v>32732</c:v>
                </c:pt>
                <c:pt idx="619">
                  <c:v>32521</c:v>
                </c:pt>
                <c:pt idx="620">
                  <c:v>32667</c:v>
                </c:pt>
                <c:pt idx="621">
                  <c:v>32733</c:v>
                </c:pt>
                <c:pt idx="622">
                  <c:v>32735</c:v>
                </c:pt>
                <c:pt idx="623">
                  <c:v>32437</c:v>
                </c:pt>
                <c:pt idx="624">
                  <c:v>32168</c:v>
                </c:pt>
                <c:pt idx="625">
                  <c:v>31916</c:v>
                </c:pt>
                <c:pt idx="626">
                  <c:v>31746</c:v>
                </c:pt>
                <c:pt idx="627">
                  <c:v>31771</c:v>
                </c:pt>
                <c:pt idx="628">
                  <c:v>31911</c:v>
                </c:pt>
                <c:pt idx="629">
                  <c:v>31862</c:v>
                </c:pt>
                <c:pt idx="630">
                  <c:v>31922</c:v>
                </c:pt>
                <c:pt idx="631">
                  <c:v>31887</c:v>
                </c:pt>
                <c:pt idx="632">
                  <c:v>31895</c:v>
                </c:pt>
                <c:pt idx="633">
                  <c:v>31889</c:v>
                </c:pt>
                <c:pt idx="634">
                  <c:v>31845</c:v>
                </c:pt>
                <c:pt idx="635">
                  <c:v>31974</c:v>
                </c:pt>
                <c:pt idx="636">
                  <c:v>31935</c:v>
                </c:pt>
                <c:pt idx="637">
                  <c:v>32105</c:v>
                </c:pt>
                <c:pt idx="638">
                  <c:v>32070</c:v>
                </c:pt>
                <c:pt idx="639">
                  <c:v>32132</c:v>
                </c:pt>
                <c:pt idx="640">
                  <c:v>32207</c:v>
                </c:pt>
                <c:pt idx="641">
                  <c:v>32192</c:v>
                </c:pt>
                <c:pt idx="642">
                  <c:v>31959</c:v>
                </c:pt>
                <c:pt idx="643">
                  <c:v>32185</c:v>
                </c:pt>
                <c:pt idx="644">
                  <c:v>32077</c:v>
                </c:pt>
                <c:pt idx="645">
                  <c:v>31973</c:v>
                </c:pt>
                <c:pt idx="646">
                  <c:v>32003</c:v>
                </c:pt>
                <c:pt idx="647">
                  <c:v>32041</c:v>
                </c:pt>
                <c:pt idx="648">
                  <c:v>31958</c:v>
                </c:pt>
                <c:pt idx="649">
                  <c:v>32060</c:v>
                </c:pt>
                <c:pt idx="650">
                  <c:v>32002</c:v>
                </c:pt>
                <c:pt idx="651">
                  <c:v>31995</c:v>
                </c:pt>
                <c:pt idx="652">
                  <c:v>32122</c:v>
                </c:pt>
                <c:pt idx="653">
                  <c:v>32167</c:v>
                </c:pt>
                <c:pt idx="654">
                  <c:v>32159</c:v>
                </c:pt>
                <c:pt idx="655">
                  <c:v>32070</c:v>
                </c:pt>
                <c:pt idx="656">
                  <c:v>32065</c:v>
                </c:pt>
                <c:pt idx="657">
                  <c:v>32129</c:v>
                </c:pt>
                <c:pt idx="658">
                  <c:v>32193</c:v>
                </c:pt>
                <c:pt idx="659">
                  <c:v>32505</c:v>
                </c:pt>
                <c:pt idx="660">
                  <c:v>32577</c:v>
                </c:pt>
                <c:pt idx="661">
                  <c:v>32663</c:v>
                </c:pt>
                <c:pt idx="662">
                  <c:v>32648</c:v>
                </c:pt>
                <c:pt idx="663">
                  <c:v>32722</c:v>
                </c:pt>
                <c:pt idx="664">
                  <c:v>32653</c:v>
                </c:pt>
                <c:pt idx="665">
                  <c:v>32835</c:v>
                </c:pt>
                <c:pt idx="666">
                  <c:v>32771</c:v>
                </c:pt>
                <c:pt idx="667">
                  <c:v>32766</c:v>
                </c:pt>
                <c:pt idx="668">
                  <c:v>32752</c:v>
                </c:pt>
                <c:pt idx="669">
                  <c:v>32617</c:v>
                </c:pt>
                <c:pt idx="670">
                  <c:v>32640</c:v>
                </c:pt>
                <c:pt idx="671">
                  <c:v>32596</c:v>
                </c:pt>
                <c:pt idx="672">
                  <c:v>32610</c:v>
                </c:pt>
                <c:pt idx="673">
                  <c:v>32637</c:v>
                </c:pt>
                <c:pt idx="674">
                  <c:v>32578</c:v>
                </c:pt>
                <c:pt idx="675">
                  <c:v>32609</c:v>
                </c:pt>
                <c:pt idx="676">
                  <c:v>32605</c:v>
                </c:pt>
                <c:pt idx="677">
                  <c:v>32802</c:v>
                </c:pt>
                <c:pt idx="678">
                  <c:v>32834</c:v>
                </c:pt>
                <c:pt idx="679">
                  <c:v>32942</c:v>
                </c:pt>
                <c:pt idx="680">
                  <c:v>32930</c:v>
                </c:pt>
                <c:pt idx="681">
                  <c:v>33208</c:v>
                </c:pt>
                <c:pt idx="682">
                  <c:v>33226</c:v>
                </c:pt>
                <c:pt idx="683">
                  <c:v>32880</c:v>
                </c:pt>
                <c:pt idx="684">
                  <c:v>32866</c:v>
                </c:pt>
                <c:pt idx="685">
                  <c:v>32944</c:v>
                </c:pt>
                <c:pt idx="686">
                  <c:v>32982</c:v>
                </c:pt>
                <c:pt idx="687">
                  <c:v>32759</c:v>
                </c:pt>
                <c:pt idx="688">
                  <c:v>32624</c:v>
                </c:pt>
                <c:pt idx="689">
                  <c:v>32548</c:v>
                </c:pt>
                <c:pt idx="690">
                  <c:v>32628</c:v>
                </c:pt>
                <c:pt idx="691">
                  <c:v>32463</c:v>
                </c:pt>
                <c:pt idx="692">
                  <c:v>32427</c:v>
                </c:pt>
                <c:pt idx="693">
                  <c:v>32466</c:v>
                </c:pt>
                <c:pt idx="694">
                  <c:v>32482</c:v>
                </c:pt>
                <c:pt idx="695">
                  <c:v>32660</c:v>
                </c:pt>
                <c:pt idx="696">
                  <c:v>32539</c:v>
                </c:pt>
                <c:pt idx="697">
                  <c:v>32313</c:v>
                </c:pt>
                <c:pt idx="698">
                  <c:v>32097</c:v>
                </c:pt>
                <c:pt idx="699">
                  <c:v>31969</c:v>
                </c:pt>
                <c:pt idx="700">
                  <c:v>31597</c:v>
                </c:pt>
                <c:pt idx="701">
                  <c:v>31504</c:v>
                </c:pt>
                <c:pt idx="702">
                  <c:v>31615</c:v>
                </c:pt>
                <c:pt idx="703">
                  <c:v>31829</c:v>
                </c:pt>
                <c:pt idx="704">
                  <c:v>31812</c:v>
                </c:pt>
                <c:pt idx="705">
                  <c:v>31745</c:v>
                </c:pt>
                <c:pt idx="706">
                  <c:v>31727</c:v>
                </c:pt>
                <c:pt idx="707">
                  <c:v>31978</c:v>
                </c:pt>
                <c:pt idx="708">
                  <c:v>31922</c:v>
                </c:pt>
                <c:pt idx="709">
                  <c:v>31687</c:v>
                </c:pt>
                <c:pt idx="710">
                  <c:v>31687</c:v>
                </c:pt>
                <c:pt idx="711">
                  <c:v>31763</c:v>
                </c:pt>
                <c:pt idx="712">
                  <c:v>31565</c:v>
                </c:pt>
                <c:pt idx="713">
                  <c:v>31416</c:v>
                </c:pt>
                <c:pt idx="714">
                  <c:v>31207</c:v>
                </c:pt>
                <c:pt idx="715">
                  <c:v>31176</c:v>
                </c:pt>
                <c:pt idx="716">
                  <c:v>31743</c:v>
                </c:pt>
                <c:pt idx="717">
                  <c:v>31021</c:v>
                </c:pt>
                <c:pt idx="718">
                  <c:v>31569</c:v>
                </c:pt>
                <c:pt idx="719">
                  <c:v>30948</c:v>
                </c:pt>
                <c:pt idx="720">
                  <c:v>31076</c:v>
                </c:pt>
                <c:pt idx="721">
                  <c:v>31054</c:v>
                </c:pt>
                <c:pt idx="722">
                  <c:v>29407</c:v>
                </c:pt>
                <c:pt idx="723">
                  <c:v>28649</c:v>
                </c:pt>
                <c:pt idx="724">
                  <c:v>27853</c:v>
                </c:pt>
                <c:pt idx="725">
                  <c:v>27982</c:v>
                </c:pt>
                <c:pt idx="726">
                  <c:v>27963</c:v>
                </c:pt>
                <c:pt idx="727">
                  <c:v>28689</c:v>
                </c:pt>
                <c:pt idx="728">
                  <c:v>29430</c:v>
                </c:pt>
                <c:pt idx="729">
                  <c:v>29576</c:v>
                </c:pt>
                <c:pt idx="730">
                  <c:v>29663</c:v>
                </c:pt>
                <c:pt idx="731">
                  <c:v>29746</c:v>
                </c:pt>
                <c:pt idx="732">
                  <c:v>30159</c:v>
                </c:pt>
                <c:pt idx="733">
                  <c:v>30357</c:v>
                </c:pt>
                <c:pt idx="734">
                  <c:v>30149</c:v>
                </c:pt>
                <c:pt idx="735">
                  <c:v>30144</c:v>
                </c:pt>
                <c:pt idx="736">
                  <c:v>29900</c:v>
                </c:pt>
                <c:pt idx="737">
                  <c:v>29371</c:v>
                </c:pt>
                <c:pt idx="738">
                  <c:v>28937</c:v>
                </c:pt>
                <c:pt idx="739">
                  <c:v>28915</c:v>
                </c:pt>
                <c:pt idx="740">
                  <c:v>29029</c:v>
                </c:pt>
                <c:pt idx="741">
                  <c:v>28935</c:v>
                </c:pt>
                <c:pt idx="742">
                  <c:v>28967</c:v>
                </c:pt>
                <c:pt idx="743">
                  <c:v>28944</c:v>
                </c:pt>
                <c:pt idx="744">
                  <c:v>28989</c:v>
                </c:pt>
                <c:pt idx="745">
                  <c:v>29097</c:v>
                </c:pt>
                <c:pt idx="746">
                  <c:v>29293</c:v>
                </c:pt>
                <c:pt idx="747">
                  <c:v>29388</c:v>
                </c:pt>
                <c:pt idx="748">
                  <c:v>29606</c:v>
                </c:pt>
                <c:pt idx="749">
                  <c:v>29285</c:v>
                </c:pt>
                <c:pt idx="750">
                  <c:v>29457</c:v>
                </c:pt>
                <c:pt idx="751">
                  <c:v>29104</c:v>
                </c:pt>
                <c:pt idx="752">
                  <c:v>28802</c:v>
                </c:pt>
                <c:pt idx="753">
                  <c:v>29190</c:v>
                </c:pt>
                <c:pt idx="754">
                  <c:v>29087</c:v>
                </c:pt>
                <c:pt idx="755">
                  <c:v>301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9917184"/>
        <c:axId val="592570048"/>
      </c:lineChart>
      <c:lineChart>
        <c:grouping val="standard"/>
        <c:varyColors val="0"/>
        <c:ser>
          <c:idx val="3"/>
          <c:order val="3"/>
          <c:tx>
            <c:strRef>
              <c:f>Индексы_Мир_СПбМТСБ!$H$2</c:f>
              <c:strCache>
                <c:ptCount val="1"/>
                <c:pt idx="0">
                  <c:v>RTSI</c:v>
                </c:pt>
              </c:strCache>
            </c:strRef>
          </c:tx>
          <c:marker>
            <c:symbol val="none"/>
          </c:marker>
          <c:cat>
            <c:numRef>
              <c:f>Индексы_Мир_СПбМТСБ!$F$707:$F$1462</c:f>
              <c:numCache>
                <c:formatCode>m/d/yyyy</c:formatCode>
                <c:ptCount val="756"/>
                <c:pt idx="0">
                  <c:v>40911</c:v>
                </c:pt>
                <c:pt idx="1">
                  <c:v>40912</c:v>
                </c:pt>
                <c:pt idx="2">
                  <c:v>40913</c:v>
                </c:pt>
                <c:pt idx="3">
                  <c:v>40914</c:v>
                </c:pt>
                <c:pt idx="4">
                  <c:v>40917</c:v>
                </c:pt>
                <c:pt idx="5">
                  <c:v>40918</c:v>
                </c:pt>
                <c:pt idx="6">
                  <c:v>40919</c:v>
                </c:pt>
                <c:pt idx="7">
                  <c:v>40920</c:v>
                </c:pt>
                <c:pt idx="8">
                  <c:v>40921</c:v>
                </c:pt>
                <c:pt idx="9">
                  <c:v>40924</c:v>
                </c:pt>
                <c:pt idx="10">
                  <c:v>40925</c:v>
                </c:pt>
                <c:pt idx="11">
                  <c:v>40926</c:v>
                </c:pt>
                <c:pt idx="12">
                  <c:v>40927</c:v>
                </c:pt>
                <c:pt idx="13">
                  <c:v>40928</c:v>
                </c:pt>
                <c:pt idx="14">
                  <c:v>40931</c:v>
                </c:pt>
                <c:pt idx="15">
                  <c:v>40932</c:v>
                </c:pt>
                <c:pt idx="16">
                  <c:v>40933</c:v>
                </c:pt>
                <c:pt idx="17">
                  <c:v>40934</c:v>
                </c:pt>
                <c:pt idx="18">
                  <c:v>40935</c:v>
                </c:pt>
                <c:pt idx="19">
                  <c:v>40938</c:v>
                </c:pt>
                <c:pt idx="20">
                  <c:v>40939</c:v>
                </c:pt>
                <c:pt idx="21">
                  <c:v>40940</c:v>
                </c:pt>
                <c:pt idx="22">
                  <c:v>40941</c:v>
                </c:pt>
                <c:pt idx="23">
                  <c:v>40942</c:v>
                </c:pt>
                <c:pt idx="24">
                  <c:v>40945</c:v>
                </c:pt>
                <c:pt idx="25">
                  <c:v>40946</c:v>
                </c:pt>
                <c:pt idx="26">
                  <c:v>40947</c:v>
                </c:pt>
                <c:pt idx="27">
                  <c:v>40948</c:v>
                </c:pt>
                <c:pt idx="28">
                  <c:v>40949</c:v>
                </c:pt>
                <c:pt idx="29">
                  <c:v>40952</c:v>
                </c:pt>
                <c:pt idx="30">
                  <c:v>40953</c:v>
                </c:pt>
                <c:pt idx="31">
                  <c:v>40954</c:v>
                </c:pt>
                <c:pt idx="32">
                  <c:v>40955</c:v>
                </c:pt>
                <c:pt idx="33">
                  <c:v>40956</c:v>
                </c:pt>
                <c:pt idx="34">
                  <c:v>40959</c:v>
                </c:pt>
                <c:pt idx="35">
                  <c:v>40960</c:v>
                </c:pt>
                <c:pt idx="36">
                  <c:v>40961</c:v>
                </c:pt>
                <c:pt idx="37">
                  <c:v>40963</c:v>
                </c:pt>
                <c:pt idx="38">
                  <c:v>40966</c:v>
                </c:pt>
                <c:pt idx="39">
                  <c:v>40967</c:v>
                </c:pt>
                <c:pt idx="40">
                  <c:v>40968</c:v>
                </c:pt>
                <c:pt idx="41">
                  <c:v>40969</c:v>
                </c:pt>
                <c:pt idx="42">
                  <c:v>40970</c:v>
                </c:pt>
                <c:pt idx="43">
                  <c:v>40973</c:v>
                </c:pt>
                <c:pt idx="44">
                  <c:v>40974</c:v>
                </c:pt>
                <c:pt idx="45">
                  <c:v>40975</c:v>
                </c:pt>
                <c:pt idx="46">
                  <c:v>40979</c:v>
                </c:pt>
                <c:pt idx="47">
                  <c:v>40980</c:v>
                </c:pt>
                <c:pt idx="48">
                  <c:v>40981</c:v>
                </c:pt>
                <c:pt idx="49">
                  <c:v>40982</c:v>
                </c:pt>
                <c:pt idx="50">
                  <c:v>40983</c:v>
                </c:pt>
                <c:pt idx="51">
                  <c:v>40984</c:v>
                </c:pt>
                <c:pt idx="52">
                  <c:v>40987</c:v>
                </c:pt>
                <c:pt idx="53">
                  <c:v>40988</c:v>
                </c:pt>
                <c:pt idx="54">
                  <c:v>40989</c:v>
                </c:pt>
                <c:pt idx="55">
                  <c:v>40990</c:v>
                </c:pt>
                <c:pt idx="56">
                  <c:v>40991</c:v>
                </c:pt>
                <c:pt idx="57">
                  <c:v>40994</c:v>
                </c:pt>
                <c:pt idx="58">
                  <c:v>40995</c:v>
                </c:pt>
                <c:pt idx="59">
                  <c:v>40996</c:v>
                </c:pt>
                <c:pt idx="60">
                  <c:v>40997</c:v>
                </c:pt>
                <c:pt idx="61">
                  <c:v>40998</c:v>
                </c:pt>
                <c:pt idx="62">
                  <c:v>41001</c:v>
                </c:pt>
                <c:pt idx="63">
                  <c:v>41002</c:v>
                </c:pt>
                <c:pt idx="64">
                  <c:v>41003</c:v>
                </c:pt>
                <c:pt idx="65">
                  <c:v>41004</c:v>
                </c:pt>
                <c:pt idx="66">
                  <c:v>41005</c:v>
                </c:pt>
                <c:pt idx="67">
                  <c:v>41008</c:v>
                </c:pt>
                <c:pt idx="68">
                  <c:v>41009</c:v>
                </c:pt>
                <c:pt idx="69">
                  <c:v>41010</c:v>
                </c:pt>
                <c:pt idx="70">
                  <c:v>41011</c:v>
                </c:pt>
                <c:pt idx="71">
                  <c:v>41012</c:v>
                </c:pt>
                <c:pt idx="72">
                  <c:v>41015</c:v>
                </c:pt>
                <c:pt idx="73">
                  <c:v>41016</c:v>
                </c:pt>
                <c:pt idx="74">
                  <c:v>41017</c:v>
                </c:pt>
                <c:pt idx="75">
                  <c:v>41018</c:v>
                </c:pt>
                <c:pt idx="76">
                  <c:v>41019</c:v>
                </c:pt>
                <c:pt idx="77">
                  <c:v>41022</c:v>
                </c:pt>
                <c:pt idx="78">
                  <c:v>41023</c:v>
                </c:pt>
                <c:pt idx="79">
                  <c:v>41024</c:v>
                </c:pt>
                <c:pt idx="80">
                  <c:v>41025</c:v>
                </c:pt>
                <c:pt idx="81">
                  <c:v>41026</c:v>
                </c:pt>
                <c:pt idx="82">
                  <c:v>41027</c:v>
                </c:pt>
                <c:pt idx="83">
                  <c:v>41031</c:v>
                </c:pt>
                <c:pt idx="84">
                  <c:v>41032</c:v>
                </c:pt>
                <c:pt idx="85">
                  <c:v>41033</c:v>
                </c:pt>
                <c:pt idx="86">
                  <c:v>41034</c:v>
                </c:pt>
                <c:pt idx="87">
                  <c:v>41036</c:v>
                </c:pt>
                <c:pt idx="88">
                  <c:v>41037</c:v>
                </c:pt>
                <c:pt idx="89">
                  <c:v>41039</c:v>
                </c:pt>
                <c:pt idx="90">
                  <c:v>41040</c:v>
                </c:pt>
                <c:pt idx="91">
                  <c:v>41041</c:v>
                </c:pt>
                <c:pt idx="92">
                  <c:v>41043</c:v>
                </c:pt>
                <c:pt idx="93">
                  <c:v>41044</c:v>
                </c:pt>
                <c:pt idx="94">
                  <c:v>41045</c:v>
                </c:pt>
                <c:pt idx="95">
                  <c:v>41046</c:v>
                </c:pt>
                <c:pt idx="96">
                  <c:v>41047</c:v>
                </c:pt>
                <c:pt idx="97">
                  <c:v>41050</c:v>
                </c:pt>
                <c:pt idx="98">
                  <c:v>41051</c:v>
                </c:pt>
                <c:pt idx="99">
                  <c:v>41052</c:v>
                </c:pt>
                <c:pt idx="100">
                  <c:v>41053</c:v>
                </c:pt>
                <c:pt idx="101">
                  <c:v>41054</c:v>
                </c:pt>
                <c:pt idx="102">
                  <c:v>41057</c:v>
                </c:pt>
                <c:pt idx="103">
                  <c:v>41058</c:v>
                </c:pt>
                <c:pt idx="104">
                  <c:v>41059</c:v>
                </c:pt>
                <c:pt idx="105">
                  <c:v>41060</c:v>
                </c:pt>
                <c:pt idx="106">
                  <c:v>41061</c:v>
                </c:pt>
                <c:pt idx="107">
                  <c:v>41064</c:v>
                </c:pt>
                <c:pt idx="108">
                  <c:v>41065</c:v>
                </c:pt>
                <c:pt idx="109">
                  <c:v>41066</c:v>
                </c:pt>
                <c:pt idx="110">
                  <c:v>41067</c:v>
                </c:pt>
                <c:pt idx="111">
                  <c:v>41068</c:v>
                </c:pt>
                <c:pt idx="112">
                  <c:v>41069</c:v>
                </c:pt>
                <c:pt idx="113">
                  <c:v>41073</c:v>
                </c:pt>
                <c:pt idx="114">
                  <c:v>41074</c:v>
                </c:pt>
                <c:pt idx="115">
                  <c:v>41075</c:v>
                </c:pt>
                <c:pt idx="116">
                  <c:v>41078</c:v>
                </c:pt>
                <c:pt idx="117">
                  <c:v>41079</c:v>
                </c:pt>
                <c:pt idx="118">
                  <c:v>41080</c:v>
                </c:pt>
                <c:pt idx="119">
                  <c:v>41081</c:v>
                </c:pt>
                <c:pt idx="120">
                  <c:v>41082</c:v>
                </c:pt>
                <c:pt idx="121">
                  <c:v>41085</c:v>
                </c:pt>
                <c:pt idx="122">
                  <c:v>41086</c:v>
                </c:pt>
                <c:pt idx="123">
                  <c:v>41087</c:v>
                </c:pt>
                <c:pt idx="124">
                  <c:v>41088</c:v>
                </c:pt>
                <c:pt idx="125">
                  <c:v>41089</c:v>
                </c:pt>
                <c:pt idx="126">
                  <c:v>41092</c:v>
                </c:pt>
                <c:pt idx="127">
                  <c:v>41093</c:v>
                </c:pt>
                <c:pt idx="128">
                  <c:v>41094</c:v>
                </c:pt>
                <c:pt idx="129">
                  <c:v>41095</c:v>
                </c:pt>
                <c:pt idx="130">
                  <c:v>41096</c:v>
                </c:pt>
                <c:pt idx="131">
                  <c:v>41099</c:v>
                </c:pt>
                <c:pt idx="132">
                  <c:v>41100</c:v>
                </c:pt>
                <c:pt idx="133">
                  <c:v>41101</c:v>
                </c:pt>
                <c:pt idx="134">
                  <c:v>41102</c:v>
                </c:pt>
                <c:pt idx="135">
                  <c:v>41103</c:v>
                </c:pt>
                <c:pt idx="136">
                  <c:v>41106</c:v>
                </c:pt>
                <c:pt idx="137">
                  <c:v>41107</c:v>
                </c:pt>
                <c:pt idx="138">
                  <c:v>41108</c:v>
                </c:pt>
                <c:pt idx="139">
                  <c:v>41109</c:v>
                </c:pt>
                <c:pt idx="140">
                  <c:v>41110</c:v>
                </c:pt>
                <c:pt idx="141">
                  <c:v>41113</c:v>
                </c:pt>
                <c:pt idx="142">
                  <c:v>41114</c:v>
                </c:pt>
                <c:pt idx="143">
                  <c:v>41115</c:v>
                </c:pt>
                <c:pt idx="144">
                  <c:v>41116</c:v>
                </c:pt>
                <c:pt idx="145">
                  <c:v>41117</c:v>
                </c:pt>
                <c:pt idx="146">
                  <c:v>41120</c:v>
                </c:pt>
                <c:pt idx="147">
                  <c:v>41121</c:v>
                </c:pt>
                <c:pt idx="148">
                  <c:v>41122</c:v>
                </c:pt>
                <c:pt idx="149">
                  <c:v>41123</c:v>
                </c:pt>
                <c:pt idx="150">
                  <c:v>41124</c:v>
                </c:pt>
                <c:pt idx="151">
                  <c:v>41127</c:v>
                </c:pt>
                <c:pt idx="152">
                  <c:v>41128</c:v>
                </c:pt>
                <c:pt idx="153">
                  <c:v>41129</c:v>
                </c:pt>
                <c:pt idx="154">
                  <c:v>41130</c:v>
                </c:pt>
                <c:pt idx="155">
                  <c:v>41131</c:v>
                </c:pt>
                <c:pt idx="156">
                  <c:v>41134</c:v>
                </c:pt>
                <c:pt idx="157">
                  <c:v>41135</c:v>
                </c:pt>
                <c:pt idx="158">
                  <c:v>41136</c:v>
                </c:pt>
                <c:pt idx="159">
                  <c:v>41137</c:v>
                </c:pt>
                <c:pt idx="160">
                  <c:v>41138</c:v>
                </c:pt>
                <c:pt idx="161">
                  <c:v>41141</c:v>
                </c:pt>
                <c:pt idx="162">
                  <c:v>41142</c:v>
                </c:pt>
                <c:pt idx="163">
                  <c:v>41143</c:v>
                </c:pt>
                <c:pt idx="164">
                  <c:v>41144</c:v>
                </c:pt>
                <c:pt idx="165">
                  <c:v>41145</c:v>
                </c:pt>
                <c:pt idx="166">
                  <c:v>41148</c:v>
                </c:pt>
                <c:pt idx="167">
                  <c:v>41149</c:v>
                </c:pt>
                <c:pt idx="168">
                  <c:v>41150</c:v>
                </c:pt>
                <c:pt idx="169">
                  <c:v>41151</c:v>
                </c:pt>
                <c:pt idx="170">
                  <c:v>41152</c:v>
                </c:pt>
                <c:pt idx="171">
                  <c:v>41155</c:v>
                </c:pt>
                <c:pt idx="172">
                  <c:v>41156</c:v>
                </c:pt>
                <c:pt idx="173">
                  <c:v>41157</c:v>
                </c:pt>
                <c:pt idx="174">
                  <c:v>41158</c:v>
                </c:pt>
                <c:pt idx="175">
                  <c:v>41159</c:v>
                </c:pt>
                <c:pt idx="176">
                  <c:v>41162</c:v>
                </c:pt>
                <c:pt idx="177">
                  <c:v>41163</c:v>
                </c:pt>
                <c:pt idx="178">
                  <c:v>41164</c:v>
                </c:pt>
                <c:pt idx="179">
                  <c:v>41165</c:v>
                </c:pt>
                <c:pt idx="180">
                  <c:v>41166</c:v>
                </c:pt>
                <c:pt idx="181">
                  <c:v>41169</c:v>
                </c:pt>
                <c:pt idx="182">
                  <c:v>41170</c:v>
                </c:pt>
                <c:pt idx="183">
                  <c:v>41171</c:v>
                </c:pt>
                <c:pt idx="184">
                  <c:v>41172</c:v>
                </c:pt>
                <c:pt idx="185">
                  <c:v>41173</c:v>
                </c:pt>
                <c:pt idx="186">
                  <c:v>41176</c:v>
                </c:pt>
                <c:pt idx="187">
                  <c:v>41177</c:v>
                </c:pt>
                <c:pt idx="188">
                  <c:v>41178</c:v>
                </c:pt>
                <c:pt idx="189">
                  <c:v>41179</c:v>
                </c:pt>
                <c:pt idx="190">
                  <c:v>41180</c:v>
                </c:pt>
                <c:pt idx="191">
                  <c:v>41183</c:v>
                </c:pt>
                <c:pt idx="192">
                  <c:v>41184</c:v>
                </c:pt>
                <c:pt idx="193">
                  <c:v>41185</c:v>
                </c:pt>
                <c:pt idx="194">
                  <c:v>41186</c:v>
                </c:pt>
                <c:pt idx="195">
                  <c:v>41187</c:v>
                </c:pt>
                <c:pt idx="196">
                  <c:v>41190</c:v>
                </c:pt>
                <c:pt idx="197">
                  <c:v>41191</c:v>
                </c:pt>
                <c:pt idx="198">
                  <c:v>41192</c:v>
                </c:pt>
                <c:pt idx="199">
                  <c:v>41193</c:v>
                </c:pt>
                <c:pt idx="200">
                  <c:v>41194</c:v>
                </c:pt>
                <c:pt idx="201">
                  <c:v>41197</c:v>
                </c:pt>
                <c:pt idx="202">
                  <c:v>41198</c:v>
                </c:pt>
                <c:pt idx="203">
                  <c:v>41199</c:v>
                </c:pt>
                <c:pt idx="204">
                  <c:v>41200</c:v>
                </c:pt>
                <c:pt idx="205">
                  <c:v>41201</c:v>
                </c:pt>
                <c:pt idx="206">
                  <c:v>41204</c:v>
                </c:pt>
                <c:pt idx="207">
                  <c:v>41205</c:v>
                </c:pt>
                <c:pt idx="208">
                  <c:v>41206</c:v>
                </c:pt>
                <c:pt idx="209">
                  <c:v>41207</c:v>
                </c:pt>
                <c:pt idx="210">
                  <c:v>41208</c:v>
                </c:pt>
                <c:pt idx="211">
                  <c:v>41211</c:v>
                </c:pt>
                <c:pt idx="212">
                  <c:v>41212</c:v>
                </c:pt>
                <c:pt idx="213">
                  <c:v>41213</c:v>
                </c:pt>
                <c:pt idx="214">
                  <c:v>41214</c:v>
                </c:pt>
                <c:pt idx="215">
                  <c:v>41215</c:v>
                </c:pt>
                <c:pt idx="216">
                  <c:v>41219</c:v>
                </c:pt>
                <c:pt idx="217">
                  <c:v>41220</c:v>
                </c:pt>
                <c:pt idx="218">
                  <c:v>41221</c:v>
                </c:pt>
                <c:pt idx="219">
                  <c:v>41222</c:v>
                </c:pt>
                <c:pt idx="220">
                  <c:v>41225</c:v>
                </c:pt>
                <c:pt idx="221">
                  <c:v>41226</c:v>
                </c:pt>
                <c:pt idx="222">
                  <c:v>41227</c:v>
                </c:pt>
                <c:pt idx="223">
                  <c:v>41228</c:v>
                </c:pt>
                <c:pt idx="224">
                  <c:v>41229</c:v>
                </c:pt>
                <c:pt idx="225">
                  <c:v>41232</c:v>
                </c:pt>
                <c:pt idx="226">
                  <c:v>41233</c:v>
                </c:pt>
                <c:pt idx="227">
                  <c:v>41234</c:v>
                </c:pt>
                <c:pt idx="228">
                  <c:v>41235</c:v>
                </c:pt>
                <c:pt idx="229">
                  <c:v>41236</c:v>
                </c:pt>
                <c:pt idx="230">
                  <c:v>41239</c:v>
                </c:pt>
                <c:pt idx="231">
                  <c:v>41240</c:v>
                </c:pt>
                <c:pt idx="232">
                  <c:v>41241</c:v>
                </c:pt>
                <c:pt idx="233">
                  <c:v>41242</c:v>
                </c:pt>
                <c:pt idx="234">
                  <c:v>41243</c:v>
                </c:pt>
                <c:pt idx="235">
                  <c:v>41246</c:v>
                </c:pt>
                <c:pt idx="236">
                  <c:v>41247</c:v>
                </c:pt>
                <c:pt idx="237">
                  <c:v>41248</c:v>
                </c:pt>
                <c:pt idx="238">
                  <c:v>41249</c:v>
                </c:pt>
                <c:pt idx="239">
                  <c:v>41250</c:v>
                </c:pt>
                <c:pt idx="240">
                  <c:v>41253</c:v>
                </c:pt>
                <c:pt idx="241">
                  <c:v>41254</c:v>
                </c:pt>
                <c:pt idx="242">
                  <c:v>41255</c:v>
                </c:pt>
                <c:pt idx="243">
                  <c:v>41256</c:v>
                </c:pt>
                <c:pt idx="244">
                  <c:v>41257</c:v>
                </c:pt>
                <c:pt idx="245">
                  <c:v>41260</c:v>
                </c:pt>
                <c:pt idx="246">
                  <c:v>41261</c:v>
                </c:pt>
                <c:pt idx="247">
                  <c:v>41262</c:v>
                </c:pt>
                <c:pt idx="248">
                  <c:v>41263</c:v>
                </c:pt>
                <c:pt idx="249">
                  <c:v>41264</c:v>
                </c:pt>
                <c:pt idx="250">
                  <c:v>41267</c:v>
                </c:pt>
                <c:pt idx="251">
                  <c:v>41268</c:v>
                </c:pt>
                <c:pt idx="252">
                  <c:v>41269</c:v>
                </c:pt>
                <c:pt idx="253">
                  <c:v>41270</c:v>
                </c:pt>
                <c:pt idx="254">
                  <c:v>41271</c:v>
                </c:pt>
                <c:pt idx="255">
                  <c:v>41283</c:v>
                </c:pt>
                <c:pt idx="256">
                  <c:v>41284</c:v>
                </c:pt>
                <c:pt idx="257">
                  <c:v>41285</c:v>
                </c:pt>
                <c:pt idx="258">
                  <c:v>41288</c:v>
                </c:pt>
                <c:pt idx="259">
                  <c:v>41289</c:v>
                </c:pt>
                <c:pt idx="260">
                  <c:v>41290</c:v>
                </c:pt>
                <c:pt idx="261">
                  <c:v>41291</c:v>
                </c:pt>
                <c:pt idx="262">
                  <c:v>41292</c:v>
                </c:pt>
                <c:pt idx="263">
                  <c:v>41295</c:v>
                </c:pt>
                <c:pt idx="264">
                  <c:v>41296</c:v>
                </c:pt>
                <c:pt idx="265">
                  <c:v>41297</c:v>
                </c:pt>
                <c:pt idx="266">
                  <c:v>41298</c:v>
                </c:pt>
                <c:pt idx="267">
                  <c:v>41299</c:v>
                </c:pt>
                <c:pt idx="268">
                  <c:v>41302</c:v>
                </c:pt>
                <c:pt idx="269">
                  <c:v>41303</c:v>
                </c:pt>
                <c:pt idx="270">
                  <c:v>41304</c:v>
                </c:pt>
                <c:pt idx="271">
                  <c:v>41305</c:v>
                </c:pt>
                <c:pt idx="272">
                  <c:v>41306</c:v>
                </c:pt>
                <c:pt idx="273">
                  <c:v>41309</c:v>
                </c:pt>
                <c:pt idx="274">
                  <c:v>41310</c:v>
                </c:pt>
                <c:pt idx="275">
                  <c:v>41311</c:v>
                </c:pt>
                <c:pt idx="276">
                  <c:v>41312</c:v>
                </c:pt>
                <c:pt idx="277">
                  <c:v>41313</c:v>
                </c:pt>
                <c:pt idx="278">
                  <c:v>41316</c:v>
                </c:pt>
                <c:pt idx="279">
                  <c:v>41317</c:v>
                </c:pt>
                <c:pt idx="280">
                  <c:v>41318</c:v>
                </c:pt>
                <c:pt idx="281">
                  <c:v>41319</c:v>
                </c:pt>
                <c:pt idx="282">
                  <c:v>41320</c:v>
                </c:pt>
                <c:pt idx="283">
                  <c:v>41323</c:v>
                </c:pt>
                <c:pt idx="284">
                  <c:v>41324</c:v>
                </c:pt>
                <c:pt idx="285">
                  <c:v>41325</c:v>
                </c:pt>
                <c:pt idx="286">
                  <c:v>41326</c:v>
                </c:pt>
                <c:pt idx="287">
                  <c:v>41327</c:v>
                </c:pt>
                <c:pt idx="288">
                  <c:v>41330</c:v>
                </c:pt>
                <c:pt idx="289">
                  <c:v>41331</c:v>
                </c:pt>
                <c:pt idx="290">
                  <c:v>41332</c:v>
                </c:pt>
                <c:pt idx="291">
                  <c:v>41333</c:v>
                </c:pt>
                <c:pt idx="292">
                  <c:v>41334</c:v>
                </c:pt>
                <c:pt idx="293">
                  <c:v>41337</c:v>
                </c:pt>
                <c:pt idx="294">
                  <c:v>41338</c:v>
                </c:pt>
                <c:pt idx="295">
                  <c:v>41339</c:v>
                </c:pt>
                <c:pt idx="296">
                  <c:v>41340</c:v>
                </c:pt>
                <c:pt idx="297">
                  <c:v>41344</c:v>
                </c:pt>
                <c:pt idx="298">
                  <c:v>41345</c:v>
                </c:pt>
                <c:pt idx="299">
                  <c:v>41346</c:v>
                </c:pt>
                <c:pt idx="300">
                  <c:v>41347</c:v>
                </c:pt>
                <c:pt idx="301">
                  <c:v>41348</c:v>
                </c:pt>
                <c:pt idx="302">
                  <c:v>41351</c:v>
                </c:pt>
                <c:pt idx="303">
                  <c:v>41352</c:v>
                </c:pt>
                <c:pt idx="304">
                  <c:v>41353</c:v>
                </c:pt>
                <c:pt idx="305">
                  <c:v>41354</c:v>
                </c:pt>
                <c:pt idx="306">
                  <c:v>41355</c:v>
                </c:pt>
                <c:pt idx="307">
                  <c:v>41358</c:v>
                </c:pt>
                <c:pt idx="308">
                  <c:v>41359</c:v>
                </c:pt>
                <c:pt idx="309">
                  <c:v>41360</c:v>
                </c:pt>
                <c:pt idx="310">
                  <c:v>41361</c:v>
                </c:pt>
                <c:pt idx="311">
                  <c:v>41362</c:v>
                </c:pt>
                <c:pt idx="312">
                  <c:v>41365</c:v>
                </c:pt>
                <c:pt idx="313">
                  <c:v>41366</c:v>
                </c:pt>
                <c:pt idx="314">
                  <c:v>41367</c:v>
                </c:pt>
                <c:pt idx="315">
                  <c:v>41368</c:v>
                </c:pt>
                <c:pt idx="316">
                  <c:v>41369</c:v>
                </c:pt>
                <c:pt idx="317">
                  <c:v>41372</c:v>
                </c:pt>
                <c:pt idx="318">
                  <c:v>41373</c:v>
                </c:pt>
                <c:pt idx="319">
                  <c:v>41374</c:v>
                </c:pt>
                <c:pt idx="320">
                  <c:v>41375</c:v>
                </c:pt>
                <c:pt idx="321">
                  <c:v>41376</c:v>
                </c:pt>
                <c:pt idx="322">
                  <c:v>41379</c:v>
                </c:pt>
                <c:pt idx="323">
                  <c:v>41380</c:v>
                </c:pt>
                <c:pt idx="324">
                  <c:v>41381</c:v>
                </c:pt>
                <c:pt idx="325">
                  <c:v>41382</c:v>
                </c:pt>
                <c:pt idx="326">
                  <c:v>41383</c:v>
                </c:pt>
                <c:pt idx="327">
                  <c:v>41386</c:v>
                </c:pt>
                <c:pt idx="328">
                  <c:v>41387</c:v>
                </c:pt>
                <c:pt idx="329">
                  <c:v>41388</c:v>
                </c:pt>
                <c:pt idx="330">
                  <c:v>41389</c:v>
                </c:pt>
                <c:pt idx="331">
                  <c:v>41390</c:v>
                </c:pt>
                <c:pt idx="332">
                  <c:v>41393</c:v>
                </c:pt>
                <c:pt idx="333">
                  <c:v>41394</c:v>
                </c:pt>
                <c:pt idx="334">
                  <c:v>41400</c:v>
                </c:pt>
                <c:pt idx="335">
                  <c:v>41401</c:v>
                </c:pt>
                <c:pt idx="336">
                  <c:v>41402</c:v>
                </c:pt>
                <c:pt idx="337">
                  <c:v>41407</c:v>
                </c:pt>
                <c:pt idx="338">
                  <c:v>41408</c:v>
                </c:pt>
                <c:pt idx="339">
                  <c:v>41409</c:v>
                </c:pt>
                <c:pt idx="340">
                  <c:v>41410</c:v>
                </c:pt>
                <c:pt idx="341">
                  <c:v>41411</c:v>
                </c:pt>
                <c:pt idx="342">
                  <c:v>41414</c:v>
                </c:pt>
                <c:pt idx="343">
                  <c:v>41415</c:v>
                </c:pt>
                <c:pt idx="344">
                  <c:v>41416</c:v>
                </c:pt>
                <c:pt idx="345">
                  <c:v>41417</c:v>
                </c:pt>
                <c:pt idx="346">
                  <c:v>41418</c:v>
                </c:pt>
                <c:pt idx="347">
                  <c:v>41421</c:v>
                </c:pt>
                <c:pt idx="348">
                  <c:v>41422</c:v>
                </c:pt>
                <c:pt idx="349">
                  <c:v>41423</c:v>
                </c:pt>
                <c:pt idx="350">
                  <c:v>41424</c:v>
                </c:pt>
                <c:pt idx="351">
                  <c:v>41425</c:v>
                </c:pt>
                <c:pt idx="352">
                  <c:v>41428</c:v>
                </c:pt>
                <c:pt idx="353">
                  <c:v>41429</c:v>
                </c:pt>
                <c:pt idx="354">
                  <c:v>41430</c:v>
                </c:pt>
                <c:pt idx="355">
                  <c:v>41431</c:v>
                </c:pt>
                <c:pt idx="356">
                  <c:v>41432</c:v>
                </c:pt>
                <c:pt idx="357">
                  <c:v>41435</c:v>
                </c:pt>
                <c:pt idx="358">
                  <c:v>41436</c:v>
                </c:pt>
                <c:pt idx="359">
                  <c:v>41438</c:v>
                </c:pt>
                <c:pt idx="360">
                  <c:v>41439</c:v>
                </c:pt>
                <c:pt idx="361">
                  <c:v>41442</c:v>
                </c:pt>
                <c:pt idx="362">
                  <c:v>41443</c:v>
                </c:pt>
                <c:pt idx="363">
                  <c:v>41444</c:v>
                </c:pt>
                <c:pt idx="364">
                  <c:v>41445</c:v>
                </c:pt>
                <c:pt idx="365">
                  <c:v>41446</c:v>
                </c:pt>
                <c:pt idx="366">
                  <c:v>41449</c:v>
                </c:pt>
                <c:pt idx="367">
                  <c:v>41450</c:v>
                </c:pt>
                <c:pt idx="368">
                  <c:v>41451</c:v>
                </c:pt>
                <c:pt idx="369">
                  <c:v>41452</c:v>
                </c:pt>
                <c:pt idx="370">
                  <c:v>41453</c:v>
                </c:pt>
                <c:pt idx="371">
                  <c:v>41456</c:v>
                </c:pt>
                <c:pt idx="372">
                  <c:v>41457</c:v>
                </c:pt>
                <c:pt idx="373">
                  <c:v>41458</c:v>
                </c:pt>
                <c:pt idx="374">
                  <c:v>41459</c:v>
                </c:pt>
                <c:pt idx="375">
                  <c:v>41460</c:v>
                </c:pt>
                <c:pt idx="376">
                  <c:v>41463</c:v>
                </c:pt>
                <c:pt idx="377">
                  <c:v>41464</c:v>
                </c:pt>
                <c:pt idx="378">
                  <c:v>41465</c:v>
                </c:pt>
                <c:pt idx="379">
                  <c:v>41466</c:v>
                </c:pt>
                <c:pt idx="380">
                  <c:v>41467</c:v>
                </c:pt>
                <c:pt idx="381">
                  <c:v>41470</c:v>
                </c:pt>
                <c:pt idx="382">
                  <c:v>41471</c:v>
                </c:pt>
                <c:pt idx="383">
                  <c:v>41472</c:v>
                </c:pt>
                <c:pt idx="384">
                  <c:v>41473</c:v>
                </c:pt>
                <c:pt idx="385">
                  <c:v>41474</c:v>
                </c:pt>
                <c:pt idx="386">
                  <c:v>41477</c:v>
                </c:pt>
                <c:pt idx="387">
                  <c:v>41478</c:v>
                </c:pt>
                <c:pt idx="388">
                  <c:v>41479</c:v>
                </c:pt>
                <c:pt idx="389">
                  <c:v>41480</c:v>
                </c:pt>
                <c:pt idx="390">
                  <c:v>41481</c:v>
                </c:pt>
                <c:pt idx="391">
                  <c:v>41484</c:v>
                </c:pt>
                <c:pt idx="392">
                  <c:v>41485</c:v>
                </c:pt>
                <c:pt idx="393">
                  <c:v>41486</c:v>
                </c:pt>
                <c:pt idx="394">
                  <c:v>41487</c:v>
                </c:pt>
                <c:pt idx="395">
                  <c:v>41488</c:v>
                </c:pt>
                <c:pt idx="396">
                  <c:v>41491</c:v>
                </c:pt>
                <c:pt idx="397">
                  <c:v>41492</c:v>
                </c:pt>
                <c:pt idx="398">
                  <c:v>41493</c:v>
                </c:pt>
                <c:pt idx="399">
                  <c:v>41494</c:v>
                </c:pt>
                <c:pt idx="400">
                  <c:v>41495</c:v>
                </c:pt>
                <c:pt idx="401">
                  <c:v>41498</c:v>
                </c:pt>
                <c:pt idx="402">
                  <c:v>41499</c:v>
                </c:pt>
                <c:pt idx="403">
                  <c:v>41500</c:v>
                </c:pt>
                <c:pt idx="404">
                  <c:v>41501</c:v>
                </c:pt>
                <c:pt idx="405">
                  <c:v>41502</c:v>
                </c:pt>
                <c:pt idx="406">
                  <c:v>41505</c:v>
                </c:pt>
                <c:pt idx="407">
                  <c:v>41506</c:v>
                </c:pt>
                <c:pt idx="408">
                  <c:v>41507</c:v>
                </c:pt>
                <c:pt idx="409">
                  <c:v>41508</c:v>
                </c:pt>
                <c:pt idx="410">
                  <c:v>41509</c:v>
                </c:pt>
                <c:pt idx="411">
                  <c:v>41512</c:v>
                </c:pt>
                <c:pt idx="412">
                  <c:v>41513</c:v>
                </c:pt>
                <c:pt idx="413">
                  <c:v>41514</c:v>
                </c:pt>
                <c:pt idx="414">
                  <c:v>41515</c:v>
                </c:pt>
                <c:pt idx="415">
                  <c:v>41516</c:v>
                </c:pt>
                <c:pt idx="416">
                  <c:v>41519</c:v>
                </c:pt>
                <c:pt idx="417">
                  <c:v>41520</c:v>
                </c:pt>
                <c:pt idx="418">
                  <c:v>41521</c:v>
                </c:pt>
                <c:pt idx="419">
                  <c:v>41522</c:v>
                </c:pt>
                <c:pt idx="420">
                  <c:v>41523</c:v>
                </c:pt>
                <c:pt idx="421">
                  <c:v>41526</c:v>
                </c:pt>
                <c:pt idx="422">
                  <c:v>41527</c:v>
                </c:pt>
                <c:pt idx="423">
                  <c:v>41528</c:v>
                </c:pt>
                <c:pt idx="424">
                  <c:v>41529</c:v>
                </c:pt>
                <c:pt idx="425">
                  <c:v>41530</c:v>
                </c:pt>
                <c:pt idx="426">
                  <c:v>41533</c:v>
                </c:pt>
                <c:pt idx="427">
                  <c:v>41534</c:v>
                </c:pt>
                <c:pt idx="428">
                  <c:v>41535</c:v>
                </c:pt>
                <c:pt idx="429">
                  <c:v>41536</c:v>
                </c:pt>
                <c:pt idx="430">
                  <c:v>41537</c:v>
                </c:pt>
                <c:pt idx="431">
                  <c:v>41540</c:v>
                </c:pt>
                <c:pt idx="432">
                  <c:v>41541</c:v>
                </c:pt>
                <c:pt idx="433">
                  <c:v>41542</c:v>
                </c:pt>
                <c:pt idx="434">
                  <c:v>41543</c:v>
                </c:pt>
                <c:pt idx="435">
                  <c:v>41544</c:v>
                </c:pt>
                <c:pt idx="436">
                  <c:v>41547</c:v>
                </c:pt>
                <c:pt idx="437">
                  <c:v>41548</c:v>
                </c:pt>
                <c:pt idx="438">
                  <c:v>41549</c:v>
                </c:pt>
                <c:pt idx="439">
                  <c:v>41550</c:v>
                </c:pt>
                <c:pt idx="440">
                  <c:v>41551</c:v>
                </c:pt>
                <c:pt idx="441">
                  <c:v>41554</c:v>
                </c:pt>
                <c:pt idx="442">
                  <c:v>41555</c:v>
                </c:pt>
                <c:pt idx="443">
                  <c:v>41556</c:v>
                </c:pt>
                <c:pt idx="444">
                  <c:v>41557</c:v>
                </c:pt>
                <c:pt idx="445">
                  <c:v>41558</c:v>
                </c:pt>
                <c:pt idx="446">
                  <c:v>41561</c:v>
                </c:pt>
                <c:pt idx="447">
                  <c:v>41562</c:v>
                </c:pt>
                <c:pt idx="448">
                  <c:v>41563</c:v>
                </c:pt>
                <c:pt idx="449">
                  <c:v>41564</c:v>
                </c:pt>
                <c:pt idx="450">
                  <c:v>41565</c:v>
                </c:pt>
                <c:pt idx="451">
                  <c:v>41568</c:v>
                </c:pt>
                <c:pt idx="452">
                  <c:v>41569</c:v>
                </c:pt>
                <c:pt idx="453">
                  <c:v>41570</c:v>
                </c:pt>
                <c:pt idx="454">
                  <c:v>41571</c:v>
                </c:pt>
                <c:pt idx="455">
                  <c:v>41572</c:v>
                </c:pt>
                <c:pt idx="456">
                  <c:v>41575</c:v>
                </c:pt>
                <c:pt idx="457">
                  <c:v>41576</c:v>
                </c:pt>
                <c:pt idx="458">
                  <c:v>41577</c:v>
                </c:pt>
                <c:pt idx="459">
                  <c:v>41578</c:v>
                </c:pt>
                <c:pt idx="460">
                  <c:v>41579</c:v>
                </c:pt>
                <c:pt idx="461">
                  <c:v>41583</c:v>
                </c:pt>
                <c:pt idx="462">
                  <c:v>41584</c:v>
                </c:pt>
                <c:pt idx="463">
                  <c:v>41585</c:v>
                </c:pt>
                <c:pt idx="464">
                  <c:v>41586</c:v>
                </c:pt>
                <c:pt idx="465">
                  <c:v>41589</c:v>
                </c:pt>
                <c:pt idx="466">
                  <c:v>41590</c:v>
                </c:pt>
                <c:pt idx="467">
                  <c:v>41591</c:v>
                </c:pt>
                <c:pt idx="468">
                  <c:v>41592</c:v>
                </c:pt>
                <c:pt idx="469">
                  <c:v>41593</c:v>
                </c:pt>
                <c:pt idx="470">
                  <c:v>41596</c:v>
                </c:pt>
                <c:pt idx="471">
                  <c:v>41597</c:v>
                </c:pt>
                <c:pt idx="472">
                  <c:v>41598</c:v>
                </c:pt>
                <c:pt idx="473">
                  <c:v>41599</c:v>
                </c:pt>
                <c:pt idx="474">
                  <c:v>41600</c:v>
                </c:pt>
                <c:pt idx="475">
                  <c:v>41603</c:v>
                </c:pt>
                <c:pt idx="476">
                  <c:v>41604</c:v>
                </c:pt>
                <c:pt idx="477">
                  <c:v>41605</c:v>
                </c:pt>
                <c:pt idx="478">
                  <c:v>41606</c:v>
                </c:pt>
                <c:pt idx="479">
                  <c:v>41607</c:v>
                </c:pt>
                <c:pt idx="480">
                  <c:v>41610</c:v>
                </c:pt>
                <c:pt idx="481">
                  <c:v>41611</c:v>
                </c:pt>
                <c:pt idx="482">
                  <c:v>41612</c:v>
                </c:pt>
                <c:pt idx="483">
                  <c:v>41613</c:v>
                </c:pt>
                <c:pt idx="484">
                  <c:v>41614</c:v>
                </c:pt>
                <c:pt idx="485">
                  <c:v>41617</c:v>
                </c:pt>
                <c:pt idx="486">
                  <c:v>41618</c:v>
                </c:pt>
                <c:pt idx="487">
                  <c:v>41619</c:v>
                </c:pt>
                <c:pt idx="488">
                  <c:v>41620</c:v>
                </c:pt>
                <c:pt idx="489">
                  <c:v>41621</c:v>
                </c:pt>
                <c:pt idx="490">
                  <c:v>41624</c:v>
                </c:pt>
                <c:pt idx="491">
                  <c:v>41625</c:v>
                </c:pt>
                <c:pt idx="492">
                  <c:v>41626</c:v>
                </c:pt>
                <c:pt idx="493">
                  <c:v>41627</c:v>
                </c:pt>
                <c:pt idx="494">
                  <c:v>41628</c:v>
                </c:pt>
                <c:pt idx="495">
                  <c:v>41631</c:v>
                </c:pt>
                <c:pt idx="496">
                  <c:v>41632</c:v>
                </c:pt>
                <c:pt idx="497">
                  <c:v>41633</c:v>
                </c:pt>
                <c:pt idx="498">
                  <c:v>41634</c:v>
                </c:pt>
                <c:pt idx="499">
                  <c:v>41635</c:v>
                </c:pt>
                <c:pt idx="500">
                  <c:v>41648</c:v>
                </c:pt>
                <c:pt idx="501">
                  <c:v>41649</c:v>
                </c:pt>
                <c:pt idx="502">
                  <c:v>41652</c:v>
                </c:pt>
                <c:pt idx="503">
                  <c:v>41653</c:v>
                </c:pt>
                <c:pt idx="504">
                  <c:v>41654</c:v>
                </c:pt>
                <c:pt idx="505">
                  <c:v>41655</c:v>
                </c:pt>
                <c:pt idx="506">
                  <c:v>41656</c:v>
                </c:pt>
                <c:pt idx="507">
                  <c:v>41659</c:v>
                </c:pt>
                <c:pt idx="508">
                  <c:v>41660</c:v>
                </c:pt>
                <c:pt idx="509">
                  <c:v>41661</c:v>
                </c:pt>
                <c:pt idx="510">
                  <c:v>41662</c:v>
                </c:pt>
                <c:pt idx="511">
                  <c:v>41663</c:v>
                </c:pt>
                <c:pt idx="512">
                  <c:v>41666</c:v>
                </c:pt>
                <c:pt idx="513">
                  <c:v>41667</c:v>
                </c:pt>
                <c:pt idx="514">
                  <c:v>41668</c:v>
                </c:pt>
                <c:pt idx="515">
                  <c:v>41669</c:v>
                </c:pt>
                <c:pt idx="516">
                  <c:v>41670</c:v>
                </c:pt>
                <c:pt idx="517">
                  <c:v>41673</c:v>
                </c:pt>
                <c:pt idx="518">
                  <c:v>41674</c:v>
                </c:pt>
                <c:pt idx="519">
                  <c:v>41675</c:v>
                </c:pt>
                <c:pt idx="520">
                  <c:v>41676</c:v>
                </c:pt>
                <c:pt idx="521">
                  <c:v>41677</c:v>
                </c:pt>
                <c:pt idx="522">
                  <c:v>41680</c:v>
                </c:pt>
                <c:pt idx="523">
                  <c:v>41681</c:v>
                </c:pt>
                <c:pt idx="524">
                  <c:v>41682</c:v>
                </c:pt>
                <c:pt idx="525">
                  <c:v>41683</c:v>
                </c:pt>
                <c:pt idx="526">
                  <c:v>41684</c:v>
                </c:pt>
                <c:pt idx="527">
                  <c:v>41687</c:v>
                </c:pt>
                <c:pt idx="528">
                  <c:v>41688</c:v>
                </c:pt>
                <c:pt idx="529">
                  <c:v>41689</c:v>
                </c:pt>
                <c:pt idx="530">
                  <c:v>41690</c:v>
                </c:pt>
                <c:pt idx="531">
                  <c:v>41691</c:v>
                </c:pt>
                <c:pt idx="532">
                  <c:v>41694</c:v>
                </c:pt>
                <c:pt idx="533">
                  <c:v>41695</c:v>
                </c:pt>
                <c:pt idx="534">
                  <c:v>41696</c:v>
                </c:pt>
                <c:pt idx="535">
                  <c:v>41697</c:v>
                </c:pt>
                <c:pt idx="536">
                  <c:v>41698</c:v>
                </c:pt>
                <c:pt idx="537">
                  <c:v>41701</c:v>
                </c:pt>
                <c:pt idx="538">
                  <c:v>41702</c:v>
                </c:pt>
                <c:pt idx="539">
                  <c:v>41703</c:v>
                </c:pt>
                <c:pt idx="540">
                  <c:v>41704</c:v>
                </c:pt>
                <c:pt idx="541">
                  <c:v>41705</c:v>
                </c:pt>
                <c:pt idx="542">
                  <c:v>41709</c:v>
                </c:pt>
                <c:pt idx="543">
                  <c:v>41710</c:v>
                </c:pt>
                <c:pt idx="544">
                  <c:v>41711</c:v>
                </c:pt>
                <c:pt idx="545">
                  <c:v>41712</c:v>
                </c:pt>
                <c:pt idx="546">
                  <c:v>41715</c:v>
                </c:pt>
                <c:pt idx="547">
                  <c:v>41716</c:v>
                </c:pt>
                <c:pt idx="548">
                  <c:v>41717</c:v>
                </c:pt>
                <c:pt idx="549">
                  <c:v>41718</c:v>
                </c:pt>
                <c:pt idx="550">
                  <c:v>41719</c:v>
                </c:pt>
                <c:pt idx="551">
                  <c:v>41722</c:v>
                </c:pt>
                <c:pt idx="552">
                  <c:v>41723</c:v>
                </c:pt>
                <c:pt idx="553">
                  <c:v>41724</c:v>
                </c:pt>
                <c:pt idx="554">
                  <c:v>41725</c:v>
                </c:pt>
                <c:pt idx="555">
                  <c:v>41726</c:v>
                </c:pt>
                <c:pt idx="556">
                  <c:v>41729</c:v>
                </c:pt>
                <c:pt idx="557">
                  <c:v>41730</c:v>
                </c:pt>
                <c:pt idx="558">
                  <c:v>41731</c:v>
                </c:pt>
                <c:pt idx="559">
                  <c:v>41732</c:v>
                </c:pt>
                <c:pt idx="560">
                  <c:v>41733</c:v>
                </c:pt>
                <c:pt idx="561">
                  <c:v>41736</c:v>
                </c:pt>
                <c:pt idx="562">
                  <c:v>41737</c:v>
                </c:pt>
                <c:pt idx="563">
                  <c:v>41738</c:v>
                </c:pt>
                <c:pt idx="564">
                  <c:v>41739</c:v>
                </c:pt>
                <c:pt idx="565">
                  <c:v>41740</c:v>
                </c:pt>
                <c:pt idx="566">
                  <c:v>41743</c:v>
                </c:pt>
                <c:pt idx="567">
                  <c:v>41744</c:v>
                </c:pt>
                <c:pt idx="568">
                  <c:v>41745</c:v>
                </c:pt>
                <c:pt idx="569">
                  <c:v>41746</c:v>
                </c:pt>
                <c:pt idx="570">
                  <c:v>41747</c:v>
                </c:pt>
                <c:pt idx="571">
                  <c:v>41750</c:v>
                </c:pt>
                <c:pt idx="572">
                  <c:v>41751</c:v>
                </c:pt>
                <c:pt idx="573">
                  <c:v>41752</c:v>
                </c:pt>
                <c:pt idx="574">
                  <c:v>41753</c:v>
                </c:pt>
                <c:pt idx="575">
                  <c:v>41754</c:v>
                </c:pt>
                <c:pt idx="576">
                  <c:v>41757</c:v>
                </c:pt>
                <c:pt idx="577">
                  <c:v>41758</c:v>
                </c:pt>
                <c:pt idx="578">
                  <c:v>41759</c:v>
                </c:pt>
                <c:pt idx="579">
                  <c:v>41764</c:v>
                </c:pt>
                <c:pt idx="580">
                  <c:v>41765</c:v>
                </c:pt>
                <c:pt idx="581">
                  <c:v>41766</c:v>
                </c:pt>
                <c:pt idx="582">
                  <c:v>41767</c:v>
                </c:pt>
                <c:pt idx="583">
                  <c:v>41771</c:v>
                </c:pt>
                <c:pt idx="584">
                  <c:v>41772</c:v>
                </c:pt>
                <c:pt idx="585">
                  <c:v>41773</c:v>
                </c:pt>
                <c:pt idx="586">
                  <c:v>41774</c:v>
                </c:pt>
                <c:pt idx="587">
                  <c:v>41775</c:v>
                </c:pt>
                <c:pt idx="588">
                  <c:v>41778</c:v>
                </c:pt>
                <c:pt idx="589">
                  <c:v>41779</c:v>
                </c:pt>
                <c:pt idx="590">
                  <c:v>41780</c:v>
                </c:pt>
                <c:pt idx="591">
                  <c:v>41781</c:v>
                </c:pt>
                <c:pt idx="592">
                  <c:v>41782</c:v>
                </c:pt>
                <c:pt idx="593">
                  <c:v>41785</c:v>
                </c:pt>
                <c:pt idx="594">
                  <c:v>41786</c:v>
                </c:pt>
                <c:pt idx="595">
                  <c:v>41787</c:v>
                </c:pt>
                <c:pt idx="596">
                  <c:v>41788</c:v>
                </c:pt>
                <c:pt idx="597">
                  <c:v>41789</c:v>
                </c:pt>
                <c:pt idx="598">
                  <c:v>41792</c:v>
                </c:pt>
                <c:pt idx="599">
                  <c:v>41793</c:v>
                </c:pt>
                <c:pt idx="600">
                  <c:v>41794</c:v>
                </c:pt>
                <c:pt idx="601">
                  <c:v>41795</c:v>
                </c:pt>
                <c:pt idx="602">
                  <c:v>41796</c:v>
                </c:pt>
                <c:pt idx="603">
                  <c:v>41799</c:v>
                </c:pt>
                <c:pt idx="604">
                  <c:v>41800</c:v>
                </c:pt>
                <c:pt idx="605">
                  <c:v>41801</c:v>
                </c:pt>
                <c:pt idx="606">
                  <c:v>41806</c:v>
                </c:pt>
                <c:pt idx="607">
                  <c:v>41807</c:v>
                </c:pt>
                <c:pt idx="608">
                  <c:v>41808</c:v>
                </c:pt>
                <c:pt idx="609">
                  <c:v>41809</c:v>
                </c:pt>
                <c:pt idx="610">
                  <c:v>41810</c:v>
                </c:pt>
                <c:pt idx="611">
                  <c:v>41813</c:v>
                </c:pt>
                <c:pt idx="612">
                  <c:v>41814</c:v>
                </c:pt>
                <c:pt idx="613">
                  <c:v>41815</c:v>
                </c:pt>
                <c:pt idx="614">
                  <c:v>41816</c:v>
                </c:pt>
                <c:pt idx="615">
                  <c:v>41817</c:v>
                </c:pt>
                <c:pt idx="616">
                  <c:v>41820</c:v>
                </c:pt>
                <c:pt idx="617">
                  <c:v>41821</c:v>
                </c:pt>
                <c:pt idx="618">
                  <c:v>41822</c:v>
                </c:pt>
                <c:pt idx="619">
                  <c:v>41823</c:v>
                </c:pt>
                <c:pt idx="620">
                  <c:v>41824</c:v>
                </c:pt>
                <c:pt idx="621">
                  <c:v>41827</c:v>
                </c:pt>
                <c:pt idx="622">
                  <c:v>41828</c:v>
                </c:pt>
                <c:pt idx="623">
                  <c:v>41829</c:v>
                </c:pt>
                <c:pt idx="624">
                  <c:v>41830</c:v>
                </c:pt>
                <c:pt idx="625">
                  <c:v>41831</c:v>
                </c:pt>
                <c:pt idx="626">
                  <c:v>41834</c:v>
                </c:pt>
                <c:pt idx="627">
                  <c:v>41835</c:v>
                </c:pt>
                <c:pt idx="628">
                  <c:v>41836</c:v>
                </c:pt>
                <c:pt idx="629">
                  <c:v>41837</c:v>
                </c:pt>
                <c:pt idx="630">
                  <c:v>41838</c:v>
                </c:pt>
                <c:pt idx="631">
                  <c:v>41841</c:v>
                </c:pt>
                <c:pt idx="632">
                  <c:v>41842</c:v>
                </c:pt>
                <c:pt idx="633">
                  <c:v>41843</c:v>
                </c:pt>
                <c:pt idx="634">
                  <c:v>41844</c:v>
                </c:pt>
                <c:pt idx="635">
                  <c:v>41845</c:v>
                </c:pt>
                <c:pt idx="636">
                  <c:v>41848</c:v>
                </c:pt>
                <c:pt idx="637">
                  <c:v>41849</c:v>
                </c:pt>
                <c:pt idx="638">
                  <c:v>41850</c:v>
                </c:pt>
                <c:pt idx="639">
                  <c:v>41851</c:v>
                </c:pt>
                <c:pt idx="640">
                  <c:v>41852</c:v>
                </c:pt>
                <c:pt idx="641">
                  <c:v>41855</c:v>
                </c:pt>
                <c:pt idx="642">
                  <c:v>41856</c:v>
                </c:pt>
                <c:pt idx="643">
                  <c:v>41857</c:v>
                </c:pt>
                <c:pt idx="644">
                  <c:v>41858</c:v>
                </c:pt>
                <c:pt idx="645">
                  <c:v>41859</c:v>
                </c:pt>
                <c:pt idx="646">
                  <c:v>41862</c:v>
                </c:pt>
                <c:pt idx="647">
                  <c:v>41863</c:v>
                </c:pt>
                <c:pt idx="648">
                  <c:v>41864</c:v>
                </c:pt>
                <c:pt idx="649">
                  <c:v>41865</c:v>
                </c:pt>
                <c:pt idx="650">
                  <c:v>41866</c:v>
                </c:pt>
                <c:pt idx="651">
                  <c:v>41869</c:v>
                </c:pt>
                <c:pt idx="652">
                  <c:v>41870</c:v>
                </c:pt>
                <c:pt idx="653">
                  <c:v>41871</c:v>
                </c:pt>
                <c:pt idx="654">
                  <c:v>41872</c:v>
                </c:pt>
                <c:pt idx="655">
                  <c:v>41873</c:v>
                </c:pt>
                <c:pt idx="656">
                  <c:v>41876</c:v>
                </c:pt>
                <c:pt idx="657">
                  <c:v>41877</c:v>
                </c:pt>
                <c:pt idx="658">
                  <c:v>41878</c:v>
                </c:pt>
                <c:pt idx="659">
                  <c:v>41879</c:v>
                </c:pt>
                <c:pt idx="660">
                  <c:v>41880</c:v>
                </c:pt>
                <c:pt idx="661">
                  <c:v>41883</c:v>
                </c:pt>
                <c:pt idx="662">
                  <c:v>41884</c:v>
                </c:pt>
                <c:pt idx="663">
                  <c:v>41885</c:v>
                </c:pt>
                <c:pt idx="664">
                  <c:v>41886</c:v>
                </c:pt>
                <c:pt idx="665">
                  <c:v>41887</c:v>
                </c:pt>
                <c:pt idx="666">
                  <c:v>41890</c:v>
                </c:pt>
                <c:pt idx="667">
                  <c:v>41891</c:v>
                </c:pt>
                <c:pt idx="668">
                  <c:v>41892</c:v>
                </c:pt>
                <c:pt idx="669">
                  <c:v>41893</c:v>
                </c:pt>
                <c:pt idx="670">
                  <c:v>41894</c:v>
                </c:pt>
                <c:pt idx="671">
                  <c:v>41897</c:v>
                </c:pt>
                <c:pt idx="672">
                  <c:v>41898</c:v>
                </c:pt>
                <c:pt idx="673">
                  <c:v>41899</c:v>
                </c:pt>
                <c:pt idx="674">
                  <c:v>41900</c:v>
                </c:pt>
                <c:pt idx="675">
                  <c:v>41901</c:v>
                </c:pt>
                <c:pt idx="676">
                  <c:v>41904</c:v>
                </c:pt>
                <c:pt idx="677">
                  <c:v>41905</c:v>
                </c:pt>
                <c:pt idx="678">
                  <c:v>41906</c:v>
                </c:pt>
                <c:pt idx="679">
                  <c:v>41907</c:v>
                </c:pt>
                <c:pt idx="680">
                  <c:v>41908</c:v>
                </c:pt>
                <c:pt idx="681">
                  <c:v>41911</c:v>
                </c:pt>
                <c:pt idx="682">
                  <c:v>41912</c:v>
                </c:pt>
                <c:pt idx="683">
                  <c:v>41913</c:v>
                </c:pt>
                <c:pt idx="684">
                  <c:v>41914</c:v>
                </c:pt>
                <c:pt idx="685">
                  <c:v>41915</c:v>
                </c:pt>
                <c:pt idx="686">
                  <c:v>41918</c:v>
                </c:pt>
                <c:pt idx="687">
                  <c:v>41919</c:v>
                </c:pt>
                <c:pt idx="688">
                  <c:v>41920</c:v>
                </c:pt>
                <c:pt idx="689">
                  <c:v>41921</c:v>
                </c:pt>
                <c:pt idx="690">
                  <c:v>41922</c:v>
                </c:pt>
                <c:pt idx="691">
                  <c:v>41925</c:v>
                </c:pt>
                <c:pt idx="692">
                  <c:v>41926</c:v>
                </c:pt>
                <c:pt idx="693">
                  <c:v>41927</c:v>
                </c:pt>
                <c:pt idx="694">
                  <c:v>41928</c:v>
                </c:pt>
                <c:pt idx="695">
                  <c:v>41929</c:v>
                </c:pt>
                <c:pt idx="696">
                  <c:v>41932</c:v>
                </c:pt>
                <c:pt idx="697">
                  <c:v>41933</c:v>
                </c:pt>
                <c:pt idx="698">
                  <c:v>41934</c:v>
                </c:pt>
                <c:pt idx="699">
                  <c:v>41935</c:v>
                </c:pt>
                <c:pt idx="700">
                  <c:v>41936</c:v>
                </c:pt>
                <c:pt idx="701">
                  <c:v>41939</c:v>
                </c:pt>
                <c:pt idx="702">
                  <c:v>41940</c:v>
                </c:pt>
                <c:pt idx="703">
                  <c:v>41941</c:v>
                </c:pt>
                <c:pt idx="704">
                  <c:v>41942</c:v>
                </c:pt>
                <c:pt idx="705">
                  <c:v>41943</c:v>
                </c:pt>
                <c:pt idx="706">
                  <c:v>41948</c:v>
                </c:pt>
                <c:pt idx="707">
                  <c:v>41949</c:v>
                </c:pt>
                <c:pt idx="708">
                  <c:v>41950</c:v>
                </c:pt>
                <c:pt idx="709">
                  <c:v>41953</c:v>
                </c:pt>
                <c:pt idx="710">
                  <c:v>41954</c:v>
                </c:pt>
                <c:pt idx="711">
                  <c:v>41955</c:v>
                </c:pt>
                <c:pt idx="712">
                  <c:v>41956</c:v>
                </c:pt>
                <c:pt idx="713">
                  <c:v>41957</c:v>
                </c:pt>
                <c:pt idx="714">
                  <c:v>41960</c:v>
                </c:pt>
                <c:pt idx="715">
                  <c:v>41961</c:v>
                </c:pt>
                <c:pt idx="716">
                  <c:v>41962</c:v>
                </c:pt>
                <c:pt idx="717">
                  <c:v>41963</c:v>
                </c:pt>
                <c:pt idx="718">
                  <c:v>41964</c:v>
                </c:pt>
                <c:pt idx="719">
                  <c:v>41967</c:v>
                </c:pt>
                <c:pt idx="720">
                  <c:v>41968</c:v>
                </c:pt>
                <c:pt idx="721">
                  <c:v>41969</c:v>
                </c:pt>
                <c:pt idx="722">
                  <c:v>41970</c:v>
                </c:pt>
                <c:pt idx="723">
                  <c:v>41971</c:v>
                </c:pt>
                <c:pt idx="724">
                  <c:v>41974</c:v>
                </c:pt>
                <c:pt idx="725">
                  <c:v>41975</c:v>
                </c:pt>
                <c:pt idx="726">
                  <c:v>41976</c:v>
                </c:pt>
                <c:pt idx="727">
                  <c:v>41977</c:v>
                </c:pt>
                <c:pt idx="728">
                  <c:v>41978</c:v>
                </c:pt>
                <c:pt idx="729">
                  <c:v>41981</c:v>
                </c:pt>
                <c:pt idx="730">
                  <c:v>41982</c:v>
                </c:pt>
                <c:pt idx="731">
                  <c:v>41983</c:v>
                </c:pt>
                <c:pt idx="732">
                  <c:v>41984</c:v>
                </c:pt>
                <c:pt idx="733">
                  <c:v>41985</c:v>
                </c:pt>
                <c:pt idx="734">
                  <c:v>41988</c:v>
                </c:pt>
                <c:pt idx="735">
                  <c:v>41989</c:v>
                </c:pt>
                <c:pt idx="736">
                  <c:v>41990</c:v>
                </c:pt>
                <c:pt idx="737">
                  <c:v>41991</c:v>
                </c:pt>
                <c:pt idx="738">
                  <c:v>41992</c:v>
                </c:pt>
                <c:pt idx="739">
                  <c:v>41995</c:v>
                </c:pt>
                <c:pt idx="740">
                  <c:v>41996</c:v>
                </c:pt>
                <c:pt idx="741">
                  <c:v>41997</c:v>
                </c:pt>
                <c:pt idx="742">
                  <c:v>41998</c:v>
                </c:pt>
                <c:pt idx="743">
                  <c:v>41999</c:v>
                </c:pt>
                <c:pt idx="744">
                  <c:v>42016</c:v>
                </c:pt>
                <c:pt idx="745">
                  <c:v>42017</c:v>
                </c:pt>
                <c:pt idx="746">
                  <c:v>42018</c:v>
                </c:pt>
                <c:pt idx="747">
                  <c:v>42019</c:v>
                </c:pt>
                <c:pt idx="748">
                  <c:v>42020</c:v>
                </c:pt>
                <c:pt idx="749">
                  <c:v>42023</c:v>
                </c:pt>
                <c:pt idx="750">
                  <c:v>42024</c:v>
                </c:pt>
                <c:pt idx="751">
                  <c:v>42025</c:v>
                </c:pt>
                <c:pt idx="752">
                  <c:v>42026</c:v>
                </c:pt>
                <c:pt idx="753">
                  <c:v>42027</c:v>
                </c:pt>
                <c:pt idx="754">
                  <c:v>42030</c:v>
                </c:pt>
                <c:pt idx="755">
                  <c:v>42031</c:v>
                </c:pt>
              </c:numCache>
            </c:numRef>
          </c:cat>
          <c:val>
            <c:numRef>
              <c:f>Индексы_Мир_СПбМТСБ!$H$707:$H$1462</c:f>
              <c:numCache>
                <c:formatCode>General</c:formatCode>
                <c:ptCount val="756"/>
                <c:pt idx="0">
                  <c:v>1434.23</c:v>
                </c:pt>
                <c:pt idx="1">
                  <c:v>1434.19</c:v>
                </c:pt>
                <c:pt idx="2">
                  <c:v>1415.48</c:v>
                </c:pt>
                <c:pt idx="3">
                  <c:v>1423.7</c:v>
                </c:pt>
                <c:pt idx="4">
                  <c:v>1430.13</c:v>
                </c:pt>
                <c:pt idx="5">
                  <c:v>1469.76</c:v>
                </c:pt>
                <c:pt idx="6">
                  <c:v>1452.69</c:v>
                </c:pt>
                <c:pt idx="7">
                  <c:v>1458.24</c:v>
                </c:pt>
                <c:pt idx="8">
                  <c:v>1446.46</c:v>
                </c:pt>
                <c:pt idx="9">
                  <c:v>1455.32</c:v>
                </c:pt>
                <c:pt idx="10">
                  <c:v>1476.31</c:v>
                </c:pt>
                <c:pt idx="11">
                  <c:v>1488.37</c:v>
                </c:pt>
                <c:pt idx="12">
                  <c:v>1503.89</c:v>
                </c:pt>
                <c:pt idx="13">
                  <c:v>1496.41</c:v>
                </c:pt>
                <c:pt idx="14">
                  <c:v>1522.57</c:v>
                </c:pt>
                <c:pt idx="15">
                  <c:v>1514.93</c:v>
                </c:pt>
                <c:pt idx="16">
                  <c:v>1534.14</c:v>
                </c:pt>
                <c:pt idx="17">
                  <c:v>1573.04</c:v>
                </c:pt>
                <c:pt idx="18">
                  <c:v>1565.82</c:v>
                </c:pt>
                <c:pt idx="19">
                  <c:v>1546.59</c:v>
                </c:pt>
                <c:pt idx="20">
                  <c:v>1577.29</c:v>
                </c:pt>
                <c:pt idx="21">
                  <c:v>1599.56</c:v>
                </c:pt>
                <c:pt idx="22">
                  <c:v>1602.99</c:v>
                </c:pt>
                <c:pt idx="23">
                  <c:v>1625.6</c:v>
                </c:pt>
                <c:pt idx="24">
                  <c:v>1626.46</c:v>
                </c:pt>
                <c:pt idx="25">
                  <c:v>1632.35</c:v>
                </c:pt>
                <c:pt idx="26">
                  <c:v>1643.53</c:v>
                </c:pt>
                <c:pt idx="27">
                  <c:v>1638.09</c:v>
                </c:pt>
                <c:pt idx="28">
                  <c:v>1603.25</c:v>
                </c:pt>
                <c:pt idx="29">
                  <c:v>1645.94</c:v>
                </c:pt>
                <c:pt idx="30">
                  <c:v>1644.1</c:v>
                </c:pt>
                <c:pt idx="31">
                  <c:v>1661.36</c:v>
                </c:pt>
                <c:pt idx="32">
                  <c:v>1641.51</c:v>
                </c:pt>
                <c:pt idx="33">
                  <c:v>1656.6</c:v>
                </c:pt>
                <c:pt idx="34">
                  <c:v>1674.27</c:v>
                </c:pt>
                <c:pt idx="35">
                  <c:v>1655.35</c:v>
                </c:pt>
                <c:pt idx="36">
                  <c:v>1642.01</c:v>
                </c:pt>
                <c:pt idx="37">
                  <c:v>1722.05</c:v>
                </c:pt>
                <c:pt idx="38">
                  <c:v>1728.13</c:v>
                </c:pt>
                <c:pt idx="39">
                  <c:v>1708.16</c:v>
                </c:pt>
                <c:pt idx="40">
                  <c:v>1734.99</c:v>
                </c:pt>
                <c:pt idx="41">
                  <c:v>1723.57</c:v>
                </c:pt>
                <c:pt idx="42">
                  <c:v>1726.73</c:v>
                </c:pt>
                <c:pt idx="43">
                  <c:v>1752.17</c:v>
                </c:pt>
                <c:pt idx="44">
                  <c:v>1676.48</c:v>
                </c:pt>
                <c:pt idx="45">
                  <c:v>1677.21</c:v>
                </c:pt>
                <c:pt idx="46">
                  <c:v>1721.27</c:v>
                </c:pt>
                <c:pt idx="47">
                  <c:v>1714.12</c:v>
                </c:pt>
                <c:pt idx="48">
                  <c:v>1729.91</c:v>
                </c:pt>
                <c:pt idx="49">
                  <c:v>1752.02</c:v>
                </c:pt>
                <c:pt idx="50">
                  <c:v>1754.81</c:v>
                </c:pt>
                <c:pt idx="51">
                  <c:v>1748.32</c:v>
                </c:pt>
                <c:pt idx="52">
                  <c:v>1722.5</c:v>
                </c:pt>
                <c:pt idx="53">
                  <c:v>1693.07</c:v>
                </c:pt>
                <c:pt idx="54">
                  <c:v>1686.91</c:v>
                </c:pt>
                <c:pt idx="55">
                  <c:v>1653.8</c:v>
                </c:pt>
                <c:pt idx="56">
                  <c:v>1668.41</c:v>
                </c:pt>
                <c:pt idx="57">
                  <c:v>1712.85</c:v>
                </c:pt>
                <c:pt idx="58">
                  <c:v>1699.68</c:v>
                </c:pt>
                <c:pt idx="59">
                  <c:v>1647.44</c:v>
                </c:pt>
                <c:pt idx="60">
                  <c:v>1613.41</c:v>
                </c:pt>
                <c:pt idx="61">
                  <c:v>1637.73</c:v>
                </c:pt>
                <c:pt idx="62">
                  <c:v>1643.2</c:v>
                </c:pt>
                <c:pt idx="63">
                  <c:v>1681.8</c:v>
                </c:pt>
                <c:pt idx="64">
                  <c:v>1632.21</c:v>
                </c:pt>
                <c:pt idx="65">
                  <c:v>1642.62</c:v>
                </c:pt>
                <c:pt idx="66">
                  <c:v>1613.25</c:v>
                </c:pt>
                <c:pt idx="67">
                  <c:v>1622.07</c:v>
                </c:pt>
                <c:pt idx="68">
                  <c:v>1606.98</c:v>
                </c:pt>
                <c:pt idx="69">
                  <c:v>1615.69</c:v>
                </c:pt>
                <c:pt idx="70">
                  <c:v>1620.19</c:v>
                </c:pt>
                <c:pt idx="71">
                  <c:v>1612.74</c:v>
                </c:pt>
                <c:pt idx="72">
                  <c:v>1587.58</c:v>
                </c:pt>
                <c:pt idx="73">
                  <c:v>1585.4</c:v>
                </c:pt>
                <c:pt idx="74">
                  <c:v>1583.06</c:v>
                </c:pt>
                <c:pt idx="75">
                  <c:v>1609.56</c:v>
                </c:pt>
                <c:pt idx="76">
                  <c:v>1619.53</c:v>
                </c:pt>
                <c:pt idx="77">
                  <c:v>1572.88</c:v>
                </c:pt>
                <c:pt idx="78">
                  <c:v>1576.22</c:v>
                </c:pt>
                <c:pt idx="79">
                  <c:v>1583.42</c:v>
                </c:pt>
                <c:pt idx="80">
                  <c:v>1574.61</c:v>
                </c:pt>
                <c:pt idx="81">
                  <c:v>1594.2</c:v>
                </c:pt>
                <c:pt idx="82">
                  <c:v>1593.97</c:v>
                </c:pt>
                <c:pt idx="83">
                  <c:v>1569.1</c:v>
                </c:pt>
                <c:pt idx="84">
                  <c:v>1560.11</c:v>
                </c:pt>
                <c:pt idx="85">
                  <c:v>1498.05</c:v>
                </c:pt>
                <c:pt idx="86">
                  <c:v>1489.55</c:v>
                </c:pt>
                <c:pt idx="87">
                  <c:v>1488.64</c:v>
                </c:pt>
                <c:pt idx="88">
                  <c:v>1481.06</c:v>
                </c:pt>
                <c:pt idx="89">
                  <c:v>1489.45</c:v>
                </c:pt>
                <c:pt idx="90">
                  <c:v>1464.53</c:v>
                </c:pt>
                <c:pt idx="91">
                  <c:v>1453.91</c:v>
                </c:pt>
                <c:pt idx="92">
                  <c:v>1401.73</c:v>
                </c:pt>
                <c:pt idx="93">
                  <c:v>1400.77</c:v>
                </c:pt>
                <c:pt idx="94">
                  <c:v>1373.82</c:v>
                </c:pt>
                <c:pt idx="95">
                  <c:v>1313.43</c:v>
                </c:pt>
                <c:pt idx="96">
                  <c:v>1289.46</c:v>
                </c:pt>
                <c:pt idx="97">
                  <c:v>1318.29</c:v>
                </c:pt>
                <c:pt idx="98">
                  <c:v>1321.87</c:v>
                </c:pt>
                <c:pt idx="99">
                  <c:v>1264.29</c:v>
                </c:pt>
                <c:pt idx="100">
                  <c:v>1287.43</c:v>
                </c:pt>
                <c:pt idx="101">
                  <c:v>1272.69</c:v>
                </c:pt>
                <c:pt idx="102">
                  <c:v>1277.1500000000001</c:v>
                </c:pt>
                <c:pt idx="103">
                  <c:v>1307.03</c:v>
                </c:pt>
                <c:pt idx="104">
                  <c:v>1273.26</c:v>
                </c:pt>
                <c:pt idx="105">
                  <c:v>1242.43</c:v>
                </c:pt>
                <c:pt idx="106">
                  <c:v>1227.6500000000001</c:v>
                </c:pt>
                <c:pt idx="107">
                  <c:v>1239.99</c:v>
                </c:pt>
                <c:pt idx="108">
                  <c:v>1246.4000000000001</c:v>
                </c:pt>
                <c:pt idx="109">
                  <c:v>1277.54</c:v>
                </c:pt>
                <c:pt idx="110">
                  <c:v>1303.96</c:v>
                </c:pt>
                <c:pt idx="111">
                  <c:v>1282.48</c:v>
                </c:pt>
                <c:pt idx="112">
                  <c:v>1296.98</c:v>
                </c:pt>
                <c:pt idx="113">
                  <c:v>1309.58</c:v>
                </c:pt>
                <c:pt idx="114">
                  <c:v>1304.07</c:v>
                </c:pt>
                <c:pt idx="115">
                  <c:v>1337.5</c:v>
                </c:pt>
                <c:pt idx="116">
                  <c:v>1348.38</c:v>
                </c:pt>
                <c:pt idx="117">
                  <c:v>1350.15</c:v>
                </c:pt>
                <c:pt idx="118">
                  <c:v>1332.64</c:v>
                </c:pt>
                <c:pt idx="119">
                  <c:v>1306.8499999999999</c:v>
                </c:pt>
                <c:pt idx="120">
                  <c:v>1281.8800000000001</c:v>
                </c:pt>
                <c:pt idx="121">
                  <c:v>1261.8900000000001</c:v>
                </c:pt>
                <c:pt idx="122">
                  <c:v>1288.67</c:v>
                </c:pt>
                <c:pt idx="123">
                  <c:v>1306.82</c:v>
                </c:pt>
                <c:pt idx="124">
                  <c:v>1280.92</c:v>
                </c:pt>
                <c:pt idx="125">
                  <c:v>1350.51</c:v>
                </c:pt>
                <c:pt idx="126">
                  <c:v>1357.34</c:v>
                </c:pt>
                <c:pt idx="127">
                  <c:v>1408.43</c:v>
                </c:pt>
                <c:pt idx="128">
                  <c:v>1408.21</c:v>
                </c:pt>
                <c:pt idx="129">
                  <c:v>1388.07</c:v>
                </c:pt>
                <c:pt idx="130">
                  <c:v>1357.71</c:v>
                </c:pt>
                <c:pt idx="131">
                  <c:v>1352.5</c:v>
                </c:pt>
                <c:pt idx="132">
                  <c:v>1362.95</c:v>
                </c:pt>
                <c:pt idx="133">
                  <c:v>1355.86</c:v>
                </c:pt>
                <c:pt idx="134">
                  <c:v>1340.17</c:v>
                </c:pt>
                <c:pt idx="135">
                  <c:v>1368.69</c:v>
                </c:pt>
                <c:pt idx="136">
                  <c:v>1374.02</c:v>
                </c:pt>
                <c:pt idx="137">
                  <c:v>1382</c:v>
                </c:pt>
                <c:pt idx="138">
                  <c:v>1390.63</c:v>
                </c:pt>
                <c:pt idx="139">
                  <c:v>1413.97</c:v>
                </c:pt>
                <c:pt idx="140">
                  <c:v>1391.55</c:v>
                </c:pt>
                <c:pt idx="141">
                  <c:v>1323.96</c:v>
                </c:pt>
                <c:pt idx="142">
                  <c:v>1314.27</c:v>
                </c:pt>
                <c:pt idx="143">
                  <c:v>1318.31</c:v>
                </c:pt>
                <c:pt idx="144">
                  <c:v>1349.9</c:v>
                </c:pt>
                <c:pt idx="145">
                  <c:v>1382.82</c:v>
                </c:pt>
                <c:pt idx="146">
                  <c:v>1398.07</c:v>
                </c:pt>
                <c:pt idx="147">
                  <c:v>1377.35</c:v>
                </c:pt>
                <c:pt idx="148">
                  <c:v>1374.98</c:v>
                </c:pt>
                <c:pt idx="149">
                  <c:v>1355.32</c:v>
                </c:pt>
                <c:pt idx="150">
                  <c:v>1398.33</c:v>
                </c:pt>
                <c:pt idx="151">
                  <c:v>1433.54</c:v>
                </c:pt>
                <c:pt idx="152">
                  <c:v>1445.34</c:v>
                </c:pt>
                <c:pt idx="153">
                  <c:v>1444.79</c:v>
                </c:pt>
                <c:pt idx="154">
                  <c:v>1447.09</c:v>
                </c:pt>
                <c:pt idx="155">
                  <c:v>1427.33</c:v>
                </c:pt>
                <c:pt idx="156">
                  <c:v>1436.15</c:v>
                </c:pt>
                <c:pt idx="157">
                  <c:v>1445.29</c:v>
                </c:pt>
                <c:pt idx="158">
                  <c:v>1427.67</c:v>
                </c:pt>
                <c:pt idx="159">
                  <c:v>1431.07</c:v>
                </c:pt>
                <c:pt idx="160">
                  <c:v>1416.78</c:v>
                </c:pt>
                <c:pt idx="161">
                  <c:v>1403.55</c:v>
                </c:pt>
                <c:pt idx="162">
                  <c:v>1442.72</c:v>
                </c:pt>
                <c:pt idx="163">
                  <c:v>1430.48</c:v>
                </c:pt>
                <c:pt idx="164">
                  <c:v>1442.94</c:v>
                </c:pt>
                <c:pt idx="165">
                  <c:v>1436.84</c:v>
                </c:pt>
                <c:pt idx="166">
                  <c:v>1431.53</c:v>
                </c:pt>
                <c:pt idx="167">
                  <c:v>1428.88</c:v>
                </c:pt>
                <c:pt idx="168">
                  <c:v>1410.16</c:v>
                </c:pt>
                <c:pt idx="169">
                  <c:v>1384.26</c:v>
                </c:pt>
                <c:pt idx="170">
                  <c:v>1389.72</c:v>
                </c:pt>
                <c:pt idx="171">
                  <c:v>1406.04</c:v>
                </c:pt>
                <c:pt idx="172">
                  <c:v>1405.71</c:v>
                </c:pt>
                <c:pt idx="173">
                  <c:v>1391.02</c:v>
                </c:pt>
                <c:pt idx="174">
                  <c:v>1437.37</c:v>
                </c:pt>
                <c:pt idx="175">
                  <c:v>1471.8</c:v>
                </c:pt>
                <c:pt idx="176">
                  <c:v>1476.44</c:v>
                </c:pt>
                <c:pt idx="177">
                  <c:v>1480.05</c:v>
                </c:pt>
                <c:pt idx="178">
                  <c:v>1482.51</c:v>
                </c:pt>
                <c:pt idx="179">
                  <c:v>1484.88</c:v>
                </c:pt>
                <c:pt idx="180">
                  <c:v>1589.4</c:v>
                </c:pt>
                <c:pt idx="181">
                  <c:v>1582.22</c:v>
                </c:pt>
                <c:pt idx="182">
                  <c:v>1547.74</c:v>
                </c:pt>
                <c:pt idx="183">
                  <c:v>1517.58</c:v>
                </c:pt>
                <c:pt idx="184">
                  <c:v>1515.88</c:v>
                </c:pt>
                <c:pt idx="185">
                  <c:v>1522.63</c:v>
                </c:pt>
                <c:pt idx="186">
                  <c:v>1509.58</c:v>
                </c:pt>
                <c:pt idx="187">
                  <c:v>1510.96</c:v>
                </c:pt>
                <c:pt idx="188">
                  <c:v>1456.99</c:v>
                </c:pt>
                <c:pt idx="189">
                  <c:v>1474.76</c:v>
                </c:pt>
                <c:pt idx="190">
                  <c:v>1475.7</c:v>
                </c:pt>
                <c:pt idx="191">
                  <c:v>1513.81</c:v>
                </c:pt>
                <c:pt idx="192">
                  <c:v>1507.77</c:v>
                </c:pt>
                <c:pt idx="193">
                  <c:v>1492.3</c:v>
                </c:pt>
                <c:pt idx="194">
                  <c:v>1483.03</c:v>
                </c:pt>
                <c:pt idx="195">
                  <c:v>1508.72</c:v>
                </c:pt>
                <c:pt idx="196">
                  <c:v>1492.51</c:v>
                </c:pt>
                <c:pt idx="197">
                  <c:v>1494.16</c:v>
                </c:pt>
                <c:pt idx="198">
                  <c:v>1483.84</c:v>
                </c:pt>
                <c:pt idx="199">
                  <c:v>1490.41</c:v>
                </c:pt>
                <c:pt idx="200">
                  <c:v>1472.36</c:v>
                </c:pt>
                <c:pt idx="201">
                  <c:v>1466.82</c:v>
                </c:pt>
                <c:pt idx="202">
                  <c:v>1488.18</c:v>
                </c:pt>
                <c:pt idx="203">
                  <c:v>1513.96</c:v>
                </c:pt>
                <c:pt idx="204">
                  <c:v>1512.01</c:v>
                </c:pt>
                <c:pt idx="205">
                  <c:v>1494.44</c:v>
                </c:pt>
                <c:pt idx="206">
                  <c:v>1497.63</c:v>
                </c:pt>
                <c:pt idx="207">
                  <c:v>1456.73</c:v>
                </c:pt>
                <c:pt idx="208">
                  <c:v>1462.43</c:v>
                </c:pt>
                <c:pt idx="209">
                  <c:v>1456.91</c:v>
                </c:pt>
                <c:pt idx="210">
                  <c:v>1441.38</c:v>
                </c:pt>
                <c:pt idx="211">
                  <c:v>1435.05</c:v>
                </c:pt>
                <c:pt idx="212">
                  <c:v>1430.1</c:v>
                </c:pt>
                <c:pt idx="213">
                  <c:v>1433.96</c:v>
                </c:pt>
                <c:pt idx="214">
                  <c:v>1443.5</c:v>
                </c:pt>
                <c:pt idx="215">
                  <c:v>1444.19</c:v>
                </c:pt>
                <c:pt idx="216">
                  <c:v>1448.98</c:v>
                </c:pt>
                <c:pt idx="217">
                  <c:v>1426.94</c:v>
                </c:pt>
                <c:pt idx="218">
                  <c:v>1410.27</c:v>
                </c:pt>
                <c:pt idx="219">
                  <c:v>1397.86</c:v>
                </c:pt>
                <c:pt idx="220">
                  <c:v>1404.26</c:v>
                </c:pt>
                <c:pt idx="221">
                  <c:v>1363.63</c:v>
                </c:pt>
                <c:pt idx="222">
                  <c:v>1367.15</c:v>
                </c:pt>
                <c:pt idx="223">
                  <c:v>1381.58</c:v>
                </c:pt>
                <c:pt idx="224">
                  <c:v>1376.1</c:v>
                </c:pt>
                <c:pt idx="225">
                  <c:v>1399.7</c:v>
                </c:pt>
                <c:pt idx="226">
                  <c:v>1403.59</c:v>
                </c:pt>
                <c:pt idx="227">
                  <c:v>1420.97</c:v>
                </c:pt>
                <c:pt idx="228">
                  <c:v>1419.88</c:v>
                </c:pt>
                <c:pt idx="229">
                  <c:v>1432.24</c:v>
                </c:pt>
                <c:pt idx="230">
                  <c:v>1426.96</c:v>
                </c:pt>
                <c:pt idx="231">
                  <c:v>1417.6</c:v>
                </c:pt>
                <c:pt idx="232">
                  <c:v>1397.38</c:v>
                </c:pt>
                <c:pt idx="233">
                  <c:v>1420.35</c:v>
                </c:pt>
                <c:pt idx="234">
                  <c:v>1436.55</c:v>
                </c:pt>
                <c:pt idx="235">
                  <c:v>1451.69</c:v>
                </c:pt>
                <c:pt idx="236">
                  <c:v>1443.87</c:v>
                </c:pt>
                <c:pt idx="237">
                  <c:v>1469.54</c:v>
                </c:pt>
                <c:pt idx="238">
                  <c:v>1467</c:v>
                </c:pt>
                <c:pt idx="239">
                  <c:v>1471.09</c:v>
                </c:pt>
                <c:pt idx="240">
                  <c:v>1480.78</c:v>
                </c:pt>
                <c:pt idx="241">
                  <c:v>1484.5</c:v>
                </c:pt>
                <c:pt idx="242">
                  <c:v>1506.91</c:v>
                </c:pt>
                <c:pt idx="243">
                  <c:v>1499.68</c:v>
                </c:pt>
                <c:pt idx="244">
                  <c:v>1500.89</c:v>
                </c:pt>
                <c:pt idx="245">
                  <c:v>1491.21</c:v>
                </c:pt>
                <c:pt idx="246">
                  <c:v>1511.43</c:v>
                </c:pt>
                <c:pt idx="247">
                  <c:v>1517.39</c:v>
                </c:pt>
                <c:pt idx="248">
                  <c:v>1528.89</c:v>
                </c:pt>
                <c:pt idx="249">
                  <c:v>1512.18</c:v>
                </c:pt>
                <c:pt idx="250">
                  <c:v>1515.87</c:v>
                </c:pt>
                <c:pt idx="251">
                  <c:v>1513.74</c:v>
                </c:pt>
                <c:pt idx="252">
                  <c:v>1526.34</c:v>
                </c:pt>
                <c:pt idx="253">
                  <c:v>1535.05</c:v>
                </c:pt>
                <c:pt idx="254">
                  <c:v>1526.98</c:v>
                </c:pt>
                <c:pt idx="255">
                  <c:v>1568.59</c:v>
                </c:pt>
                <c:pt idx="256">
                  <c:v>1572</c:v>
                </c:pt>
                <c:pt idx="257">
                  <c:v>1571.73</c:v>
                </c:pt>
                <c:pt idx="258">
                  <c:v>1590.21</c:v>
                </c:pt>
                <c:pt idx="259">
                  <c:v>1576.54</c:v>
                </c:pt>
                <c:pt idx="260">
                  <c:v>1571.15</c:v>
                </c:pt>
                <c:pt idx="261">
                  <c:v>1585.44</c:v>
                </c:pt>
                <c:pt idx="262">
                  <c:v>1603.5</c:v>
                </c:pt>
                <c:pt idx="263">
                  <c:v>1600.13</c:v>
                </c:pt>
                <c:pt idx="264">
                  <c:v>1589.02</c:v>
                </c:pt>
                <c:pt idx="265">
                  <c:v>1605.36</c:v>
                </c:pt>
                <c:pt idx="266">
                  <c:v>1604.65</c:v>
                </c:pt>
                <c:pt idx="267">
                  <c:v>1618.84</c:v>
                </c:pt>
                <c:pt idx="268">
                  <c:v>1635.5</c:v>
                </c:pt>
                <c:pt idx="269">
                  <c:v>1623.87</c:v>
                </c:pt>
                <c:pt idx="270">
                  <c:v>1618.77</c:v>
                </c:pt>
                <c:pt idx="271">
                  <c:v>1622.13</c:v>
                </c:pt>
                <c:pt idx="272">
                  <c:v>1628.31</c:v>
                </c:pt>
                <c:pt idx="273">
                  <c:v>1612.52</c:v>
                </c:pt>
                <c:pt idx="274">
                  <c:v>1614.09</c:v>
                </c:pt>
                <c:pt idx="275">
                  <c:v>1602.99</c:v>
                </c:pt>
                <c:pt idx="276">
                  <c:v>1595.36</c:v>
                </c:pt>
                <c:pt idx="277">
                  <c:v>1590.13</c:v>
                </c:pt>
                <c:pt idx="278">
                  <c:v>1581.95</c:v>
                </c:pt>
                <c:pt idx="279">
                  <c:v>1582.35</c:v>
                </c:pt>
                <c:pt idx="280">
                  <c:v>1612.65</c:v>
                </c:pt>
                <c:pt idx="281">
                  <c:v>1588.31</c:v>
                </c:pt>
                <c:pt idx="282">
                  <c:v>1577.26</c:v>
                </c:pt>
                <c:pt idx="283">
                  <c:v>1578.65</c:v>
                </c:pt>
                <c:pt idx="284">
                  <c:v>1592.74</c:v>
                </c:pt>
                <c:pt idx="285">
                  <c:v>1582.63</c:v>
                </c:pt>
                <c:pt idx="286">
                  <c:v>1548.76</c:v>
                </c:pt>
                <c:pt idx="287">
                  <c:v>1551.04</c:v>
                </c:pt>
                <c:pt idx="288">
                  <c:v>1565.07</c:v>
                </c:pt>
                <c:pt idx="289">
                  <c:v>1530.82</c:v>
                </c:pt>
                <c:pt idx="290">
                  <c:v>1530.52</c:v>
                </c:pt>
                <c:pt idx="291">
                  <c:v>1534.41</c:v>
                </c:pt>
                <c:pt idx="292">
                  <c:v>1509.8</c:v>
                </c:pt>
                <c:pt idx="293">
                  <c:v>1498.79</c:v>
                </c:pt>
                <c:pt idx="294">
                  <c:v>1523.34</c:v>
                </c:pt>
                <c:pt idx="295">
                  <c:v>1529.32</c:v>
                </c:pt>
                <c:pt idx="296">
                  <c:v>1532.09</c:v>
                </c:pt>
                <c:pt idx="297">
                  <c:v>1539.87</c:v>
                </c:pt>
                <c:pt idx="298">
                  <c:v>1542.55</c:v>
                </c:pt>
                <c:pt idx="299">
                  <c:v>1531.14</c:v>
                </c:pt>
                <c:pt idx="300">
                  <c:v>1535.73</c:v>
                </c:pt>
                <c:pt idx="301">
                  <c:v>1537.66</c:v>
                </c:pt>
                <c:pt idx="302">
                  <c:v>1494.3</c:v>
                </c:pt>
                <c:pt idx="303">
                  <c:v>1478.82</c:v>
                </c:pt>
                <c:pt idx="304">
                  <c:v>1489.34</c:v>
                </c:pt>
                <c:pt idx="305">
                  <c:v>1485.73</c:v>
                </c:pt>
                <c:pt idx="306">
                  <c:v>1470.91</c:v>
                </c:pt>
                <c:pt idx="307">
                  <c:v>1458.8</c:v>
                </c:pt>
                <c:pt idx="308">
                  <c:v>1445.46</c:v>
                </c:pt>
                <c:pt idx="309">
                  <c:v>1446.04</c:v>
                </c:pt>
                <c:pt idx="310">
                  <c:v>1454.72</c:v>
                </c:pt>
                <c:pt idx="311">
                  <c:v>1460.04</c:v>
                </c:pt>
                <c:pt idx="312">
                  <c:v>1445.57</c:v>
                </c:pt>
                <c:pt idx="313">
                  <c:v>1440.1</c:v>
                </c:pt>
                <c:pt idx="314">
                  <c:v>1425.99</c:v>
                </c:pt>
                <c:pt idx="315">
                  <c:v>1419.45</c:v>
                </c:pt>
                <c:pt idx="316">
                  <c:v>1411.09</c:v>
                </c:pt>
                <c:pt idx="317">
                  <c:v>1419.63</c:v>
                </c:pt>
                <c:pt idx="318">
                  <c:v>1439.46</c:v>
                </c:pt>
                <c:pt idx="319">
                  <c:v>1453.81</c:v>
                </c:pt>
                <c:pt idx="320">
                  <c:v>1433.08</c:v>
                </c:pt>
                <c:pt idx="321">
                  <c:v>1405.47</c:v>
                </c:pt>
                <c:pt idx="322">
                  <c:v>1366.53</c:v>
                </c:pt>
                <c:pt idx="323">
                  <c:v>1356.65</c:v>
                </c:pt>
                <c:pt idx="324">
                  <c:v>1327.92</c:v>
                </c:pt>
                <c:pt idx="325">
                  <c:v>1327.55</c:v>
                </c:pt>
                <c:pt idx="326">
                  <c:v>1336.46</c:v>
                </c:pt>
                <c:pt idx="327">
                  <c:v>1329.14</c:v>
                </c:pt>
                <c:pt idx="328">
                  <c:v>1333.89</c:v>
                </c:pt>
                <c:pt idx="329">
                  <c:v>1375.4</c:v>
                </c:pt>
                <c:pt idx="330">
                  <c:v>1387.98</c:v>
                </c:pt>
                <c:pt idx="331">
                  <c:v>1382.22</c:v>
                </c:pt>
                <c:pt idx="332">
                  <c:v>1387.54</c:v>
                </c:pt>
                <c:pt idx="333">
                  <c:v>1407.21</c:v>
                </c:pt>
                <c:pt idx="334">
                  <c:v>1432.15</c:v>
                </c:pt>
                <c:pt idx="335">
                  <c:v>1451.84</c:v>
                </c:pt>
                <c:pt idx="336">
                  <c:v>1452.17</c:v>
                </c:pt>
                <c:pt idx="337">
                  <c:v>1422.29</c:v>
                </c:pt>
                <c:pt idx="338">
                  <c:v>1412.69</c:v>
                </c:pt>
                <c:pt idx="339">
                  <c:v>1391.01</c:v>
                </c:pt>
                <c:pt idx="340">
                  <c:v>1380.58</c:v>
                </c:pt>
                <c:pt idx="341">
                  <c:v>1405.34</c:v>
                </c:pt>
                <c:pt idx="342">
                  <c:v>1417.05</c:v>
                </c:pt>
                <c:pt idx="343">
                  <c:v>1433.02</c:v>
                </c:pt>
                <c:pt idx="344">
                  <c:v>1461.93</c:v>
                </c:pt>
                <c:pt idx="345">
                  <c:v>1400.84</c:v>
                </c:pt>
                <c:pt idx="346">
                  <c:v>1388.52</c:v>
                </c:pt>
                <c:pt idx="347">
                  <c:v>1385.08</c:v>
                </c:pt>
                <c:pt idx="348">
                  <c:v>1399.11</c:v>
                </c:pt>
                <c:pt idx="349">
                  <c:v>1360.06</c:v>
                </c:pt>
                <c:pt idx="350">
                  <c:v>1350.42</c:v>
                </c:pt>
                <c:pt idx="351">
                  <c:v>1331.43</c:v>
                </c:pt>
                <c:pt idx="352">
                  <c:v>1319.01</c:v>
                </c:pt>
                <c:pt idx="353">
                  <c:v>1322.39</c:v>
                </c:pt>
                <c:pt idx="354">
                  <c:v>1301.08</c:v>
                </c:pt>
                <c:pt idx="355">
                  <c:v>1286.8599999999999</c:v>
                </c:pt>
                <c:pt idx="356">
                  <c:v>1314.41</c:v>
                </c:pt>
                <c:pt idx="357">
                  <c:v>1300.54</c:v>
                </c:pt>
                <c:pt idx="358">
                  <c:v>1263.6600000000001</c:v>
                </c:pt>
                <c:pt idx="359">
                  <c:v>1261.6300000000001</c:v>
                </c:pt>
                <c:pt idx="360">
                  <c:v>1293.8800000000001</c:v>
                </c:pt>
                <c:pt idx="361">
                  <c:v>1314.01</c:v>
                </c:pt>
                <c:pt idx="362">
                  <c:v>1314.06</c:v>
                </c:pt>
                <c:pt idx="363">
                  <c:v>1291.72</c:v>
                </c:pt>
                <c:pt idx="364">
                  <c:v>1243.32</c:v>
                </c:pt>
                <c:pt idx="365">
                  <c:v>1245.72</c:v>
                </c:pt>
                <c:pt idx="366">
                  <c:v>1233.04</c:v>
                </c:pt>
                <c:pt idx="367">
                  <c:v>1243.2</c:v>
                </c:pt>
                <c:pt idx="368">
                  <c:v>1261.1300000000001</c:v>
                </c:pt>
                <c:pt idx="369">
                  <c:v>1262.77</c:v>
                </c:pt>
                <c:pt idx="370">
                  <c:v>1275.44</c:v>
                </c:pt>
                <c:pt idx="371">
                  <c:v>1276.8499999999999</c:v>
                </c:pt>
                <c:pt idx="372">
                  <c:v>1274.07</c:v>
                </c:pt>
                <c:pt idx="373">
                  <c:v>1264.29</c:v>
                </c:pt>
                <c:pt idx="374">
                  <c:v>1280.6099999999999</c:v>
                </c:pt>
                <c:pt idx="375">
                  <c:v>1268.5899999999999</c:v>
                </c:pt>
                <c:pt idx="376">
                  <c:v>1277.29</c:v>
                </c:pt>
                <c:pt idx="377">
                  <c:v>1282.8399999999999</c:v>
                </c:pt>
                <c:pt idx="378">
                  <c:v>1275.29</c:v>
                </c:pt>
                <c:pt idx="379">
                  <c:v>1322.76</c:v>
                </c:pt>
                <c:pt idx="380">
                  <c:v>1348.81</c:v>
                </c:pt>
                <c:pt idx="381">
                  <c:v>1354.54</c:v>
                </c:pt>
                <c:pt idx="382">
                  <c:v>1368.83</c:v>
                </c:pt>
                <c:pt idx="383">
                  <c:v>1393.05</c:v>
                </c:pt>
                <c:pt idx="384">
                  <c:v>1377.35</c:v>
                </c:pt>
                <c:pt idx="385">
                  <c:v>1382.33</c:v>
                </c:pt>
                <c:pt idx="386">
                  <c:v>1380.01</c:v>
                </c:pt>
                <c:pt idx="387">
                  <c:v>1379.88</c:v>
                </c:pt>
                <c:pt idx="388">
                  <c:v>1369.36</c:v>
                </c:pt>
                <c:pt idx="389">
                  <c:v>1353.38</c:v>
                </c:pt>
                <c:pt idx="390">
                  <c:v>1348.37</c:v>
                </c:pt>
                <c:pt idx="391">
                  <c:v>1341.34</c:v>
                </c:pt>
                <c:pt idx="392">
                  <c:v>1326.41</c:v>
                </c:pt>
                <c:pt idx="393">
                  <c:v>1313.38</c:v>
                </c:pt>
                <c:pt idx="394">
                  <c:v>1331.71</c:v>
                </c:pt>
                <c:pt idx="395">
                  <c:v>1336.39</c:v>
                </c:pt>
                <c:pt idx="396">
                  <c:v>1333.42</c:v>
                </c:pt>
                <c:pt idx="397">
                  <c:v>1304.98</c:v>
                </c:pt>
                <c:pt idx="398">
                  <c:v>1301.28</c:v>
                </c:pt>
                <c:pt idx="399">
                  <c:v>1303.28</c:v>
                </c:pt>
                <c:pt idx="400">
                  <c:v>1325.72</c:v>
                </c:pt>
                <c:pt idx="401">
                  <c:v>1326.53</c:v>
                </c:pt>
                <c:pt idx="402">
                  <c:v>1338.85</c:v>
                </c:pt>
                <c:pt idx="403">
                  <c:v>1356.34</c:v>
                </c:pt>
                <c:pt idx="404">
                  <c:v>1327.49</c:v>
                </c:pt>
                <c:pt idx="405">
                  <c:v>1323.42</c:v>
                </c:pt>
                <c:pt idx="406">
                  <c:v>1322.25</c:v>
                </c:pt>
                <c:pt idx="407">
                  <c:v>1317.77</c:v>
                </c:pt>
                <c:pt idx="408">
                  <c:v>1312.47</c:v>
                </c:pt>
                <c:pt idx="409">
                  <c:v>1329.05</c:v>
                </c:pt>
                <c:pt idx="410">
                  <c:v>1330.99</c:v>
                </c:pt>
                <c:pt idx="411">
                  <c:v>1324.48</c:v>
                </c:pt>
                <c:pt idx="412">
                  <c:v>1304.33</c:v>
                </c:pt>
                <c:pt idx="413">
                  <c:v>1299.6500000000001</c:v>
                </c:pt>
                <c:pt idx="414">
                  <c:v>1300.67</c:v>
                </c:pt>
                <c:pt idx="415">
                  <c:v>1290.96</c:v>
                </c:pt>
                <c:pt idx="416">
                  <c:v>1291.98</c:v>
                </c:pt>
                <c:pt idx="417">
                  <c:v>1293.1099999999999</c:v>
                </c:pt>
                <c:pt idx="418">
                  <c:v>1298.53</c:v>
                </c:pt>
                <c:pt idx="419">
                  <c:v>1339.8</c:v>
                </c:pt>
                <c:pt idx="420">
                  <c:v>1345.6</c:v>
                </c:pt>
                <c:pt idx="421">
                  <c:v>1380.37</c:v>
                </c:pt>
                <c:pt idx="422" formatCode="#,##0.0">
                  <c:v>1390.55</c:v>
                </c:pt>
                <c:pt idx="423" formatCode="#,##0.0">
                  <c:v>1394.03</c:v>
                </c:pt>
                <c:pt idx="424" formatCode="#,##0.0">
                  <c:v>1401.46</c:v>
                </c:pt>
                <c:pt idx="425" formatCode="#,##0.0">
                  <c:v>1396.57</c:v>
                </c:pt>
                <c:pt idx="426" formatCode="#,##0.0">
                  <c:v>1436.14</c:v>
                </c:pt>
                <c:pt idx="427" formatCode="#,##0.0">
                  <c:v>1439.79</c:v>
                </c:pt>
                <c:pt idx="428" formatCode="#,##0.0">
                  <c:v>1429.62</c:v>
                </c:pt>
                <c:pt idx="429" formatCode="#,##0.0">
                  <c:v>1478.75</c:v>
                </c:pt>
                <c:pt idx="430" formatCode="#,##0.0">
                  <c:v>1462.92</c:v>
                </c:pt>
                <c:pt idx="431" formatCode="#,##0.0">
                  <c:v>1451.43</c:v>
                </c:pt>
                <c:pt idx="432" formatCode="#,##0.0">
                  <c:v>1446.41</c:v>
                </c:pt>
                <c:pt idx="433" formatCode="#,##0.0">
                  <c:v>1452.98</c:v>
                </c:pt>
                <c:pt idx="434" formatCode="#,##0.0">
                  <c:v>1451.64</c:v>
                </c:pt>
                <c:pt idx="435" formatCode="#,##0.0">
                  <c:v>1432.87</c:v>
                </c:pt>
                <c:pt idx="436" formatCode="#,##0.0">
                  <c:v>1422.49</c:v>
                </c:pt>
                <c:pt idx="437" formatCode="#,##0.0">
                  <c:v>1438.04</c:v>
                </c:pt>
                <c:pt idx="438" formatCode="#,##0.0">
                  <c:v>1421.94</c:v>
                </c:pt>
                <c:pt idx="439" formatCode="#,##0.0">
                  <c:v>1427.81</c:v>
                </c:pt>
                <c:pt idx="440" formatCode="#,##0.0">
                  <c:v>1443.15</c:v>
                </c:pt>
                <c:pt idx="441" formatCode="#,##0.0">
                  <c:v>1444.32</c:v>
                </c:pt>
                <c:pt idx="442" formatCode="#,##0.0">
                  <c:v>1471.65</c:v>
                </c:pt>
                <c:pt idx="443" formatCode="#,##0.0">
                  <c:v>1461</c:v>
                </c:pt>
                <c:pt idx="444" formatCode="#,##0.0">
                  <c:v>1484.82</c:v>
                </c:pt>
                <c:pt idx="445" formatCode="#,##0.0">
                  <c:v>1477</c:v>
                </c:pt>
                <c:pt idx="446" formatCode="#,##0.0">
                  <c:v>1473.97</c:v>
                </c:pt>
                <c:pt idx="447" formatCode="#,##0.0">
                  <c:v>1495.31</c:v>
                </c:pt>
                <c:pt idx="448" formatCode="#,##0.0">
                  <c:v>1500.25</c:v>
                </c:pt>
                <c:pt idx="449" formatCode="#,##0.0">
                  <c:v>1491.85</c:v>
                </c:pt>
                <c:pt idx="450" formatCode="#,##0.0">
                  <c:v>1516.62</c:v>
                </c:pt>
                <c:pt idx="451" formatCode="#,##0.0">
                  <c:v>1516.96</c:v>
                </c:pt>
                <c:pt idx="452" formatCode="#,##0.0">
                  <c:v>1519.61</c:v>
                </c:pt>
                <c:pt idx="453" formatCode="#,##0.0">
                  <c:v>1496.15</c:v>
                </c:pt>
                <c:pt idx="454" formatCode="#,##0.0">
                  <c:v>1497.49</c:v>
                </c:pt>
                <c:pt idx="455" formatCode="#,##0.0">
                  <c:v>1495.36</c:v>
                </c:pt>
                <c:pt idx="456" formatCode="#,##0.0">
                  <c:v>1489.48</c:v>
                </c:pt>
                <c:pt idx="457" formatCode="#,##0.0">
                  <c:v>1492.89</c:v>
                </c:pt>
                <c:pt idx="458" formatCode="#,##0.0">
                  <c:v>1490.07</c:v>
                </c:pt>
                <c:pt idx="459" formatCode="#,##0.0">
                  <c:v>1484.74</c:v>
                </c:pt>
                <c:pt idx="460">
                  <c:v>1475.18</c:v>
                </c:pt>
                <c:pt idx="461">
                  <c:v>1460.23</c:v>
                </c:pt>
                <c:pt idx="462">
                  <c:v>1458.93</c:v>
                </c:pt>
                <c:pt idx="463">
                  <c:v>1468.22</c:v>
                </c:pt>
                <c:pt idx="464">
                  <c:v>1435.12</c:v>
                </c:pt>
                <c:pt idx="465">
                  <c:v>1427.93</c:v>
                </c:pt>
                <c:pt idx="466">
                  <c:v>1437.37</c:v>
                </c:pt>
                <c:pt idx="467">
                  <c:v>1406.92</c:v>
                </c:pt>
                <c:pt idx="468">
                  <c:v>1434.44</c:v>
                </c:pt>
                <c:pt idx="469">
                  <c:v>1444.24</c:v>
                </c:pt>
                <c:pt idx="470">
                  <c:v>1462.98</c:v>
                </c:pt>
                <c:pt idx="471">
                  <c:v>1455.04</c:v>
                </c:pt>
                <c:pt idx="472">
                  <c:v>1447.2</c:v>
                </c:pt>
                <c:pt idx="473">
                  <c:v>1425.86</c:v>
                </c:pt>
                <c:pt idx="474">
                  <c:v>1444.91</c:v>
                </c:pt>
                <c:pt idx="475">
                  <c:v>1433.55</c:v>
                </c:pt>
                <c:pt idx="476">
                  <c:v>1416.43</c:v>
                </c:pt>
                <c:pt idx="477">
                  <c:v>1404.31</c:v>
                </c:pt>
                <c:pt idx="478">
                  <c:v>1406.51</c:v>
                </c:pt>
                <c:pt idx="479">
                  <c:v>1402.93</c:v>
                </c:pt>
                <c:pt idx="480">
                  <c:v>1398.74</c:v>
                </c:pt>
                <c:pt idx="481">
                  <c:v>1372.44</c:v>
                </c:pt>
                <c:pt idx="482">
                  <c:v>1364.44</c:v>
                </c:pt>
                <c:pt idx="483">
                  <c:v>1362.55</c:v>
                </c:pt>
                <c:pt idx="484">
                  <c:v>1390.61</c:v>
                </c:pt>
                <c:pt idx="485">
                  <c:v>1412.08</c:v>
                </c:pt>
                <c:pt idx="486">
                  <c:v>1409.85</c:v>
                </c:pt>
                <c:pt idx="487">
                  <c:v>1409.28</c:v>
                </c:pt>
                <c:pt idx="488">
                  <c:v>1393.57</c:v>
                </c:pt>
                <c:pt idx="489">
                  <c:v>1391.85</c:v>
                </c:pt>
                <c:pt idx="490">
                  <c:v>1407.25</c:v>
                </c:pt>
                <c:pt idx="491">
                  <c:v>1414.68</c:v>
                </c:pt>
                <c:pt idx="492">
                  <c:v>1423.87</c:v>
                </c:pt>
                <c:pt idx="493">
                  <c:v>1431.11</c:v>
                </c:pt>
                <c:pt idx="494">
                  <c:v>1429.91</c:v>
                </c:pt>
                <c:pt idx="495">
                  <c:v>1453.1</c:v>
                </c:pt>
                <c:pt idx="496">
                  <c:v>1454.02</c:v>
                </c:pt>
                <c:pt idx="497">
                  <c:v>1447.5</c:v>
                </c:pt>
                <c:pt idx="498">
                  <c:v>1448.29</c:v>
                </c:pt>
                <c:pt idx="499">
                  <c:v>1445.39</c:v>
                </c:pt>
                <c:pt idx="500">
                  <c:v>1388.86</c:v>
                </c:pt>
                <c:pt idx="501">
                  <c:v>1395.91</c:v>
                </c:pt>
                <c:pt idx="502">
                  <c:v>1401.82</c:v>
                </c:pt>
                <c:pt idx="503">
                  <c:v>1388.69</c:v>
                </c:pt>
                <c:pt idx="504">
                  <c:v>1401.78</c:v>
                </c:pt>
                <c:pt idx="505">
                  <c:v>1397.23</c:v>
                </c:pt>
                <c:pt idx="506">
                  <c:v>1395.79</c:v>
                </c:pt>
                <c:pt idx="507">
                  <c:v>1394.49</c:v>
                </c:pt>
                <c:pt idx="508">
                  <c:v>1395.87</c:v>
                </c:pt>
                <c:pt idx="509">
                  <c:v>1391.75</c:v>
                </c:pt>
                <c:pt idx="510">
                  <c:v>1381.59</c:v>
                </c:pt>
                <c:pt idx="511">
                  <c:v>1364.11</c:v>
                </c:pt>
                <c:pt idx="512">
                  <c:v>1346.51</c:v>
                </c:pt>
                <c:pt idx="513">
                  <c:v>1332.51</c:v>
                </c:pt>
                <c:pt idx="514">
                  <c:v>1308</c:v>
                </c:pt>
                <c:pt idx="515">
                  <c:v>1320.9</c:v>
                </c:pt>
                <c:pt idx="516">
                  <c:v>1301.02</c:v>
                </c:pt>
                <c:pt idx="517">
                  <c:v>1293.2</c:v>
                </c:pt>
                <c:pt idx="518">
                  <c:v>1291.82</c:v>
                </c:pt>
                <c:pt idx="519">
                  <c:v>1317.5</c:v>
                </c:pt>
                <c:pt idx="520">
                  <c:v>1330.28</c:v>
                </c:pt>
                <c:pt idx="521">
                  <c:v>1341.49</c:v>
                </c:pt>
                <c:pt idx="522">
                  <c:v>1336.02</c:v>
                </c:pt>
                <c:pt idx="523">
                  <c:v>1341.85</c:v>
                </c:pt>
                <c:pt idx="524">
                  <c:v>1353.17</c:v>
                </c:pt>
                <c:pt idx="525">
                  <c:v>1321.61</c:v>
                </c:pt>
                <c:pt idx="526">
                  <c:v>1343.2</c:v>
                </c:pt>
                <c:pt idx="527">
                  <c:v>1347.41</c:v>
                </c:pt>
                <c:pt idx="528">
                  <c:v>1343.62</c:v>
                </c:pt>
                <c:pt idx="529">
                  <c:v>1306</c:v>
                </c:pt>
                <c:pt idx="530">
                  <c:v>1303.1500000000001</c:v>
                </c:pt>
                <c:pt idx="531">
                  <c:v>1315.54</c:v>
                </c:pt>
                <c:pt idx="532">
                  <c:v>1318.98</c:v>
                </c:pt>
                <c:pt idx="533">
                  <c:v>1306.3699999999999</c:v>
                </c:pt>
                <c:pt idx="534">
                  <c:v>1286.07</c:v>
                </c:pt>
                <c:pt idx="535">
                  <c:v>1260.95</c:v>
                </c:pt>
                <c:pt idx="536">
                  <c:v>1267.27</c:v>
                </c:pt>
                <c:pt idx="537">
                  <c:v>1115.06</c:v>
                </c:pt>
                <c:pt idx="538">
                  <c:v>1184.22</c:v>
                </c:pt>
                <c:pt idx="539">
                  <c:v>1182.05</c:v>
                </c:pt>
                <c:pt idx="540">
                  <c:v>1164.6300000000001</c:v>
                </c:pt>
                <c:pt idx="541">
                  <c:v>1158.8699999999999</c:v>
                </c:pt>
                <c:pt idx="542">
                  <c:v>1132.05</c:v>
                </c:pt>
                <c:pt idx="543">
                  <c:v>1100.1400000000001</c:v>
                </c:pt>
                <c:pt idx="544">
                  <c:v>1077.8900000000001</c:v>
                </c:pt>
                <c:pt idx="545">
                  <c:v>1062.47</c:v>
                </c:pt>
                <c:pt idx="546">
                  <c:v>1114.6600000000001</c:v>
                </c:pt>
                <c:pt idx="547">
                  <c:v>1161.26</c:v>
                </c:pt>
                <c:pt idx="548">
                  <c:v>1155.81</c:v>
                </c:pt>
                <c:pt idx="549">
                  <c:v>1150.82</c:v>
                </c:pt>
                <c:pt idx="550">
                  <c:v>1136.21</c:v>
                </c:pt>
                <c:pt idx="551">
                  <c:v>1131.5999999999999</c:v>
                </c:pt>
                <c:pt idx="552">
                  <c:v>1170.2</c:v>
                </c:pt>
                <c:pt idx="553">
                  <c:v>1198.8900000000001</c:v>
                </c:pt>
                <c:pt idx="554">
                  <c:v>1179.47</c:v>
                </c:pt>
                <c:pt idx="555">
                  <c:v>1186.28</c:v>
                </c:pt>
                <c:pt idx="556">
                  <c:v>1226.0999999999999</c:v>
                </c:pt>
                <c:pt idx="557">
                  <c:v>1235.74</c:v>
                </c:pt>
                <c:pt idx="558">
                  <c:v>1222.47</c:v>
                </c:pt>
                <c:pt idx="559">
                  <c:v>1210.71</c:v>
                </c:pt>
                <c:pt idx="560">
                  <c:v>1233.93</c:v>
                </c:pt>
                <c:pt idx="561">
                  <c:v>1193.78</c:v>
                </c:pt>
                <c:pt idx="562">
                  <c:v>1195.71</c:v>
                </c:pt>
                <c:pt idx="563">
                  <c:v>1190.1300000000001</c:v>
                </c:pt>
                <c:pt idx="564">
                  <c:v>1213.46</c:v>
                </c:pt>
                <c:pt idx="565">
                  <c:v>1204.07</c:v>
                </c:pt>
                <c:pt idx="566">
                  <c:v>1179.97</c:v>
                </c:pt>
                <c:pt idx="567">
                  <c:v>1142.96</c:v>
                </c:pt>
                <c:pt idx="568">
                  <c:v>1154.31</c:v>
                </c:pt>
                <c:pt idx="569">
                  <c:v>1172.6199999999999</c:v>
                </c:pt>
                <c:pt idx="570">
                  <c:v>1200.22</c:v>
                </c:pt>
                <c:pt idx="571">
                  <c:v>1187.94</c:v>
                </c:pt>
                <c:pt idx="572">
                  <c:v>1178.81</c:v>
                </c:pt>
                <c:pt idx="573">
                  <c:v>1171.99</c:v>
                </c:pt>
                <c:pt idx="574">
                  <c:v>1145.6600000000001</c:v>
                </c:pt>
                <c:pt idx="575">
                  <c:v>1119.3699999999999</c:v>
                </c:pt>
                <c:pt idx="576">
                  <c:v>1139.29</c:v>
                </c:pt>
                <c:pt idx="577">
                  <c:v>1153.3599999999999</c:v>
                </c:pt>
                <c:pt idx="578">
                  <c:v>1155.7</c:v>
                </c:pt>
                <c:pt idx="579">
                  <c:v>1143.44</c:v>
                </c:pt>
                <c:pt idx="580">
                  <c:v>1172.9100000000001</c:v>
                </c:pt>
                <c:pt idx="581">
                  <c:v>1227.75</c:v>
                </c:pt>
                <c:pt idx="582">
                  <c:v>1232.78</c:v>
                </c:pt>
                <c:pt idx="583">
                  <c:v>1234.31</c:v>
                </c:pt>
                <c:pt idx="584">
                  <c:v>1254.29</c:v>
                </c:pt>
                <c:pt idx="585">
                  <c:v>1261.01</c:v>
                </c:pt>
                <c:pt idx="586">
                  <c:v>1253</c:v>
                </c:pt>
                <c:pt idx="587">
                  <c:v>1262.01</c:v>
                </c:pt>
                <c:pt idx="588">
                  <c:v>1289.98</c:v>
                </c:pt>
                <c:pt idx="589">
                  <c:v>1298.6400000000001</c:v>
                </c:pt>
                <c:pt idx="590">
                  <c:v>1317.09</c:v>
                </c:pt>
                <c:pt idx="591">
                  <c:v>1312.97</c:v>
                </c:pt>
                <c:pt idx="592">
                  <c:v>1326.58</c:v>
                </c:pt>
                <c:pt idx="593">
                  <c:v>1335.73</c:v>
                </c:pt>
                <c:pt idx="594">
                  <c:v>1297.5</c:v>
                </c:pt>
                <c:pt idx="595">
                  <c:v>1300.46</c:v>
                </c:pt>
                <c:pt idx="596">
                  <c:v>1314.71</c:v>
                </c:pt>
                <c:pt idx="597">
                  <c:v>1295.75</c:v>
                </c:pt>
                <c:pt idx="598">
                  <c:v>1322.52</c:v>
                </c:pt>
                <c:pt idx="599">
                  <c:v>1324.03</c:v>
                </c:pt>
                <c:pt idx="600">
                  <c:v>1324.87</c:v>
                </c:pt>
                <c:pt idx="601">
                  <c:v>1333.86</c:v>
                </c:pt>
                <c:pt idx="602">
                  <c:v>1359.1</c:v>
                </c:pt>
                <c:pt idx="603">
                  <c:v>1361.65</c:v>
                </c:pt>
                <c:pt idx="604">
                  <c:v>1368.84</c:v>
                </c:pt>
                <c:pt idx="605">
                  <c:v>1374.94</c:v>
                </c:pt>
                <c:pt idx="606">
                  <c:v>1357.8</c:v>
                </c:pt>
                <c:pt idx="607">
                  <c:v>1343.5</c:v>
                </c:pt>
                <c:pt idx="608">
                  <c:v>1362.99</c:v>
                </c:pt>
                <c:pt idx="609">
                  <c:v>1371.55</c:v>
                </c:pt>
                <c:pt idx="610">
                  <c:v>1358.73</c:v>
                </c:pt>
                <c:pt idx="611">
                  <c:v>1369.1</c:v>
                </c:pt>
                <c:pt idx="612">
                  <c:v>1421.07</c:v>
                </c:pt>
                <c:pt idx="613">
                  <c:v>1383.02</c:v>
                </c:pt>
                <c:pt idx="614">
                  <c:v>1377.41</c:v>
                </c:pt>
                <c:pt idx="615">
                  <c:v>1379.75</c:v>
                </c:pt>
                <c:pt idx="616">
                  <c:v>1366.08</c:v>
                </c:pt>
                <c:pt idx="617">
                  <c:v>1362.1</c:v>
                </c:pt>
                <c:pt idx="618">
                  <c:v>1390.47</c:v>
                </c:pt>
                <c:pt idx="619">
                  <c:v>1390.72</c:v>
                </c:pt>
                <c:pt idx="620">
                  <c:v>1360.48</c:v>
                </c:pt>
                <c:pt idx="621">
                  <c:v>1385.24</c:v>
                </c:pt>
                <c:pt idx="622">
                  <c:v>1393.59</c:v>
                </c:pt>
                <c:pt idx="623">
                  <c:v>1403.72</c:v>
                </c:pt>
                <c:pt idx="624">
                  <c:v>1383.7</c:v>
                </c:pt>
                <c:pt idx="625">
                  <c:v>1383.18</c:v>
                </c:pt>
                <c:pt idx="626">
                  <c:v>1361.89</c:v>
                </c:pt>
                <c:pt idx="627">
                  <c:v>1352.15</c:v>
                </c:pt>
                <c:pt idx="628">
                  <c:v>1350.52</c:v>
                </c:pt>
                <c:pt idx="629">
                  <c:v>1299.03</c:v>
                </c:pt>
                <c:pt idx="630">
                  <c:v>1276.28</c:v>
                </c:pt>
                <c:pt idx="631">
                  <c:v>1239.1300000000001</c:v>
                </c:pt>
                <c:pt idx="632">
                  <c:v>1266.8800000000001</c:v>
                </c:pt>
                <c:pt idx="633">
                  <c:v>1272.02</c:v>
                </c:pt>
                <c:pt idx="634">
                  <c:v>1266.72</c:v>
                </c:pt>
                <c:pt idx="635">
                  <c:v>1246.25</c:v>
                </c:pt>
                <c:pt idx="636">
                  <c:v>1208.83</c:v>
                </c:pt>
                <c:pt idx="637">
                  <c:v>1207.29</c:v>
                </c:pt>
                <c:pt idx="638">
                  <c:v>1222.4000000000001</c:v>
                </c:pt>
                <c:pt idx="639">
                  <c:v>1219.3599999999999</c:v>
                </c:pt>
                <c:pt idx="640">
                  <c:v>1212.74</c:v>
                </c:pt>
                <c:pt idx="641">
                  <c:v>1212.21</c:v>
                </c:pt>
                <c:pt idx="642">
                  <c:v>1191.3699999999999</c:v>
                </c:pt>
                <c:pt idx="643">
                  <c:v>1160.8599999999999</c:v>
                </c:pt>
                <c:pt idx="644">
                  <c:v>1157.97</c:v>
                </c:pt>
                <c:pt idx="645">
                  <c:v>1170.5999999999999</c:v>
                </c:pt>
                <c:pt idx="646">
                  <c:v>1203.67</c:v>
                </c:pt>
                <c:pt idx="647">
                  <c:v>1198.72</c:v>
                </c:pt>
                <c:pt idx="648">
                  <c:v>1220.8</c:v>
                </c:pt>
                <c:pt idx="649">
                  <c:v>1231.94</c:v>
                </c:pt>
                <c:pt idx="650">
                  <c:v>1232.3399999999999</c:v>
                </c:pt>
                <c:pt idx="651">
                  <c:v>1243.56</c:v>
                </c:pt>
                <c:pt idx="652">
                  <c:v>1251.69</c:v>
                </c:pt>
                <c:pt idx="653">
                  <c:v>1257.4100000000001</c:v>
                </c:pt>
                <c:pt idx="654">
                  <c:v>1275.5999999999999</c:v>
                </c:pt>
                <c:pt idx="655">
                  <c:v>1260.07</c:v>
                </c:pt>
                <c:pt idx="656">
                  <c:v>1267.42</c:v>
                </c:pt>
                <c:pt idx="657">
                  <c:v>1259.47</c:v>
                </c:pt>
                <c:pt idx="658">
                  <c:v>1260.72</c:v>
                </c:pt>
                <c:pt idx="659">
                  <c:v>1219.49</c:v>
                </c:pt>
                <c:pt idx="660">
                  <c:v>1190.23</c:v>
                </c:pt>
                <c:pt idx="661">
                  <c:v>1177.6600000000001</c:v>
                </c:pt>
                <c:pt idx="662">
                  <c:v>1177.93</c:v>
                </c:pt>
                <c:pt idx="663">
                  <c:v>1239.23</c:v>
                </c:pt>
                <c:pt idx="664">
                  <c:v>1241.51</c:v>
                </c:pt>
                <c:pt idx="665">
                  <c:v>1257.26</c:v>
                </c:pt>
                <c:pt idx="666">
                  <c:v>1245.53</c:v>
                </c:pt>
                <c:pt idx="667">
                  <c:v>1246.6400000000001</c:v>
                </c:pt>
                <c:pt idx="668">
                  <c:v>1239.0899999999999</c:v>
                </c:pt>
                <c:pt idx="669">
                  <c:v>1217.8800000000001</c:v>
                </c:pt>
                <c:pt idx="670">
                  <c:v>1213.27</c:v>
                </c:pt>
                <c:pt idx="671">
                  <c:v>1194.73</c:v>
                </c:pt>
                <c:pt idx="672">
                  <c:v>1202</c:v>
                </c:pt>
                <c:pt idx="673">
                  <c:v>1190.0999999999999</c:v>
                </c:pt>
                <c:pt idx="674">
                  <c:v>1187.24</c:v>
                </c:pt>
                <c:pt idx="675">
                  <c:v>1170.25</c:v>
                </c:pt>
                <c:pt idx="676">
                  <c:v>1151.1600000000001</c:v>
                </c:pt>
                <c:pt idx="677">
                  <c:v>1167.25</c:v>
                </c:pt>
                <c:pt idx="678">
                  <c:v>1189.23</c:v>
                </c:pt>
                <c:pt idx="679">
                  <c:v>1175.5899999999999</c:v>
                </c:pt>
                <c:pt idx="680">
                  <c:v>1156.1500000000001</c:v>
                </c:pt>
                <c:pt idx="681">
                  <c:v>1126.21</c:v>
                </c:pt>
                <c:pt idx="682">
                  <c:v>1123.72</c:v>
                </c:pt>
                <c:pt idx="683">
                  <c:v>1113.42</c:v>
                </c:pt>
                <c:pt idx="684">
                  <c:v>1095.1099999999999</c:v>
                </c:pt>
                <c:pt idx="685">
                  <c:v>1092.1199999999999</c:v>
                </c:pt>
                <c:pt idx="686">
                  <c:v>1120.2</c:v>
                </c:pt>
                <c:pt idx="687">
                  <c:v>1106.8</c:v>
                </c:pt>
                <c:pt idx="688">
                  <c:v>1082.5899999999999</c:v>
                </c:pt>
                <c:pt idx="689">
                  <c:v>1088.8</c:v>
                </c:pt>
                <c:pt idx="690">
                  <c:v>1064.29</c:v>
                </c:pt>
                <c:pt idx="691">
                  <c:v>1076.58</c:v>
                </c:pt>
                <c:pt idx="692">
                  <c:v>1075.45</c:v>
                </c:pt>
                <c:pt idx="693">
                  <c:v>1067.05</c:v>
                </c:pt>
                <c:pt idx="694">
                  <c:v>1045.23</c:v>
                </c:pt>
                <c:pt idx="695">
                  <c:v>1072.94</c:v>
                </c:pt>
                <c:pt idx="696">
                  <c:v>1056.71</c:v>
                </c:pt>
                <c:pt idx="697">
                  <c:v>1063.8599999999999</c:v>
                </c:pt>
                <c:pt idx="698">
                  <c:v>1047.47</c:v>
                </c:pt>
                <c:pt idx="699">
                  <c:v>1035.9100000000001</c:v>
                </c:pt>
                <c:pt idx="700">
                  <c:v>1036.68</c:v>
                </c:pt>
                <c:pt idx="701">
                  <c:v>1039.5</c:v>
                </c:pt>
                <c:pt idx="702">
                  <c:v>1049.58</c:v>
                </c:pt>
                <c:pt idx="703">
                  <c:v>1059.6199999999999</c:v>
                </c:pt>
                <c:pt idx="704">
                  <c:v>1098.68</c:v>
                </c:pt>
                <c:pt idx="705">
                  <c:v>1091.44</c:v>
                </c:pt>
                <c:pt idx="706">
                  <c:v>1054.45</c:v>
                </c:pt>
                <c:pt idx="707">
                  <c:v>1017.28</c:v>
                </c:pt>
                <c:pt idx="708">
                  <c:v>1007.68</c:v>
                </c:pt>
                <c:pt idx="709">
                  <c:v>1045.51</c:v>
                </c:pt>
                <c:pt idx="710">
                  <c:v>1028.95</c:v>
                </c:pt>
                <c:pt idx="711">
                  <c:v>1045.0899999999999</c:v>
                </c:pt>
                <c:pt idx="712">
                  <c:v>1012.16</c:v>
                </c:pt>
                <c:pt idx="713">
                  <c:v>1002.96</c:v>
                </c:pt>
                <c:pt idx="714">
                  <c:v>1004.13</c:v>
                </c:pt>
                <c:pt idx="715">
                  <c:v>1020.77</c:v>
                </c:pt>
                <c:pt idx="716">
                  <c:v>1021.17</c:v>
                </c:pt>
                <c:pt idx="717">
                  <c:v>1040.3599999999999</c:v>
                </c:pt>
                <c:pt idx="718">
                  <c:v>1058.8</c:v>
                </c:pt>
                <c:pt idx="719">
                  <c:v>1076.1600000000001</c:v>
                </c:pt>
                <c:pt idx="720">
                  <c:v>1054.3800000000001</c:v>
                </c:pt>
                <c:pt idx="721">
                  <c:v>1027.6099999999999</c:v>
                </c:pt>
                <c:pt idx="722">
                  <c:v>1006.43</c:v>
                </c:pt>
                <c:pt idx="723">
                  <c:v>974.27</c:v>
                </c:pt>
                <c:pt idx="724">
                  <c:v>958.33</c:v>
                </c:pt>
                <c:pt idx="725">
                  <c:v>925.43</c:v>
                </c:pt>
                <c:pt idx="726">
                  <c:v>948.58</c:v>
                </c:pt>
                <c:pt idx="727">
                  <c:v>918.65</c:v>
                </c:pt>
                <c:pt idx="728">
                  <c:v>908.75</c:v>
                </c:pt>
                <c:pt idx="729">
                  <c:v>870.37</c:v>
                </c:pt>
                <c:pt idx="730">
                  <c:v>857.51</c:v>
                </c:pt>
                <c:pt idx="731">
                  <c:v>855.05</c:v>
                </c:pt>
                <c:pt idx="732">
                  <c:v>824.01</c:v>
                </c:pt>
                <c:pt idx="733">
                  <c:v>799.18</c:v>
                </c:pt>
                <c:pt idx="734">
                  <c:v>718.32</c:v>
                </c:pt>
                <c:pt idx="735">
                  <c:v>629.15</c:v>
                </c:pt>
                <c:pt idx="736">
                  <c:v>718.26</c:v>
                </c:pt>
                <c:pt idx="737">
                  <c:v>764.93</c:v>
                </c:pt>
                <c:pt idx="738">
                  <c:v>768.06</c:v>
                </c:pt>
                <c:pt idx="739">
                  <c:v>811.03</c:v>
                </c:pt>
                <c:pt idx="740">
                  <c:v>794.99</c:v>
                </c:pt>
                <c:pt idx="741">
                  <c:v>814.97</c:v>
                </c:pt>
                <c:pt idx="742">
                  <c:v>844.09</c:v>
                </c:pt>
                <c:pt idx="743">
                  <c:v>828.57</c:v>
                </c:pt>
                <c:pt idx="744">
                  <c:v>756.63</c:v>
                </c:pt>
                <c:pt idx="745">
                  <c:v>737.88</c:v>
                </c:pt>
                <c:pt idx="746">
                  <c:v>743.06</c:v>
                </c:pt>
                <c:pt idx="747">
                  <c:v>762.39</c:v>
                </c:pt>
                <c:pt idx="748">
                  <c:v>769.8</c:v>
                </c:pt>
                <c:pt idx="749">
                  <c:v>766.57</c:v>
                </c:pt>
                <c:pt idx="750">
                  <c:v>756.27</c:v>
                </c:pt>
                <c:pt idx="751">
                  <c:v>782.13</c:v>
                </c:pt>
                <c:pt idx="752">
                  <c:v>817.14</c:v>
                </c:pt>
                <c:pt idx="753">
                  <c:v>820.99</c:v>
                </c:pt>
                <c:pt idx="754">
                  <c:v>781.31</c:v>
                </c:pt>
                <c:pt idx="755">
                  <c:v>783.5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9918720"/>
        <c:axId val="592570624"/>
      </c:lineChart>
      <c:catAx>
        <c:axId val="629917184"/>
        <c:scaling>
          <c:orientation val="minMax"/>
        </c:scaling>
        <c:delete val="0"/>
        <c:axPos val="b"/>
        <c:numFmt formatCode="[$-419]d\ mmm\ yy;@" sourceLinked="0"/>
        <c:majorTickMark val="cross"/>
        <c:minorTickMark val="none"/>
        <c:tickLblPos val="nextTo"/>
        <c:txPr>
          <a:bodyPr rot="-1560000" vert="horz"/>
          <a:lstStyle/>
          <a:p>
            <a:pPr>
              <a:defRPr sz="1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92570048"/>
        <c:crosses val="autoZero"/>
        <c:auto val="0"/>
        <c:lblAlgn val="ctr"/>
        <c:lblOffset val="100"/>
        <c:tickLblSkip val="50"/>
        <c:tickMarkSkip val="50"/>
        <c:noMultiLvlLbl val="0"/>
      </c:catAx>
      <c:valAx>
        <c:axId val="592570048"/>
        <c:scaling>
          <c:orientation val="minMax"/>
          <c:max val="55500"/>
          <c:min val="25000"/>
        </c:scaling>
        <c:delete val="0"/>
        <c:axPos val="l"/>
        <c:minorGridlines/>
        <c:title>
          <c:tx>
            <c:rich>
              <a:bodyPr/>
              <a:lstStyle/>
              <a:p>
                <a:pPr>
                  <a:defRPr sz="12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ru-RU"/>
                  <a:t>Рублей / тонна</a:t>
                </a:r>
              </a:p>
            </c:rich>
          </c:tx>
          <c:layout>
            <c:manualLayout>
              <c:xMode val="edge"/>
              <c:yMode val="edge"/>
              <c:x val="7.2335847376296088E-3"/>
              <c:y val="0.37730687979199595"/>
            </c:manualLayout>
          </c:layout>
          <c:overlay val="0"/>
        </c:title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29917184"/>
        <c:crosses val="autoZero"/>
        <c:crossBetween val="between"/>
      </c:valAx>
      <c:dateAx>
        <c:axId val="62991872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570624"/>
        <c:crosses val="autoZero"/>
        <c:auto val="1"/>
        <c:lblOffset val="100"/>
        <c:baseTimeUnit val="days"/>
      </c:dateAx>
      <c:valAx>
        <c:axId val="592570624"/>
        <c:scaling>
          <c:orientation val="minMax"/>
          <c:max val="1800"/>
          <c:min val="200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29918720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7.5869336143308749E-2"/>
          <c:y val="0.94345265003225443"/>
          <c:w val="0.87876106635248052"/>
          <c:h val="4.5235555686871209E-2"/>
        </c:manualLayout>
      </c:layout>
      <c:overlay val="0"/>
      <c:txPr>
        <a:bodyPr/>
        <a:lstStyle/>
        <a:p>
          <a:pPr>
            <a:defRPr sz="71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F64B7B-91D9-4381-91A5-32FDA52E89A5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BC60695-5CF1-4F79-9F78-CB5728EA2A8D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dirty="0" smtClean="0"/>
            <a:t>Самара</a:t>
          </a:r>
          <a:endParaRPr lang="ru-RU" dirty="0"/>
        </a:p>
      </dgm:t>
    </dgm:pt>
    <dgm:pt modelId="{A23730CE-E45C-4881-93F6-50A2716F8F15}" type="parTrans" cxnId="{11FF6B1C-D7D8-47D2-ADD6-E6178627224A}">
      <dgm:prSet/>
      <dgm:spPr/>
      <dgm:t>
        <a:bodyPr/>
        <a:lstStyle/>
        <a:p>
          <a:endParaRPr lang="ru-RU"/>
        </a:p>
      </dgm:t>
    </dgm:pt>
    <dgm:pt modelId="{C382BD1D-F309-4269-9A2D-D918FA40463D}" type="sibTrans" cxnId="{11FF6B1C-D7D8-47D2-ADD6-E6178627224A}">
      <dgm:prSet/>
      <dgm:spPr/>
      <dgm:t>
        <a:bodyPr/>
        <a:lstStyle/>
        <a:p>
          <a:endParaRPr lang="ru-RU"/>
        </a:p>
      </dgm:t>
    </dgm:pt>
    <dgm:pt modelId="{35F05E63-206A-4BFB-BC49-52C10D23C020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smtClean="0"/>
            <a:t>Роснефть</a:t>
          </a:r>
          <a:endParaRPr lang="ru-RU" dirty="0"/>
        </a:p>
      </dgm:t>
    </dgm:pt>
    <dgm:pt modelId="{0F49AC0C-3830-4678-A74A-3444EA04F40E}" type="parTrans" cxnId="{F6780724-E688-4211-9149-1EFCBF770F30}">
      <dgm:prSet/>
      <dgm:spPr/>
      <dgm:t>
        <a:bodyPr/>
        <a:lstStyle/>
        <a:p>
          <a:endParaRPr lang="ru-RU"/>
        </a:p>
      </dgm:t>
    </dgm:pt>
    <dgm:pt modelId="{AC0ACD89-B42F-4109-8661-238AF5F860A1}" type="sibTrans" cxnId="{F6780724-E688-4211-9149-1EFCBF770F30}">
      <dgm:prSet/>
      <dgm:spPr/>
      <dgm:t>
        <a:bodyPr/>
        <a:lstStyle/>
        <a:p>
          <a:endParaRPr lang="ru-RU"/>
        </a:p>
      </dgm:t>
    </dgm:pt>
    <dgm:pt modelId="{42F6ABDC-A6B0-4382-8676-2653EF494620}">
      <dgm:prSet phldrT="[Текст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dirty="0" smtClean="0"/>
            <a:t>Нижний Новгород</a:t>
          </a:r>
          <a:endParaRPr lang="ru-RU" dirty="0"/>
        </a:p>
      </dgm:t>
    </dgm:pt>
    <dgm:pt modelId="{D16F1D50-DBC7-4B28-A892-EC2235EDDFD0}" type="parTrans" cxnId="{DF2B57EF-6CE7-400F-A6FE-187BBB6D4204}">
      <dgm:prSet/>
      <dgm:spPr/>
      <dgm:t>
        <a:bodyPr/>
        <a:lstStyle/>
        <a:p>
          <a:endParaRPr lang="ru-RU"/>
        </a:p>
      </dgm:t>
    </dgm:pt>
    <dgm:pt modelId="{130EBD5F-39D2-443D-A26E-DB1817605918}" type="sibTrans" cxnId="{DF2B57EF-6CE7-400F-A6FE-187BBB6D4204}">
      <dgm:prSet/>
      <dgm:spPr/>
      <dgm:t>
        <a:bodyPr/>
        <a:lstStyle/>
        <a:p>
          <a:endParaRPr lang="ru-RU"/>
        </a:p>
      </dgm:t>
    </dgm:pt>
    <dgm:pt modelId="{6C20E517-F385-42CE-8E29-C9957165D240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Лукойл</a:t>
          </a:r>
          <a:endParaRPr lang="ru-RU" dirty="0"/>
        </a:p>
      </dgm:t>
    </dgm:pt>
    <dgm:pt modelId="{6BBCE00D-8D7D-42D7-8A15-057518FA23B5}" type="parTrans" cxnId="{7C6B5934-CD54-47C9-BCBF-DC558BD30B04}">
      <dgm:prSet/>
      <dgm:spPr/>
      <dgm:t>
        <a:bodyPr/>
        <a:lstStyle/>
        <a:p>
          <a:endParaRPr lang="ru-RU"/>
        </a:p>
      </dgm:t>
    </dgm:pt>
    <dgm:pt modelId="{7094C07A-C3CE-41FD-B01C-6492A4E42474}" type="sibTrans" cxnId="{7C6B5934-CD54-47C9-BCBF-DC558BD30B04}">
      <dgm:prSet/>
      <dgm:spPr/>
      <dgm:t>
        <a:bodyPr/>
        <a:lstStyle/>
        <a:p>
          <a:endParaRPr lang="ru-RU"/>
        </a:p>
      </dgm:t>
    </dgm:pt>
    <dgm:pt modelId="{880DC711-F40F-47E8-91F6-138F74CA5813}">
      <dgm:prSet phldrT="[Текст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 smtClean="0"/>
            <a:t>Никольское</a:t>
          </a:r>
          <a:endParaRPr lang="ru-RU" dirty="0"/>
        </a:p>
      </dgm:t>
    </dgm:pt>
    <dgm:pt modelId="{934A2EDC-FAB9-48C6-A28E-7C30E910C1AC}" type="parTrans" cxnId="{11ACCEA6-4355-40D1-9F6A-632CE9DE7E9B}">
      <dgm:prSet/>
      <dgm:spPr/>
      <dgm:t>
        <a:bodyPr/>
        <a:lstStyle/>
        <a:p>
          <a:endParaRPr lang="ru-RU"/>
        </a:p>
      </dgm:t>
    </dgm:pt>
    <dgm:pt modelId="{C309FD5A-FAE6-414F-97DA-DF2CB324BD1E}" type="sibTrans" cxnId="{11ACCEA6-4355-40D1-9F6A-632CE9DE7E9B}">
      <dgm:prSet/>
      <dgm:spPr/>
      <dgm:t>
        <a:bodyPr/>
        <a:lstStyle/>
        <a:p>
          <a:endParaRPr lang="ru-RU"/>
        </a:p>
      </dgm:t>
    </dgm:pt>
    <dgm:pt modelId="{C2D81093-E7E9-4B62-9885-3C0B3EB33BEC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Башнефть</a:t>
          </a:r>
          <a:endParaRPr lang="ru-RU" dirty="0"/>
        </a:p>
      </dgm:t>
    </dgm:pt>
    <dgm:pt modelId="{1EBDAFB8-7D17-459F-B8D2-B1018E339C64}" type="parTrans" cxnId="{2618D88F-3D65-4E92-983C-B597C8ACF945}">
      <dgm:prSet/>
      <dgm:spPr/>
      <dgm:t>
        <a:bodyPr/>
        <a:lstStyle/>
        <a:p>
          <a:endParaRPr lang="ru-RU"/>
        </a:p>
      </dgm:t>
    </dgm:pt>
    <dgm:pt modelId="{20FE44D6-590B-4B2A-9C65-0498FA9345D9}" type="sibTrans" cxnId="{2618D88F-3D65-4E92-983C-B597C8ACF945}">
      <dgm:prSet/>
      <dgm:spPr/>
      <dgm:t>
        <a:bodyPr/>
        <a:lstStyle/>
        <a:p>
          <a:endParaRPr lang="ru-RU"/>
        </a:p>
      </dgm:t>
    </dgm:pt>
    <dgm:pt modelId="{A7568EA7-045F-42B2-A0AF-60E8B139CB95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Татнефть</a:t>
          </a:r>
          <a:endParaRPr lang="ru-RU" dirty="0"/>
        </a:p>
      </dgm:t>
    </dgm:pt>
    <dgm:pt modelId="{14BCD282-382E-43F5-A6C1-688481777C5E}" type="parTrans" cxnId="{28CEE7EC-1C9D-481F-B8DE-B8C1423CE885}">
      <dgm:prSet/>
      <dgm:spPr/>
      <dgm:t>
        <a:bodyPr/>
        <a:lstStyle/>
        <a:p>
          <a:endParaRPr lang="ru-RU"/>
        </a:p>
      </dgm:t>
    </dgm:pt>
    <dgm:pt modelId="{5222C70E-F65D-42B9-B61E-3601EA0223F4}" type="sibTrans" cxnId="{28CEE7EC-1C9D-481F-B8DE-B8C1423CE885}">
      <dgm:prSet/>
      <dgm:spPr/>
      <dgm:t>
        <a:bodyPr/>
        <a:lstStyle/>
        <a:p>
          <a:endParaRPr lang="ru-RU"/>
        </a:p>
      </dgm:t>
    </dgm:pt>
    <dgm:pt modelId="{FAC59202-0F7A-464D-B420-2B1E3E6F53AE}" type="pres">
      <dgm:prSet presAssocID="{A7F64B7B-91D9-4381-91A5-32FDA52E89A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9EE4186-F25B-49F0-A642-F2E83859C6CE}" type="pres">
      <dgm:prSet presAssocID="{9BC60695-5CF1-4F79-9F78-CB5728EA2A8D}" presName="linNode" presStyleCnt="0"/>
      <dgm:spPr/>
    </dgm:pt>
    <dgm:pt modelId="{27D221B8-E132-4A05-B723-69231576D184}" type="pres">
      <dgm:prSet presAssocID="{9BC60695-5CF1-4F79-9F78-CB5728EA2A8D}" presName="parentText" presStyleLbl="node1" presStyleIdx="0" presStyleCnt="3" custLinFactY="-47254" custLinFactNeighborX="-26165" custLinFactNeighborY="-100000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82532C4-8878-4E87-B4A4-6905A38B0417}" type="pres">
      <dgm:prSet presAssocID="{9BC60695-5CF1-4F79-9F78-CB5728EA2A8D}" presName="descendantText" presStyleLbl="alignAccFollowNode1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6A41B77-6253-4663-ACFE-48FFA2D22290}" type="pres">
      <dgm:prSet presAssocID="{C382BD1D-F309-4269-9A2D-D918FA40463D}" presName="sp" presStyleCnt="0"/>
      <dgm:spPr/>
    </dgm:pt>
    <dgm:pt modelId="{FF6959FB-E219-4C5C-A65E-93BCEF0AD1CD}" type="pres">
      <dgm:prSet presAssocID="{42F6ABDC-A6B0-4382-8676-2653EF494620}" presName="linNode" presStyleCnt="0"/>
      <dgm:spPr/>
    </dgm:pt>
    <dgm:pt modelId="{5C807FFA-698F-4F5A-95B8-08AB0CB3C18D}" type="pres">
      <dgm:prSet presAssocID="{42F6ABDC-A6B0-4382-8676-2653EF494620}" presName="parentText" presStyleLbl="node1" presStyleIdx="1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9EC79B4-B5B3-4702-9A2E-DBE6A260ADAA}" type="pres">
      <dgm:prSet presAssocID="{42F6ABDC-A6B0-4382-8676-2653EF494620}" presName="descendantText" presStyleLbl="alignAccFollowNode1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3276B24-6613-47CA-93D5-AD39C2147E70}" type="pres">
      <dgm:prSet presAssocID="{130EBD5F-39D2-443D-A26E-DB1817605918}" presName="sp" presStyleCnt="0"/>
      <dgm:spPr/>
    </dgm:pt>
    <dgm:pt modelId="{9E4BDAFB-1849-49F2-B6EE-1791A016422E}" type="pres">
      <dgm:prSet presAssocID="{880DC711-F40F-47E8-91F6-138F74CA5813}" presName="linNode" presStyleCnt="0"/>
      <dgm:spPr/>
    </dgm:pt>
    <dgm:pt modelId="{E5C75126-AB59-4957-A83E-5BDFC9C5B155}" type="pres">
      <dgm:prSet presAssocID="{880DC711-F40F-47E8-91F6-138F74CA5813}" presName="parentText" presStyleLbl="node1" presStyleIdx="2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627C50A-3EBA-463F-9011-FE8A84BAEA66}" type="pres">
      <dgm:prSet presAssocID="{880DC711-F40F-47E8-91F6-138F74CA5813}" presName="descendantText" presStyleLbl="alignAccFollowNode1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DF2B57EF-6CE7-400F-A6FE-187BBB6D4204}" srcId="{A7F64B7B-91D9-4381-91A5-32FDA52E89A5}" destId="{42F6ABDC-A6B0-4382-8676-2653EF494620}" srcOrd="1" destOrd="0" parTransId="{D16F1D50-DBC7-4B28-A892-EC2235EDDFD0}" sibTransId="{130EBD5F-39D2-443D-A26E-DB1817605918}"/>
    <dgm:cxn modelId="{C045BC5A-73B8-42D0-B466-AE2197C83578}" type="presOf" srcId="{42F6ABDC-A6B0-4382-8676-2653EF494620}" destId="{5C807FFA-698F-4F5A-95B8-08AB0CB3C18D}" srcOrd="0" destOrd="0" presId="urn:microsoft.com/office/officeart/2005/8/layout/vList5"/>
    <dgm:cxn modelId="{11ACCEA6-4355-40D1-9F6A-632CE9DE7E9B}" srcId="{A7F64B7B-91D9-4381-91A5-32FDA52E89A5}" destId="{880DC711-F40F-47E8-91F6-138F74CA5813}" srcOrd="2" destOrd="0" parTransId="{934A2EDC-FAB9-48C6-A28E-7C30E910C1AC}" sibTransId="{C309FD5A-FAE6-414F-97DA-DF2CB324BD1E}"/>
    <dgm:cxn modelId="{11FF6B1C-D7D8-47D2-ADD6-E6178627224A}" srcId="{A7F64B7B-91D9-4381-91A5-32FDA52E89A5}" destId="{9BC60695-5CF1-4F79-9F78-CB5728EA2A8D}" srcOrd="0" destOrd="0" parTransId="{A23730CE-E45C-4881-93F6-50A2716F8F15}" sibTransId="{C382BD1D-F309-4269-9A2D-D918FA40463D}"/>
    <dgm:cxn modelId="{62B609AB-865C-419C-ADFA-834BD77CFB93}" type="presOf" srcId="{C2D81093-E7E9-4B62-9885-3C0B3EB33BEC}" destId="{1627C50A-3EBA-463F-9011-FE8A84BAEA66}" srcOrd="0" destOrd="0" presId="urn:microsoft.com/office/officeart/2005/8/layout/vList5"/>
    <dgm:cxn modelId="{2618D88F-3D65-4E92-983C-B597C8ACF945}" srcId="{880DC711-F40F-47E8-91F6-138F74CA5813}" destId="{C2D81093-E7E9-4B62-9885-3C0B3EB33BEC}" srcOrd="0" destOrd="0" parTransId="{1EBDAFB8-7D17-459F-B8D2-B1018E339C64}" sibTransId="{20FE44D6-590B-4B2A-9C65-0498FA9345D9}"/>
    <dgm:cxn modelId="{28CEE7EC-1C9D-481F-B8DE-B8C1423CE885}" srcId="{880DC711-F40F-47E8-91F6-138F74CA5813}" destId="{A7568EA7-045F-42B2-A0AF-60E8B139CB95}" srcOrd="1" destOrd="0" parTransId="{14BCD282-382E-43F5-A6C1-688481777C5E}" sibTransId="{5222C70E-F65D-42B9-B61E-3601EA0223F4}"/>
    <dgm:cxn modelId="{12A8138C-3807-4A6F-AF69-CC3703FBD59A}" type="presOf" srcId="{9BC60695-5CF1-4F79-9F78-CB5728EA2A8D}" destId="{27D221B8-E132-4A05-B723-69231576D184}" srcOrd="0" destOrd="0" presId="urn:microsoft.com/office/officeart/2005/8/layout/vList5"/>
    <dgm:cxn modelId="{85507AA0-109E-49E5-9EAF-12FD1DF1EF35}" type="presOf" srcId="{A7568EA7-045F-42B2-A0AF-60E8B139CB95}" destId="{1627C50A-3EBA-463F-9011-FE8A84BAEA66}" srcOrd="0" destOrd="1" presId="urn:microsoft.com/office/officeart/2005/8/layout/vList5"/>
    <dgm:cxn modelId="{B6BE0F1C-6860-4BFE-903D-72718EA5865F}" type="presOf" srcId="{A7F64B7B-91D9-4381-91A5-32FDA52E89A5}" destId="{FAC59202-0F7A-464D-B420-2B1E3E6F53AE}" srcOrd="0" destOrd="0" presId="urn:microsoft.com/office/officeart/2005/8/layout/vList5"/>
    <dgm:cxn modelId="{9D0713E1-7153-4D97-88A1-DF68A232F8C5}" type="presOf" srcId="{6C20E517-F385-42CE-8E29-C9957165D240}" destId="{99EC79B4-B5B3-4702-9A2E-DBE6A260ADAA}" srcOrd="0" destOrd="0" presId="urn:microsoft.com/office/officeart/2005/8/layout/vList5"/>
    <dgm:cxn modelId="{F6780724-E688-4211-9149-1EFCBF770F30}" srcId="{9BC60695-5CF1-4F79-9F78-CB5728EA2A8D}" destId="{35F05E63-206A-4BFB-BC49-52C10D23C020}" srcOrd="0" destOrd="0" parTransId="{0F49AC0C-3830-4678-A74A-3444EA04F40E}" sibTransId="{AC0ACD89-B42F-4109-8661-238AF5F860A1}"/>
    <dgm:cxn modelId="{7C6B5934-CD54-47C9-BCBF-DC558BD30B04}" srcId="{42F6ABDC-A6B0-4382-8676-2653EF494620}" destId="{6C20E517-F385-42CE-8E29-C9957165D240}" srcOrd="0" destOrd="0" parTransId="{6BBCE00D-8D7D-42D7-8A15-057518FA23B5}" sibTransId="{7094C07A-C3CE-41FD-B01C-6492A4E42474}"/>
    <dgm:cxn modelId="{FD392136-6E9B-441E-8095-76659BC528A8}" type="presOf" srcId="{880DC711-F40F-47E8-91F6-138F74CA5813}" destId="{E5C75126-AB59-4957-A83E-5BDFC9C5B155}" srcOrd="0" destOrd="0" presId="urn:microsoft.com/office/officeart/2005/8/layout/vList5"/>
    <dgm:cxn modelId="{B23451AC-3DC1-41FD-A65C-31C01453BBE0}" type="presOf" srcId="{35F05E63-206A-4BFB-BC49-52C10D23C020}" destId="{982532C4-8878-4E87-B4A4-6905A38B0417}" srcOrd="0" destOrd="0" presId="urn:microsoft.com/office/officeart/2005/8/layout/vList5"/>
    <dgm:cxn modelId="{9F5000BF-1F69-4BAE-BA03-9DC82834D328}" type="presParOf" srcId="{FAC59202-0F7A-464D-B420-2B1E3E6F53AE}" destId="{E9EE4186-F25B-49F0-A642-F2E83859C6CE}" srcOrd="0" destOrd="0" presId="urn:microsoft.com/office/officeart/2005/8/layout/vList5"/>
    <dgm:cxn modelId="{27BEFAB4-0C76-41C0-A2B8-6A0968915CFF}" type="presParOf" srcId="{E9EE4186-F25B-49F0-A642-F2E83859C6CE}" destId="{27D221B8-E132-4A05-B723-69231576D184}" srcOrd="0" destOrd="0" presId="urn:microsoft.com/office/officeart/2005/8/layout/vList5"/>
    <dgm:cxn modelId="{F22BE137-A711-42CC-A0C1-6F567989A7AE}" type="presParOf" srcId="{E9EE4186-F25B-49F0-A642-F2E83859C6CE}" destId="{982532C4-8878-4E87-B4A4-6905A38B0417}" srcOrd="1" destOrd="0" presId="urn:microsoft.com/office/officeart/2005/8/layout/vList5"/>
    <dgm:cxn modelId="{7EB94722-2279-476F-937A-F27E21B9177B}" type="presParOf" srcId="{FAC59202-0F7A-464D-B420-2B1E3E6F53AE}" destId="{C6A41B77-6253-4663-ACFE-48FFA2D22290}" srcOrd="1" destOrd="0" presId="urn:microsoft.com/office/officeart/2005/8/layout/vList5"/>
    <dgm:cxn modelId="{D99D0BA7-FE09-4FC4-92A2-3C1F5CDEF27A}" type="presParOf" srcId="{FAC59202-0F7A-464D-B420-2B1E3E6F53AE}" destId="{FF6959FB-E219-4C5C-A65E-93BCEF0AD1CD}" srcOrd="2" destOrd="0" presId="urn:microsoft.com/office/officeart/2005/8/layout/vList5"/>
    <dgm:cxn modelId="{BB6375F4-4A59-4F7A-B072-C9510EB0A0F9}" type="presParOf" srcId="{FF6959FB-E219-4C5C-A65E-93BCEF0AD1CD}" destId="{5C807FFA-698F-4F5A-95B8-08AB0CB3C18D}" srcOrd="0" destOrd="0" presId="urn:microsoft.com/office/officeart/2005/8/layout/vList5"/>
    <dgm:cxn modelId="{872E75D8-496F-4643-9E51-5F573108292C}" type="presParOf" srcId="{FF6959FB-E219-4C5C-A65E-93BCEF0AD1CD}" destId="{99EC79B4-B5B3-4702-9A2E-DBE6A260ADAA}" srcOrd="1" destOrd="0" presId="urn:microsoft.com/office/officeart/2005/8/layout/vList5"/>
    <dgm:cxn modelId="{D7978228-359D-40EE-B2EE-222E26226883}" type="presParOf" srcId="{FAC59202-0F7A-464D-B420-2B1E3E6F53AE}" destId="{C3276B24-6613-47CA-93D5-AD39C2147E70}" srcOrd="3" destOrd="0" presId="urn:microsoft.com/office/officeart/2005/8/layout/vList5"/>
    <dgm:cxn modelId="{7A8512D4-E0B4-4069-9A81-63B1C1F96CC6}" type="presParOf" srcId="{FAC59202-0F7A-464D-B420-2B1E3E6F53AE}" destId="{9E4BDAFB-1849-49F2-B6EE-1791A016422E}" srcOrd="4" destOrd="0" presId="urn:microsoft.com/office/officeart/2005/8/layout/vList5"/>
    <dgm:cxn modelId="{82CB0F61-8BE7-4D1F-B1BE-22B28ED70D65}" type="presParOf" srcId="{9E4BDAFB-1849-49F2-B6EE-1791A016422E}" destId="{E5C75126-AB59-4957-A83E-5BDFC9C5B155}" srcOrd="0" destOrd="0" presId="urn:microsoft.com/office/officeart/2005/8/layout/vList5"/>
    <dgm:cxn modelId="{37C28F5B-55BC-4C61-B29D-79A9A85D3B71}" type="presParOf" srcId="{9E4BDAFB-1849-49F2-B6EE-1791A016422E}" destId="{1627C50A-3EBA-463F-9011-FE8A84BAEA6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556F6A-B57F-4A74-B839-B14E506A71B4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B11E53B7-C74A-4F2E-8D44-DBA2FFCDBE91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sz="900" dirty="0" smtClean="0"/>
            <a:t>Москва</a:t>
          </a:r>
          <a:endParaRPr lang="ru-RU" sz="900" dirty="0"/>
        </a:p>
      </dgm:t>
    </dgm:pt>
    <dgm:pt modelId="{F38FE6BA-FC4D-4CD3-9B98-8DBE218C9087}" type="parTrans" cxnId="{0A4F4B73-A5C2-47D3-8976-B551659F9B59}">
      <dgm:prSet/>
      <dgm:spPr/>
      <dgm:t>
        <a:bodyPr/>
        <a:lstStyle/>
        <a:p>
          <a:endParaRPr lang="ru-RU" sz="900"/>
        </a:p>
      </dgm:t>
    </dgm:pt>
    <dgm:pt modelId="{388C5A60-77DB-4717-9059-8715127983AC}" type="sibTrans" cxnId="{0A4F4B73-A5C2-47D3-8976-B551659F9B59}">
      <dgm:prSet/>
      <dgm:spPr/>
      <dgm:t>
        <a:bodyPr/>
        <a:lstStyle/>
        <a:p>
          <a:endParaRPr lang="ru-RU" sz="900"/>
        </a:p>
      </dgm:t>
    </dgm:pt>
    <dgm:pt modelId="{15D90B37-C1B8-4054-8033-A8CE45C00D9B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 marL="0" indent="0"/>
          <a:r>
            <a:rPr lang="ru-RU" sz="900" dirty="0" err="1" smtClean="0"/>
            <a:t>Газпромнефть</a:t>
          </a:r>
          <a:endParaRPr lang="ru-RU" sz="900" dirty="0"/>
        </a:p>
      </dgm:t>
    </dgm:pt>
    <dgm:pt modelId="{5F42655A-3639-4B62-BA3C-9A767507C30E}" type="parTrans" cxnId="{B8248A79-F1BE-470C-A72C-DA946A8EEE60}">
      <dgm:prSet/>
      <dgm:spPr/>
      <dgm:t>
        <a:bodyPr/>
        <a:lstStyle/>
        <a:p>
          <a:endParaRPr lang="ru-RU" sz="900"/>
        </a:p>
      </dgm:t>
    </dgm:pt>
    <dgm:pt modelId="{2C2FDF85-EB9A-45FC-BD32-FEFBE82B75F1}" type="sibTrans" cxnId="{B8248A79-F1BE-470C-A72C-DA946A8EEE60}">
      <dgm:prSet/>
      <dgm:spPr/>
      <dgm:t>
        <a:bodyPr/>
        <a:lstStyle/>
        <a:p>
          <a:endParaRPr lang="ru-RU" sz="900"/>
        </a:p>
      </dgm:t>
    </dgm:pt>
    <dgm:pt modelId="{3B423118-2A7E-459B-ABE9-265DB0FA42D1}">
      <dgm:prSet phldrT="[Текст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900" dirty="0" smtClean="0"/>
            <a:t>Ярославль</a:t>
          </a:r>
          <a:endParaRPr lang="ru-RU" sz="900" dirty="0"/>
        </a:p>
      </dgm:t>
    </dgm:pt>
    <dgm:pt modelId="{2E671D5D-5A9E-4DDF-ADEB-8F81973337F3}" type="parTrans" cxnId="{A3E59598-19DF-4C73-A510-65AE7A53D9C2}">
      <dgm:prSet/>
      <dgm:spPr/>
      <dgm:t>
        <a:bodyPr/>
        <a:lstStyle/>
        <a:p>
          <a:endParaRPr lang="ru-RU" sz="900"/>
        </a:p>
      </dgm:t>
    </dgm:pt>
    <dgm:pt modelId="{7424D211-29D4-4E1A-B43B-0E96A8E0EB20}" type="sibTrans" cxnId="{A3E59598-19DF-4C73-A510-65AE7A53D9C2}">
      <dgm:prSet/>
      <dgm:spPr/>
      <dgm:t>
        <a:bodyPr/>
        <a:lstStyle/>
        <a:p>
          <a:endParaRPr lang="ru-RU" sz="900"/>
        </a:p>
      </dgm:t>
    </dgm:pt>
    <dgm:pt modelId="{A8ABE080-2F1F-411D-AA3C-1FA1E4A82213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err="1" smtClean="0"/>
            <a:t>Газпромнефть</a:t>
          </a:r>
          <a:endParaRPr lang="ru-RU" sz="900" dirty="0"/>
        </a:p>
      </dgm:t>
    </dgm:pt>
    <dgm:pt modelId="{EFAFB6E1-F3D6-4595-A780-F267133625E5}" type="parTrans" cxnId="{CC3DB2F9-8D9C-49C8-897F-FDA4A9F5B94B}">
      <dgm:prSet/>
      <dgm:spPr/>
      <dgm:t>
        <a:bodyPr/>
        <a:lstStyle/>
        <a:p>
          <a:endParaRPr lang="ru-RU" sz="900"/>
        </a:p>
      </dgm:t>
    </dgm:pt>
    <dgm:pt modelId="{B57AD731-7D5B-43B6-9436-9407E12FA4D6}" type="sibTrans" cxnId="{CC3DB2F9-8D9C-49C8-897F-FDA4A9F5B94B}">
      <dgm:prSet/>
      <dgm:spPr/>
      <dgm:t>
        <a:bodyPr/>
        <a:lstStyle/>
        <a:p>
          <a:endParaRPr lang="ru-RU" sz="900"/>
        </a:p>
      </dgm:t>
    </dgm:pt>
    <dgm:pt modelId="{0C8A3126-EA05-4705-80B0-C95E250E429B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smtClean="0"/>
            <a:t>Роснефть</a:t>
          </a:r>
          <a:endParaRPr lang="ru-RU" sz="900" dirty="0"/>
        </a:p>
      </dgm:t>
    </dgm:pt>
    <dgm:pt modelId="{05BBB7F7-499B-4361-AF6B-5578583FB222}" type="parTrans" cxnId="{852F7850-DE3A-4BA7-B015-3E607823CD19}">
      <dgm:prSet/>
      <dgm:spPr/>
      <dgm:t>
        <a:bodyPr/>
        <a:lstStyle/>
        <a:p>
          <a:endParaRPr lang="ru-RU" sz="900"/>
        </a:p>
      </dgm:t>
    </dgm:pt>
    <dgm:pt modelId="{3FA04CBC-1351-4CE7-B0DA-6D0D19515485}" type="sibTrans" cxnId="{852F7850-DE3A-4BA7-B015-3E607823CD19}">
      <dgm:prSet/>
      <dgm:spPr/>
      <dgm:t>
        <a:bodyPr/>
        <a:lstStyle/>
        <a:p>
          <a:endParaRPr lang="ru-RU" sz="900"/>
        </a:p>
      </dgm:t>
    </dgm:pt>
    <dgm:pt modelId="{E5A45DB3-6CBA-4C90-A6B0-ACC49A286CCD}">
      <dgm:prSet phldrT="[Текст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sz="900" dirty="0" smtClean="0"/>
            <a:t>Рязань</a:t>
          </a:r>
          <a:endParaRPr lang="ru-RU" sz="900" dirty="0"/>
        </a:p>
      </dgm:t>
    </dgm:pt>
    <dgm:pt modelId="{463C1929-BAD2-4DE3-B752-890496E2A7BA}" type="parTrans" cxnId="{B5DB1F5A-91A7-4975-96C8-6F535B4B703A}">
      <dgm:prSet/>
      <dgm:spPr/>
      <dgm:t>
        <a:bodyPr/>
        <a:lstStyle/>
        <a:p>
          <a:endParaRPr lang="ru-RU" sz="900"/>
        </a:p>
      </dgm:t>
    </dgm:pt>
    <dgm:pt modelId="{4B9A6635-CBFC-43A4-B9BF-1DFE42AC0117}" type="sibTrans" cxnId="{B5DB1F5A-91A7-4975-96C8-6F535B4B703A}">
      <dgm:prSet/>
      <dgm:spPr/>
      <dgm:t>
        <a:bodyPr/>
        <a:lstStyle/>
        <a:p>
          <a:endParaRPr lang="ru-RU" sz="900"/>
        </a:p>
      </dgm:t>
    </dgm:pt>
    <dgm:pt modelId="{10603721-28FB-469F-B723-27B964480E05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smtClean="0"/>
            <a:t>Роснефть</a:t>
          </a:r>
          <a:endParaRPr lang="ru-RU" sz="900" dirty="0"/>
        </a:p>
      </dgm:t>
    </dgm:pt>
    <dgm:pt modelId="{F6FC0A75-0603-45CB-B8F8-81A337858EE0}" type="parTrans" cxnId="{ADE16067-6FEB-49C1-AA2B-C111833AD5F0}">
      <dgm:prSet/>
      <dgm:spPr/>
      <dgm:t>
        <a:bodyPr/>
        <a:lstStyle/>
        <a:p>
          <a:endParaRPr lang="ru-RU" sz="900"/>
        </a:p>
      </dgm:t>
    </dgm:pt>
    <dgm:pt modelId="{F87B1586-2AF4-4598-87E6-24E09B01562A}" type="sibTrans" cxnId="{ADE16067-6FEB-49C1-AA2B-C111833AD5F0}">
      <dgm:prSet/>
      <dgm:spPr/>
      <dgm:t>
        <a:bodyPr/>
        <a:lstStyle/>
        <a:p>
          <a:endParaRPr lang="ru-RU" sz="900"/>
        </a:p>
      </dgm:t>
    </dgm:pt>
    <dgm:pt modelId="{99E96F8C-593E-495D-A7ED-3AB23B8A74C8}" type="pres">
      <dgm:prSet presAssocID="{E6556F6A-B57F-4A74-B839-B14E506A71B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0828D92-DF07-4FFE-8704-0559CEF11588}" type="pres">
      <dgm:prSet presAssocID="{B11E53B7-C74A-4F2E-8D44-DBA2FFCDBE91}" presName="linNode" presStyleCnt="0"/>
      <dgm:spPr/>
      <dgm:t>
        <a:bodyPr/>
        <a:lstStyle/>
        <a:p>
          <a:endParaRPr lang="ru-RU"/>
        </a:p>
      </dgm:t>
    </dgm:pt>
    <dgm:pt modelId="{6D24A9D6-1D3B-483A-BDF9-3C1FF8D0A005}" type="pres">
      <dgm:prSet presAssocID="{B11E53B7-C74A-4F2E-8D44-DBA2FFCDBE91}" presName="parentText" presStyleLbl="node1" presStyleIdx="0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67F083E-4854-45D8-B370-644969FE645E}" type="pres">
      <dgm:prSet presAssocID="{B11E53B7-C74A-4F2E-8D44-DBA2FFCDBE91}" presName="descendantText" presStyleLbl="alignAccFollowNode1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8FF758DF-68C2-4062-A54D-C195291D2C8A}" type="pres">
      <dgm:prSet presAssocID="{388C5A60-77DB-4717-9059-8715127983AC}" presName="sp" presStyleCnt="0"/>
      <dgm:spPr/>
      <dgm:t>
        <a:bodyPr/>
        <a:lstStyle/>
        <a:p>
          <a:endParaRPr lang="ru-RU"/>
        </a:p>
      </dgm:t>
    </dgm:pt>
    <dgm:pt modelId="{367B1018-8E01-43C9-AC25-4085FE9240C3}" type="pres">
      <dgm:prSet presAssocID="{3B423118-2A7E-459B-ABE9-265DB0FA42D1}" presName="linNode" presStyleCnt="0"/>
      <dgm:spPr/>
      <dgm:t>
        <a:bodyPr/>
        <a:lstStyle/>
        <a:p>
          <a:endParaRPr lang="ru-RU"/>
        </a:p>
      </dgm:t>
    </dgm:pt>
    <dgm:pt modelId="{E4CBC874-A197-4B8C-A0E4-9593D52D22B2}" type="pres">
      <dgm:prSet presAssocID="{3B423118-2A7E-459B-ABE9-265DB0FA42D1}" presName="parentText" presStyleLbl="node1" presStyleIdx="1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02A0EBC-0112-425C-8BEB-B36CDD105E40}" type="pres">
      <dgm:prSet presAssocID="{3B423118-2A7E-459B-ABE9-265DB0FA42D1}" presName="descendantText" presStyleLbl="alignAccFollowNode1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D057417-302C-4F53-9BB2-AE7B5BAE7EBC}" type="pres">
      <dgm:prSet presAssocID="{7424D211-29D4-4E1A-B43B-0E96A8E0EB20}" presName="sp" presStyleCnt="0"/>
      <dgm:spPr/>
      <dgm:t>
        <a:bodyPr/>
        <a:lstStyle/>
        <a:p>
          <a:endParaRPr lang="ru-RU"/>
        </a:p>
      </dgm:t>
    </dgm:pt>
    <dgm:pt modelId="{D6E8B9ED-F450-49EB-9EA1-FB118C91E243}" type="pres">
      <dgm:prSet presAssocID="{E5A45DB3-6CBA-4C90-A6B0-ACC49A286CCD}" presName="linNode" presStyleCnt="0"/>
      <dgm:spPr/>
      <dgm:t>
        <a:bodyPr/>
        <a:lstStyle/>
        <a:p>
          <a:endParaRPr lang="ru-RU"/>
        </a:p>
      </dgm:t>
    </dgm:pt>
    <dgm:pt modelId="{1D681942-8182-4367-8799-12A12F1AB3DC}" type="pres">
      <dgm:prSet presAssocID="{E5A45DB3-6CBA-4C90-A6B0-ACC49A286CCD}" presName="parentText" presStyleLbl="node1" presStyleIdx="2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B2D21D1-047A-421C-BF35-2F6AAAF727CC}" type="pres">
      <dgm:prSet presAssocID="{E5A45DB3-6CBA-4C90-A6B0-ACC49A286CCD}" presName="descendantText" presStyleLbl="alignAccFollowNode1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CC3DB2F9-8D9C-49C8-897F-FDA4A9F5B94B}" srcId="{3B423118-2A7E-459B-ABE9-265DB0FA42D1}" destId="{A8ABE080-2F1F-411D-AA3C-1FA1E4A82213}" srcOrd="0" destOrd="0" parTransId="{EFAFB6E1-F3D6-4595-A780-F267133625E5}" sibTransId="{B57AD731-7D5B-43B6-9436-9407E12FA4D6}"/>
    <dgm:cxn modelId="{FAE1A1E7-4B9A-447A-BD5E-A3CF0ADB1812}" type="presOf" srcId="{B11E53B7-C74A-4F2E-8D44-DBA2FFCDBE91}" destId="{6D24A9D6-1D3B-483A-BDF9-3C1FF8D0A005}" srcOrd="0" destOrd="0" presId="urn:microsoft.com/office/officeart/2005/8/layout/vList5"/>
    <dgm:cxn modelId="{B5DB1F5A-91A7-4975-96C8-6F535B4B703A}" srcId="{E6556F6A-B57F-4A74-B839-B14E506A71B4}" destId="{E5A45DB3-6CBA-4C90-A6B0-ACC49A286CCD}" srcOrd="2" destOrd="0" parTransId="{463C1929-BAD2-4DE3-B752-890496E2A7BA}" sibTransId="{4B9A6635-CBFC-43A4-B9BF-1DFE42AC0117}"/>
    <dgm:cxn modelId="{1701765A-F35F-479D-9DB3-30215F81252A}" type="presOf" srcId="{3B423118-2A7E-459B-ABE9-265DB0FA42D1}" destId="{E4CBC874-A197-4B8C-A0E4-9593D52D22B2}" srcOrd="0" destOrd="0" presId="urn:microsoft.com/office/officeart/2005/8/layout/vList5"/>
    <dgm:cxn modelId="{FABBD034-E875-437E-851E-EB7699F12631}" type="presOf" srcId="{15D90B37-C1B8-4054-8033-A8CE45C00D9B}" destId="{267F083E-4854-45D8-B370-644969FE645E}" srcOrd="0" destOrd="0" presId="urn:microsoft.com/office/officeart/2005/8/layout/vList5"/>
    <dgm:cxn modelId="{4F7C47A8-020B-4F90-BFF6-C7FB016087BB}" type="presOf" srcId="{A8ABE080-2F1F-411D-AA3C-1FA1E4A82213}" destId="{A02A0EBC-0112-425C-8BEB-B36CDD105E40}" srcOrd="0" destOrd="0" presId="urn:microsoft.com/office/officeart/2005/8/layout/vList5"/>
    <dgm:cxn modelId="{B8248A79-F1BE-470C-A72C-DA946A8EEE60}" srcId="{B11E53B7-C74A-4F2E-8D44-DBA2FFCDBE91}" destId="{15D90B37-C1B8-4054-8033-A8CE45C00D9B}" srcOrd="0" destOrd="0" parTransId="{5F42655A-3639-4B62-BA3C-9A767507C30E}" sibTransId="{2C2FDF85-EB9A-45FC-BD32-FEFBE82B75F1}"/>
    <dgm:cxn modelId="{CE4F6E1B-380C-41A9-B049-779E8DA5F881}" type="presOf" srcId="{0C8A3126-EA05-4705-80B0-C95E250E429B}" destId="{A02A0EBC-0112-425C-8BEB-B36CDD105E40}" srcOrd="0" destOrd="1" presId="urn:microsoft.com/office/officeart/2005/8/layout/vList5"/>
    <dgm:cxn modelId="{A3E59598-19DF-4C73-A510-65AE7A53D9C2}" srcId="{E6556F6A-B57F-4A74-B839-B14E506A71B4}" destId="{3B423118-2A7E-459B-ABE9-265DB0FA42D1}" srcOrd="1" destOrd="0" parTransId="{2E671D5D-5A9E-4DDF-ADEB-8F81973337F3}" sibTransId="{7424D211-29D4-4E1A-B43B-0E96A8E0EB20}"/>
    <dgm:cxn modelId="{BBA18C54-DED0-415B-917E-46C6143CD324}" type="presOf" srcId="{E6556F6A-B57F-4A74-B839-B14E506A71B4}" destId="{99E96F8C-593E-495D-A7ED-3AB23B8A74C8}" srcOrd="0" destOrd="0" presId="urn:microsoft.com/office/officeart/2005/8/layout/vList5"/>
    <dgm:cxn modelId="{5AA77084-39AE-46E3-AA11-F3EC567A0ECB}" type="presOf" srcId="{10603721-28FB-469F-B723-27B964480E05}" destId="{DB2D21D1-047A-421C-BF35-2F6AAAF727CC}" srcOrd="0" destOrd="0" presId="urn:microsoft.com/office/officeart/2005/8/layout/vList5"/>
    <dgm:cxn modelId="{0A4F4B73-A5C2-47D3-8976-B551659F9B59}" srcId="{E6556F6A-B57F-4A74-B839-B14E506A71B4}" destId="{B11E53B7-C74A-4F2E-8D44-DBA2FFCDBE91}" srcOrd="0" destOrd="0" parTransId="{F38FE6BA-FC4D-4CD3-9B98-8DBE218C9087}" sibTransId="{388C5A60-77DB-4717-9059-8715127983AC}"/>
    <dgm:cxn modelId="{ADE16067-6FEB-49C1-AA2B-C111833AD5F0}" srcId="{E5A45DB3-6CBA-4C90-A6B0-ACC49A286CCD}" destId="{10603721-28FB-469F-B723-27B964480E05}" srcOrd="0" destOrd="0" parTransId="{F6FC0A75-0603-45CB-B8F8-81A337858EE0}" sibTransId="{F87B1586-2AF4-4598-87E6-24E09B01562A}"/>
    <dgm:cxn modelId="{852F7850-DE3A-4BA7-B015-3E607823CD19}" srcId="{3B423118-2A7E-459B-ABE9-265DB0FA42D1}" destId="{0C8A3126-EA05-4705-80B0-C95E250E429B}" srcOrd="1" destOrd="0" parTransId="{05BBB7F7-499B-4361-AF6B-5578583FB222}" sibTransId="{3FA04CBC-1351-4CE7-B0DA-6D0D19515485}"/>
    <dgm:cxn modelId="{91ECDC33-A788-4ACF-B4E7-FD0B61ECBF84}" type="presOf" srcId="{E5A45DB3-6CBA-4C90-A6B0-ACC49A286CCD}" destId="{1D681942-8182-4367-8799-12A12F1AB3DC}" srcOrd="0" destOrd="0" presId="urn:microsoft.com/office/officeart/2005/8/layout/vList5"/>
    <dgm:cxn modelId="{2451EFA2-2689-49F4-85FA-5BE7DE29D26C}" type="presParOf" srcId="{99E96F8C-593E-495D-A7ED-3AB23B8A74C8}" destId="{00828D92-DF07-4FFE-8704-0559CEF11588}" srcOrd="0" destOrd="0" presId="urn:microsoft.com/office/officeart/2005/8/layout/vList5"/>
    <dgm:cxn modelId="{FF17CBFA-14AC-4D34-8539-54EEAE8B26AD}" type="presParOf" srcId="{00828D92-DF07-4FFE-8704-0559CEF11588}" destId="{6D24A9D6-1D3B-483A-BDF9-3C1FF8D0A005}" srcOrd="0" destOrd="0" presId="urn:microsoft.com/office/officeart/2005/8/layout/vList5"/>
    <dgm:cxn modelId="{518D3EB2-5BA2-4629-BFA0-5BB220202044}" type="presParOf" srcId="{00828D92-DF07-4FFE-8704-0559CEF11588}" destId="{267F083E-4854-45D8-B370-644969FE645E}" srcOrd="1" destOrd="0" presId="urn:microsoft.com/office/officeart/2005/8/layout/vList5"/>
    <dgm:cxn modelId="{82E90B76-D414-455A-8862-E9215F69D641}" type="presParOf" srcId="{99E96F8C-593E-495D-A7ED-3AB23B8A74C8}" destId="{8FF758DF-68C2-4062-A54D-C195291D2C8A}" srcOrd="1" destOrd="0" presId="urn:microsoft.com/office/officeart/2005/8/layout/vList5"/>
    <dgm:cxn modelId="{31E536D5-8A72-4795-ABB2-48CBBF96A96E}" type="presParOf" srcId="{99E96F8C-593E-495D-A7ED-3AB23B8A74C8}" destId="{367B1018-8E01-43C9-AC25-4085FE9240C3}" srcOrd="2" destOrd="0" presId="urn:microsoft.com/office/officeart/2005/8/layout/vList5"/>
    <dgm:cxn modelId="{6088073F-A3CF-4F87-BD6D-76774925FB65}" type="presParOf" srcId="{367B1018-8E01-43C9-AC25-4085FE9240C3}" destId="{E4CBC874-A197-4B8C-A0E4-9593D52D22B2}" srcOrd="0" destOrd="0" presId="urn:microsoft.com/office/officeart/2005/8/layout/vList5"/>
    <dgm:cxn modelId="{9B8E9E1E-3DA2-4237-A398-BE47D3A8C21F}" type="presParOf" srcId="{367B1018-8E01-43C9-AC25-4085FE9240C3}" destId="{A02A0EBC-0112-425C-8BEB-B36CDD105E40}" srcOrd="1" destOrd="0" presId="urn:microsoft.com/office/officeart/2005/8/layout/vList5"/>
    <dgm:cxn modelId="{74DE7255-4445-4078-A407-4D581F3B402F}" type="presParOf" srcId="{99E96F8C-593E-495D-A7ED-3AB23B8A74C8}" destId="{2D057417-302C-4F53-9BB2-AE7B5BAE7EBC}" srcOrd="3" destOrd="0" presId="urn:microsoft.com/office/officeart/2005/8/layout/vList5"/>
    <dgm:cxn modelId="{529EAA04-A85D-4BF8-A336-E246F3F7A9A4}" type="presParOf" srcId="{99E96F8C-593E-495D-A7ED-3AB23B8A74C8}" destId="{D6E8B9ED-F450-49EB-9EA1-FB118C91E243}" srcOrd="4" destOrd="0" presId="urn:microsoft.com/office/officeart/2005/8/layout/vList5"/>
    <dgm:cxn modelId="{9C5BFC66-C0FE-44EC-97B8-64B01E3790D9}" type="presParOf" srcId="{D6E8B9ED-F450-49EB-9EA1-FB118C91E243}" destId="{1D681942-8182-4367-8799-12A12F1AB3DC}" srcOrd="0" destOrd="0" presId="urn:microsoft.com/office/officeart/2005/8/layout/vList5"/>
    <dgm:cxn modelId="{272D3F97-546E-48B2-9B88-DB813C34C273}" type="presParOf" srcId="{D6E8B9ED-F450-49EB-9EA1-FB118C91E243}" destId="{DB2D21D1-047A-421C-BF35-2F6AAAF727C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7F64B7B-91D9-4381-91A5-32FDA52E89A5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9BC60695-5CF1-4F79-9F78-CB5728EA2A8D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dirty="0" smtClean="0"/>
            <a:t>Самара</a:t>
          </a:r>
          <a:endParaRPr lang="ru-RU" dirty="0"/>
        </a:p>
      </dgm:t>
    </dgm:pt>
    <dgm:pt modelId="{A23730CE-E45C-4881-93F6-50A2716F8F15}" type="parTrans" cxnId="{11FF6B1C-D7D8-47D2-ADD6-E6178627224A}">
      <dgm:prSet/>
      <dgm:spPr/>
      <dgm:t>
        <a:bodyPr/>
        <a:lstStyle/>
        <a:p>
          <a:endParaRPr lang="ru-RU"/>
        </a:p>
      </dgm:t>
    </dgm:pt>
    <dgm:pt modelId="{C382BD1D-F309-4269-9A2D-D918FA40463D}" type="sibTrans" cxnId="{11FF6B1C-D7D8-47D2-ADD6-E6178627224A}">
      <dgm:prSet/>
      <dgm:spPr/>
      <dgm:t>
        <a:bodyPr/>
        <a:lstStyle/>
        <a:p>
          <a:endParaRPr lang="ru-RU"/>
        </a:p>
      </dgm:t>
    </dgm:pt>
    <dgm:pt modelId="{35F05E63-206A-4BFB-BC49-52C10D23C020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smtClean="0"/>
            <a:t>Роснефть</a:t>
          </a:r>
          <a:endParaRPr lang="ru-RU" dirty="0"/>
        </a:p>
      </dgm:t>
    </dgm:pt>
    <dgm:pt modelId="{0F49AC0C-3830-4678-A74A-3444EA04F40E}" type="parTrans" cxnId="{F6780724-E688-4211-9149-1EFCBF770F30}">
      <dgm:prSet/>
      <dgm:spPr/>
      <dgm:t>
        <a:bodyPr/>
        <a:lstStyle/>
        <a:p>
          <a:endParaRPr lang="ru-RU"/>
        </a:p>
      </dgm:t>
    </dgm:pt>
    <dgm:pt modelId="{AC0ACD89-B42F-4109-8661-238AF5F860A1}" type="sibTrans" cxnId="{F6780724-E688-4211-9149-1EFCBF770F30}">
      <dgm:prSet/>
      <dgm:spPr/>
      <dgm:t>
        <a:bodyPr/>
        <a:lstStyle/>
        <a:p>
          <a:endParaRPr lang="ru-RU"/>
        </a:p>
      </dgm:t>
    </dgm:pt>
    <dgm:pt modelId="{42F6ABDC-A6B0-4382-8676-2653EF494620}">
      <dgm:prSet phldrT="[Текст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dirty="0" smtClean="0"/>
            <a:t>Нижний Новгород</a:t>
          </a:r>
          <a:endParaRPr lang="ru-RU" dirty="0"/>
        </a:p>
      </dgm:t>
    </dgm:pt>
    <dgm:pt modelId="{D16F1D50-DBC7-4B28-A892-EC2235EDDFD0}" type="parTrans" cxnId="{DF2B57EF-6CE7-400F-A6FE-187BBB6D4204}">
      <dgm:prSet/>
      <dgm:spPr/>
      <dgm:t>
        <a:bodyPr/>
        <a:lstStyle/>
        <a:p>
          <a:endParaRPr lang="ru-RU"/>
        </a:p>
      </dgm:t>
    </dgm:pt>
    <dgm:pt modelId="{130EBD5F-39D2-443D-A26E-DB1817605918}" type="sibTrans" cxnId="{DF2B57EF-6CE7-400F-A6FE-187BBB6D4204}">
      <dgm:prSet/>
      <dgm:spPr/>
      <dgm:t>
        <a:bodyPr/>
        <a:lstStyle/>
        <a:p>
          <a:endParaRPr lang="ru-RU"/>
        </a:p>
      </dgm:t>
    </dgm:pt>
    <dgm:pt modelId="{6C20E517-F385-42CE-8E29-C9957165D240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Лукойл</a:t>
          </a:r>
          <a:endParaRPr lang="ru-RU" dirty="0"/>
        </a:p>
      </dgm:t>
    </dgm:pt>
    <dgm:pt modelId="{6BBCE00D-8D7D-42D7-8A15-057518FA23B5}" type="parTrans" cxnId="{7C6B5934-CD54-47C9-BCBF-DC558BD30B04}">
      <dgm:prSet/>
      <dgm:spPr/>
      <dgm:t>
        <a:bodyPr/>
        <a:lstStyle/>
        <a:p>
          <a:endParaRPr lang="ru-RU"/>
        </a:p>
      </dgm:t>
    </dgm:pt>
    <dgm:pt modelId="{7094C07A-C3CE-41FD-B01C-6492A4E42474}" type="sibTrans" cxnId="{7C6B5934-CD54-47C9-BCBF-DC558BD30B04}">
      <dgm:prSet/>
      <dgm:spPr/>
      <dgm:t>
        <a:bodyPr/>
        <a:lstStyle/>
        <a:p>
          <a:endParaRPr lang="ru-RU"/>
        </a:p>
      </dgm:t>
    </dgm:pt>
    <dgm:pt modelId="{880DC711-F40F-47E8-91F6-138F74CA5813}">
      <dgm:prSet phldrT="[Текст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 smtClean="0"/>
            <a:t>Никольское</a:t>
          </a:r>
          <a:endParaRPr lang="ru-RU" dirty="0"/>
        </a:p>
      </dgm:t>
    </dgm:pt>
    <dgm:pt modelId="{934A2EDC-FAB9-48C6-A28E-7C30E910C1AC}" type="parTrans" cxnId="{11ACCEA6-4355-40D1-9F6A-632CE9DE7E9B}">
      <dgm:prSet/>
      <dgm:spPr/>
      <dgm:t>
        <a:bodyPr/>
        <a:lstStyle/>
        <a:p>
          <a:endParaRPr lang="ru-RU"/>
        </a:p>
      </dgm:t>
    </dgm:pt>
    <dgm:pt modelId="{C309FD5A-FAE6-414F-97DA-DF2CB324BD1E}" type="sibTrans" cxnId="{11ACCEA6-4355-40D1-9F6A-632CE9DE7E9B}">
      <dgm:prSet/>
      <dgm:spPr/>
      <dgm:t>
        <a:bodyPr/>
        <a:lstStyle/>
        <a:p>
          <a:endParaRPr lang="ru-RU"/>
        </a:p>
      </dgm:t>
    </dgm:pt>
    <dgm:pt modelId="{C2D81093-E7E9-4B62-9885-3C0B3EB33BEC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Башнефть</a:t>
          </a:r>
          <a:endParaRPr lang="ru-RU" dirty="0"/>
        </a:p>
      </dgm:t>
    </dgm:pt>
    <dgm:pt modelId="{1EBDAFB8-7D17-459F-B8D2-B1018E339C64}" type="parTrans" cxnId="{2618D88F-3D65-4E92-983C-B597C8ACF945}">
      <dgm:prSet/>
      <dgm:spPr/>
      <dgm:t>
        <a:bodyPr/>
        <a:lstStyle/>
        <a:p>
          <a:endParaRPr lang="ru-RU"/>
        </a:p>
      </dgm:t>
    </dgm:pt>
    <dgm:pt modelId="{20FE44D6-590B-4B2A-9C65-0498FA9345D9}" type="sibTrans" cxnId="{2618D88F-3D65-4E92-983C-B597C8ACF945}">
      <dgm:prSet/>
      <dgm:spPr/>
      <dgm:t>
        <a:bodyPr/>
        <a:lstStyle/>
        <a:p>
          <a:endParaRPr lang="ru-RU"/>
        </a:p>
      </dgm:t>
    </dgm:pt>
    <dgm:pt modelId="{A7568EA7-045F-42B2-A0AF-60E8B139CB95}">
      <dgm:prSet phldrT="[Текст]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dirty="0" err="1" smtClean="0"/>
            <a:t>Татнефть</a:t>
          </a:r>
          <a:endParaRPr lang="ru-RU" dirty="0"/>
        </a:p>
      </dgm:t>
    </dgm:pt>
    <dgm:pt modelId="{14BCD282-382E-43F5-A6C1-688481777C5E}" type="parTrans" cxnId="{28CEE7EC-1C9D-481F-B8DE-B8C1423CE885}">
      <dgm:prSet/>
      <dgm:spPr/>
      <dgm:t>
        <a:bodyPr/>
        <a:lstStyle/>
        <a:p>
          <a:endParaRPr lang="ru-RU"/>
        </a:p>
      </dgm:t>
    </dgm:pt>
    <dgm:pt modelId="{5222C70E-F65D-42B9-B61E-3601EA0223F4}" type="sibTrans" cxnId="{28CEE7EC-1C9D-481F-B8DE-B8C1423CE885}">
      <dgm:prSet/>
      <dgm:spPr/>
      <dgm:t>
        <a:bodyPr/>
        <a:lstStyle/>
        <a:p>
          <a:endParaRPr lang="ru-RU"/>
        </a:p>
      </dgm:t>
    </dgm:pt>
    <dgm:pt modelId="{FAC59202-0F7A-464D-B420-2B1E3E6F53AE}" type="pres">
      <dgm:prSet presAssocID="{A7F64B7B-91D9-4381-91A5-32FDA52E89A5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9EE4186-F25B-49F0-A642-F2E83859C6CE}" type="pres">
      <dgm:prSet presAssocID="{9BC60695-5CF1-4F79-9F78-CB5728EA2A8D}" presName="linNode" presStyleCnt="0"/>
      <dgm:spPr/>
    </dgm:pt>
    <dgm:pt modelId="{27D221B8-E132-4A05-B723-69231576D184}" type="pres">
      <dgm:prSet presAssocID="{9BC60695-5CF1-4F79-9F78-CB5728EA2A8D}" presName="parentText" presStyleLbl="node1" presStyleIdx="0" presStyleCnt="3" custLinFactY="-47254" custLinFactNeighborX="-26165" custLinFactNeighborY="-100000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82532C4-8878-4E87-B4A4-6905A38B0417}" type="pres">
      <dgm:prSet presAssocID="{9BC60695-5CF1-4F79-9F78-CB5728EA2A8D}" presName="descendantText" presStyleLbl="alignAccFollowNode1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6A41B77-6253-4663-ACFE-48FFA2D22290}" type="pres">
      <dgm:prSet presAssocID="{C382BD1D-F309-4269-9A2D-D918FA40463D}" presName="sp" presStyleCnt="0"/>
      <dgm:spPr/>
    </dgm:pt>
    <dgm:pt modelId="{FF6959FB-E219-4C5C-A65E-93BCEF0AD1CD}" type="pres">
      <dgm:prSet presAssocID="{42F6ABDC-A6B0-4382-8676-2653EF494620}" presName="linNode" presStyleCnt="0"/>
      <dgm:spPr/>
    </dgm:pt>
    <dgm:pt modelId="{5C807FFA-698F-4F5A-95B8-08AB0CB3C18D}" type="pres">
      <dgm:prSet presAssocID="{42F6ABDC-A6B0-4382-8676-2653EF494620}" presName="parentText" presStyleLbl="node1" presStyleIdx="1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9EC79B4-B5B3-4702-9A2E-DBE6A260ADAA}" type="pres">
      <dgm:prSet presAssocID="{42F6ABDC-A6B0-4382-8676-2653EF494620}" presName="descendantText" presStyleLbl="alignAccFollowNode1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C3276B24-6613-47CA-93D5-AD39C2147E70}" type="pres">
      <dgm:prSet presAssocID="{130EBD5F-39D2-443D-A26E-DB1817605918}" presName="sp" presStyleCnt="0"/>
      <dgm:spPr/>
    </dgm:pt>
    <dgm:pt modelId="{9E4BDAFB-1849-49F2-B6EE-1791A016422E}" type="pres">
      <dgm:prSet presAssocID="{880DC711-F40F-47E8-91F6-138F74CA5813}" presName="linNode" presStyleCnt="0"/>
      <dgm:spPr/>
    </dgm:pt>
    <dgm:pt modelId="{E5C75126-AB59-4957-A83E-5BDFC9C5B155}" type="pres">
      <dgm:prSet presAssocID="{880DC711-F40F-47E8-91F6-138F74CA5813}" presName="parentText" presStyleLbl="node1" presStyleIdx="2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627C50A-3EBA-463F-9011-FE8A84BAEA66}" type="pres">
      <dgm:prSet presAssocID="{880DC711-F40F-47E8-91F6-138F74CA5813}" presName="descendantText" presStyleLbl="alignAccFollowNode1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DF2B57EF-6CE7-400F-A6FE-187BBB6D4204}" srcId="{A7F64B7B-91D9-4381-91A5-32FDA52E89A5}" destId="{42F6ABDC-A6B0-4382-8676-2653EF494620}" srcOrd="1" destOrd="0" parTransId="{D16F1D50-DBC7-4B28-A892-EC2235EDDFD0}" sibTransId="{130EBD5F-39D2-443D-A26E-DB1817605918}"/>
    <dgm:cxn modelId="{757C2A8D-A295-46FE-9E0B-D76594DA1C13}" type="presOf" srcId="{35F05E63-206A-4BFB-BC49-52C10D23C020}" destId="{982532C4-8878-4E87-B4A4-6905A38B0417}" srcOrd="0" destOrd="0" presId="urn:microsoft.com/office/officeart/2005/8/layout/vList5"/>
    <dgm:cxn modelId="{11ACCEA6-4355-40D1-9F6A-632CE9DE7E9B}" srcId="{A7F64B7B-91D9-4381-91A5-32FDA52E89A5}" destId="{880DC711-F40F-47E8-91F6-138F74CA5813}" srcOrd="2" destOrd="0" parTransId="{934A2EDC-FAB9-48C6-A28E-7C30E910C1AC}" sibTransId="{C309FD5A-FAE6-414F-97DA-DF2CB324BD1E}"/>
    <dgm:cxn modelId="{75613793-2864-448A-91A3-6BF56159FC50}" type="presOf" srcId="{42F6ABDC-A6B0-4382-8676-2653EF494620}" destId="{5C807FFA-698F-4F5A-95B8-08AB0CB3C18D}" srcOrd="0" destOrd="0" presId="urn:microsoft.com/office/officeart/2005/8/layout/vList5"/>
    <dgm:cxn modelId="{D352DE5A-14A1-401B-835C-6FA165CC6248}" type="presOf" srcId="{880DC711-F40F-47E8-91F6-138F74CA5813}" destId="{E5C75126-AB59-4957-A83E-5BDFC9C5B155}" srcOrd="0" destOrd="0" presId="urn:microsoft.com/office/officeart/2005/8/layout/vList5"/>
    <dgm:cxn modelId="{11FF6B1C-D7D8-47D2-ADD6-E6178627224A}" srcId="{A7F64B7B-91D9-4381-91A5-32FDA52E89A5}" destId="{9BC60695-5CF1-4F79-9F78-CB5728EA2A8D}" srcOrd="0" destOrd="0" parTransId="{A23730CE-E45C-4881-93F6-50A2716F8F15}" sibTransId="{C382BD1D-F309-4269-9A2D-D918FA40463D}"/>
    <dgm:cxn modelId="{F8D3763A-12FE-4CBA-BB9F-8C829A1BF164}" type="presOf" srcId="{A7F64B7B-91D9-4381-91A5-32FDA52E89A5}" destId="{FAC59202-0F7A-464D-B420-2B1E3E6F53AE}" srcOrd="0" destOrd="0" presId="urn:microsoft.com/office/officeart/2005/8/layout/vList5"/>
    <dgm:cxn modelId="{2618D88F-3D65-4E92-983C-B597C8ACF945}" srcId="{880DC711-F40F-47E8-91F6-138F74CA5813}" destId="{C2D81093-E7E9-4B62-9885-3C0B3EB33BEC}" srcOrd="0" destOrd="0" parTransId="{1EBDAFB8-7D17-459F-B8D2-B1018E339C64}" sibTransId="{20FE44D6-590B-4B2A-9C65-0498FA9345D9}"/>
    <dgm:cxn modelId="{28CEE7EC-1C9D-481F-B8DE-B8C1423CE885}" srcId="{880DC711-F40F-47E8-91F6-138F74CA5813}" destId="{A7568EA7-045F-42B2-A0AF-60E8B139CB95}" srcOrd="1" destOrd="0" parTransId="{14BCD282-382E-43F5-A6C1-688481777C5E}" sibTransId="{5222C70E-F65D-42B9-B61E-3601EA0223F4}"/>
    <dgm:cxn modelId="{767D33DF-D800-4E1C-AA15-8DB20F092E88}" type="presOf" srcId="{C2D81093-E7E9-4B62-9885-3C0B3EB33BEC}" destId="{1627C50A-3EBA-463F-9011-FE8A84BAEA66}" srcOrd="0" destOrd="0" presId="urn:microsoft.com/office/officeart/2005/8/layout/vList5"/>
    <dgm:cxn modelId="{4B06EA26-F075-4267-855A-081EA4BECB00}" type="presOf" srcId="{6C20E517-F385-42CE-8E29-C9957165D240}" destId="{99EC79B4-B5B3-4702-9A2E-DBE6A260ADAA}" srcOrd="0" destOrd="0" presId="urn:microsoft.com/office/officeart/2005/8/layout/vList5"/>
    <dgm:cxn modelId="{0213F29E-A9EA-46CA-AFA6-BCDD1BA0A74F}" type="presOf" srcId="{9BC60695-5CF1-4F79-9F78-CB5728EA2A8D}" destId="{27D221B8-E132-4A05-B723-69231576D184}" srcOrd="0" destOrd="0" presId="urn:microsoft.com/office/officeart/2005/8/layout/vList5"/>
    <dgm:cxn modelId="{5508C2D6-B197-4D19-9442-258C1071E9B9}" type="presOf" srcId="{A7568EA7-045F-42B2-A0AF-60E8B139CB95}" destId="{1627C50A-3EBA-463F-9011-FE8A84BAEA66}" srcOrd="0" destOrd="1" presId="urn:microsoft.com/office/officeart/2005/8/layout/vList5"/>
    <dgm:cxn modelId="{F6780724-E688-4211-9149-1EFCBF770F30}" srcId="{9BC60695-5CF1-4F79-9F78-CB5728EA2A8D}" destId="{35F05E63-206A-4BFB-BC49-52C10D23C020}" srcOrd="0" destOrd="0" parTransId="{0F49AC0C-3830-4678-A74A-3444EA04F40E}" sibTransId="{AC0ACD89-B42F-4109-8661-238AF5F860A1}"/>
    <dgm:cxn modelId="{7C6B5934-CD54-47C9-BCBF-DC558BD30B04}" srcId="{42F6ABDC-A6B0-4382-8676-2653EF494620}" destId="{6C20E517-F385-42CE-8E29-C9957165D240}" srcOrd="0" destOrd="0" parTransId="{6BBCE00D-8D7D-42D7-8A15-057518FA23B5}" sibTransId="{7094C07A-C3CE-41FD-B01C-6492A4E42474}"/>
    <dgm:cxn modelId="{EE599AB7-824F-4893-9391-545B1A5C4886}" type="presParOf" srcId="{FAC59202-0F7A-464D-B420-2B1E3E6F53AE}" destId="{E9EE4186-F25B-49F0-A642-F2E83859C6CE}" srcOrd="0" destOrd="0" presId="urn:microsoft.com/office/officeart/2005/8/layout/vList5"/>
    <dgm:cxn modelId="{2513ADFC-EAA2-4324-A383-CB25EEED96B3}" type="presParOf" srcId="{E9EE4186-F25B-49F0-A642-F2E83859C6CE}" destId="{27D221B8-E132-4A05-B723-69231576D184}" srcOrd="0" destOrd="0" presId="urn:microsoft.com/office/officeart/2005/8/layout/vList5"/>
    <dgm:cxn modelId="{D71CDDFD-CDC3-4BEE-88CD-1DCB15BC2A07}" type="presParOf" srcId="{E9EE4186-F25B-49F0-A642-F2E83859C6CE}" destId="{982532C4-8878-4E87-B4A4-6905A38B0417}" srcOrd="1" destOrd="0" presId="urn:microsoft.com/office/officeart/2005/8/layout/vList5"/>
    <dgm:cxn modelId="{FCE39853-25B4-4381-8F79-7218EC75BDBE}" type="presParOf" srcId="{FAC59202-0F7A-464D-B420-2B1E3E6F53AE}" destId="{C6A41B77-6253-4663-ACFE-48FFA2D22290}" srcOrd="1" destOrd="0" presId="urn:microsoft.com/office/officeart/2005/8/layout/vList5"/>
    <dgm:cxn modelId="{AC844716-D128-428E-B2B0-8BD74747226D}" type="presParOf" srcId="{FAC59202-0F7A-464D-B420-2B1E3E6F53AE}" destId="{FF6959FB-E219-4C5C-A65E-93BCEF0AD1CD}" srcOrd="2" destOrd="0" presId="urn:microsoft.com/office/officeart/2005/8/layout/vList5"/>
    <dgm:cxn modelId="{F4584026-150C-4FD3-B19B-82EAD6F90867}" type="presParOf" srcId="{FF6959FB-E219-4C5C-A65E-93BCEF0AD1CD}" destId="{5C807FFA-698F-4F5A-95B8-08AB0CB3C18D}" srcOrd="0" destOrd="0" presId="urn:microsoft.com/office/officeart/2005/8/layout/vList5"/>
    <dgm:cxn modelId="{ACC27716-B4C6-4F6D-9A93-E2B9A1C48F77}" type="presParOf" srcId="{FF6959FB-E219-4C5C-A65E-93BCEF0AD1CD}" destId="{99EC79B4-B5B3-4702-9A2E-DBE6A260ADAA}" srcOrd="1" destOrd="0" presId="urn:microsoft.com/office/officeart/2005/8/layout/vList5"/>
    <dgm:cxn modelId="{6BBF9F2C-32F7-46B6-BB24-F5E8D2270E3C}" type="presParOf" srcId="{FAC59202-0F7A-464D-B420-2B1E3E6F53AE}" destId="{C3276B24-6613-47CA-93D5-AD39C2147E70}" srcOrd="3" destOrd="0" presId="urn:microsoft.com/office/officeart/2005/8/layout/vList5"/>
    <dgm:cxn modelId="{7243378C-7AB9-45D9-8FB8-71F54D5C21CA}" type="presParOf" srcId="{FAC59202-0F7A-464D-B420-2B1E3E6F53AE}" destId="{9E4BDAFB-1849-49F2-B6EE-1791A016422E}" srcOrd="4" destOrd="0" presId="urn:microsoft.com/office/officeart/2005/8/layout/vList5"/>
    <dgm:cxn modelId="{CFEB94FD-ABAB-4E57-8BE6-4DB0D6308EA2}" type="presParOf" srcId="{9E4BDAFB-1849-49F2-B6EE-1791A016422E}" destId="{E5C75126-AB59-4957-A83E-5BDFC9C5B155}" srcOrd="0" destOrd="0" presId="urn:microsoft.com/office/officeart/2005/8/layout/vList5"/>
    <dgm:cxn modelId="{80F8B653-D635-4CB4-B94F-AB231FC11C9F}" type="presParOf" srcId="{9E4BDAFB-1849-49F2-B6EE-1791A016422E}" destId="{1627C50A-3EBA-463F-9011-FE8A84BAEA6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556F6A-B57F-4A74-B839-B14E506A71B4}" type="doc">
      <dgm:prSet loTypeId="urn:microsoft.com/office/officeart/2005/8/layout/vList5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B11E53B7-C74A-4F2E-8D44-DBA2FFCDBE91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sz="900" dirty="0" smtClean="0"/>
            <a:t>Москва</a:t>
          </a:r>
          <a:endParaRPr lang="ru-RU" sz="900" dirty="0"/>
        </a:p>
      </dgm:t>
    </dgm:pt>
    <dgm:pt modelId="{F38FE6BA-FC4D-4CD3-9B98-8DBE218C9087}" type="parTrans" cxnId="{0A4F4B73-A5C2-47D3-8976-B551659F9B59}">
      <dgm:prSet/>
      <dgm:spPr/>
      <dgm:t>
        <a:bodyPr/>
        <a:lstStyle/>
        <a:p>
          <a:endParaRPr lang="ru-RU" sz="900"/>
        </a:p>
      </dgm:t>
    </dgm:pt>
    <dgm:pt modelId="{388C5A60-77DB-4717-9059-8715127983AC}" type="sibTrans" cxnId="{0A4F4B73-A5C2-47D3-8976-B551659F9B59}">
      <dgm:prSet/>
      <dgm:spPr/>
      <dgm:t>
        <a:bodyPr/>
        <a:lstStyle/>
        <a:p>
          <a:endParaRPr lang="ru-RU" sz="900"/>
        </a:p>
      </dgm:t>
    </dgm:pt>
    <dgm:pt modelId="{15D90B37-C1B8-4054-8033-A8CE45C00D9B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pPr marL="0" indent="0"/>
          <a:r>
            <a:rPr lang="ru-RU" sz="900" dirty="0" err="1" smtClean="0"/>
            <a:t>Газпромнефть</a:t>
          </a:r>
          <a:endParaRPr lang="ru-RU" sz="900" dirty="0"/>
        </a:p>
      </dgm:t>
    </dgm:pt>
    <dgm:pt modelId="{5F42655A-3639-4B62-BA3C-9A767507C30E}" type="parTrans" cxnId="{B8248A79-F1BE-470C-A72C-DA946A8EEE60}">
      <dgm:prSet/>
      <dgm:spPr/>
      <dgm:t>
        <a:bodyPr/>
        <a:lstStyle/>
        <a:p>
          <a:endParaRPr lang="ru-RU" sz="900"/>
        </a:p>
      </dgm:t>
    </dgm:pt>
    <dgm:pt modelId="{2C2FDF85-EB9A-45FC-BD32-FEFBE82B75F1}" type="sibTrans" cxnId="{B8248A79-F1BE-470C-A72C-DA946A8EEE60}">
      <dgm:prSet/>
      <dgm:spPr/>
      <dgm:t>
        <a:bodyPr/>
        <a:lstStyle/>
        <a:p>
          <a:endParaRPr lang="ru-RU" sz="900"/>
        </a:p>
      </dgm:t>
    </dgm:pt>
    <dgm:pt modelId="{3B423118-2A7E-459B-ABE9-265DB0FA42D1}">
      <dgm:prSet phldrT="[Текст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900" dirty="0" smtClean="0"/>
            <a:t>Ярославль</a:t>
          </a:r>
          <a:endParaRPr lang="ru-RU" sz="900" dirty="0"/>
        </a:p>
      </dgm:t>
    </dgm:pt>
    <dgm:pt modelId="{2E671D5D-5A9E-4DDF-ADEB-8F81973337F3}" type="parTrans" cxnId="{A3E59598-19DF-4C73-A510-65AE7A53D9C2}">
      <dgm:prSet/>
      <dgm:spPr/>
      <dgm:t>
        <a:bodyPr/>
        <a:lstStyle/>
        <a:p>
          <a:endParaRPr lang="ru-RU" sz="900"/>
        </a:p>
      </dgm:t>
    </dgm:pt>
    <dgm:pt modelId="{7424D211-29D4-4E1A-B43B-0E96A8E0EB20}" type="sibTrans" cxnId="{A3E59598-19DF-4C73-A510-65AE7A53D9C2}">
      <dgm:prSet/>
      <dgm:spPr/>
      <dgm:t>
        <a:bodyPr/>
        <a:lstStyle/>
        <a:p>
          <a:endParaRPr lang="ru-RU" sz="900"/>
        </a:p>
      </dgm:t>
    </dgm:pt>
    <dgm:pt modelId="{A8ABE080-2F1F-411D-AA3C-1FA1E4A82213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err="1" smtClean="0"/>
            <a:t>Газпромнефть</a:t>
          </a:r>
          <a:endParaRPr lang="ru-RU" sz="900" dirty="0"/>
        </a:p>
      </dgm:t>
    </dgm:pt>
    <dgm:pt modelId="{EFAFB6E1-F3D6-4595-A780-F267133625E5}" type="parTrans" cxnId="{CC3DB2F9-8D9C-49C8-897F-FDA4A9F5B94B}">
      <dgm:prSet/>
      <dgm:spPr/>
      <dgm:t>
        <a:bodyPr/>
        <a:lstStyle/>
        <a:p>
          <a:endParaRPr lang="ru-RU" sz="900"/>
        </a:p>
      </dgm:t>
    </dgm:pt>
    <dgm:pt modelId="{B57AD731-7D5B-43B6-9436-9407E12FA4D6}" type="sibTrans" cxnId="{CC3DB2F9-8D9C-49C8-897F-FDA4A9F5B94B}">
      <dgm:prSet/>
      <dgm:spPr/>
      <dgm:t>
        <a:bodyPr/>
        <a:lstStyle/>
        <a:p>
          <a:endParaRPr lang="ru-RU" sz="900"/>
        </a:p>
      </dgm:t>
    </dgm:pt>
    <dgm:pt modelId="{0C8A3126-EA05-4705-80B0-C95E250E429B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smtClean="0"/>
            <a:t>Роснефть</a:t>
          </a:r>
          <a:endParaRPr lang="ru-RU" sz="900" dirty="0"/>
        </a:p>
      </dgm:t>
    </dgm:pt>
    <dgm:pt modelId="{05BBB7F7-499B-4361-AF6B-5578583FB222}" type="parTrans" cxnId="{852F7850-DE3A-4BA7-B015-3E607823CD19}">
      <dgm:prSet/>
      <dgm:spPr/>
      <dgm:t>
        <a:bodyPr/>
        <a:lstStyle/>
        <a:p>
          <a:endParaRPr lang="ru-RU" sz="900"/>
        </a:p>
      </dgm:t>
    </dgm:pt>
    <dgm:pt modelId="{3FA04CBC-1351-4CE7-B0DA-6D0D19515485}" type="sibTrans" cxnId="{852F7850-DE3A-4BA7-B015-3E607823CD19}">
      <dgm:prSet/>
      <dgm:spPr/>
      <dgm:t>
        <a:bodyPr/>
        <a:lstStyle/>
        <a:p>
          <a:endParaRPr lang="ru-RU" sz="900"/>
        </a:p>
      </dgm:t>
    </dgm:pt>
    <dgm:pt modelId="{E5A45DB3-6CBA-4C90-A6B0-ACC49A286CCD}">
      <dgm:prSet phldrT="[Текст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sz="900" dirty="0" smtClean="0"/>
            <a:t>Рязань</a:t>
          </a:r>
          <a:endParaRPr lang="ru-RU" sz="900" dirty="0"/>
        </a:p>
      </dgm:t>
    </dgm:pt>
    <dgm:pt modelId="{463C1929-BAD2-4DE3-B752-890496E2A7BA}" type="parTrans" cxnId="{B5DB1F5A-91A7-4975-96C8-6F535B4B703A}">
      <dgm:prSet/>
      <dgm:spPr/>
      <dgm:t>
        <a:bodyPr/>
        <a:lstStyle/>
        <a:p>
          <a:endParaRPr lang="ru-RU" sz="900"/>
        </a:p>
      </dgm:t>
    </dgm:pt>
    <dgm:pt modelId="{4B9A6635-CBFC-43A4-B9BF-1DFE42AC0117}" type="sibTrans" cxnId="{B5DB1F5A-91A7-4975-96C8-6F535B4B703A}">
      <dgm:prSet/>
      <dgm:spPr/>
      <dgm:t>
        <a:bodyPr/>
        <a:lstStyle/>
        <a:p>
          <a:endParaRPr lang="ru-RU" sz="900"/>
        </a:p>
      </dgm:t>
    </dgm:pt>
    <dgm:pt modelId="{10603721-28FB-469F-B723-27B964480E05}">
      <dgm:prSet phldrT="[Текст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ru-RU" sz="900" dirty="0" smtClean="0"/>
            <a:t>Роснефть</a:t>
          </a:r>
          <a:endParaRPr lang="ru-RU" sz="900" dirty="0"/>
        </a:p>
      </dgm:t>
    </dgm:pt>
    <dgm:pt modelId="{F6FC0A75-0603-45CB-B8F8-81A337858EE0}" type="parTrans" cxnId="{ADE16067-6FEB-49C1-AA2B-C111833AD5F0}">
      <dgm:prSet/>
      <dgm:spPr/>
      <dgm:t>
        <a:bodyPr/>
        <a:lstStyle/>
        <a:p>
          <a:endParaRPr lang="ru-RU" sz="900"/>
        </a:p>
      </dgm:t>
    </dgm:pt>
    <dgm:pt modelId="{F87B1586-2AF4-4598-87E6-24E09B01562A}" type="sibTrans" cxnId="{ADE16067-6FEB-49C1-AA2B-C111833AD5F0}">
      <dgm:prSet/>
      <dgm:spPr/>
      <dgm:t>
        <a:bodyPr/>
        <a:lstStyle/>
        <a:p>
          <a:endParaRPr lang="ru-RU" sz="900"/>
        </a:p>
      </dgm:t>
    </dgm:pt>
    <dgm:pt modelId="{99E96F8C-593E-495D-A7ED-3AB23B8A74C8}" type="pres">
      <dgm:prSet presAssocID="{E6556F6A-B57F-4A74-B839-B14E506A71B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0828D92-DF07-4FFE-8704-0559CEF11588}" type="pres">
      <dgm:prSet presAssocID="{B11E53B7-C74A-4F2E-8D44-DBA2FFCDBE91}" presName="linNode" presStyleCnt="0"/>
      <dgm:spPr/>
      <dgm:t>
        <a:bodyPr/>
        <a:lstStyle/>
        <a:p>
          <a:endParaRPr lang="ru-RU"/>
        </a:p>
      </dgm:t>
    </dgm:pt>
    <dgm:pt modelId="{6D24A9D6-1D3B-483A-BDF9-3C1FF8D0A005}" type="pres">
      <dgm:prSet presAssocID="{B11E53B7-C74A-4F2E-8D44-DBA2FFCDBE91}" presName="parentText" presStyleLbl="node1" presStyleIdx="0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67F083E-4854-45D8-B370-644969FE645E}" type="pres">
      <dgm:prSet presAssocID="{B11E53B7-C74A-4F2E-8D44-DBA2FFCDBE91}" presName="descendantText" presStyleLbl="alignAccFollowNode1" presStyleIdx="0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8FF758DF-68C2-4062-A54D-C195291D2C8A}" type="pres">
      <dgm:prSet presAssocID="{388C5A60-77DB-4717-9059-8715127983AC}" presName="sp" presStyleCnt="0"/>
      <dgm:spPr/>
      <dgm:t>
        <a:bodyPr/>
        <a:lstStyle/>
        <a:p>
          <a:endParaRPr lang="ru-RU"/>
        </a:p>
      </dgm:t>
    </dgm:pt>
    <dgm:pt modelId="{367B1018-8E01-43C9-AC25-4085FE9240C3}" type="pres">
      <dgm:prSet presAssocID="{3B423118-2A7E-459B-ABE9-265DB0FA42D1}" presName="linNode" presStyleCnt="0"/>
      <dgm:spPr/>
      <dgm:t>
        <a:bodyPr/>
        <a:lstStyle/>
        <a:p>
          <a:endParaRPr lang="ru-RU"/>
        </a:p>
      </dgm:t>
    </dgm:pt>
    <dgm:pt modelId="{E4CBC874-A197-4B8C-A0E4-9593D52D22B2}" type="pres">
      <dgm:prSet presAssocID="{3B423118-2A7E-459B-ABE9-265DB0FA42D1}" presName="parentText" presStyleLbl="node1" presStyleIdx="1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02A0EBC-0112-425C-8BEB-B36CDD105E40}" type="pres">
      <dgm:prSet presAssocID="{3B423118-2A7E-459B-ABE9-265DB0FA42D1}" presName="descendantText" presStyleLbl="alignAccFollowNode1" presStyleIdx="1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D057417-302C-4F53-9BB2-AE7B5BAE7EBC}" type="pres">
      <dgm:prSet presAssocID="{7424D211-29D4-4E1A-B43B-0E96A8E0EB20}" presName="sp" presStyleCnt="0"/>
      <dgm:spPr/>
      <dgm:t>
        <a:bodyPr/>
        <a:lstStyle/>
        <a:p>
          <a:endParaRPr lang="ru-RU"/>
        </a:p>
      </dgm:t>
    </dgm:pt>
    <dgm:pt modelId="{D6E8B9ED-F450-49EB-9EA1-FB118C91E243}" type="pres">
      <dgm:prSet presAssocID="{E5A45DB3-6CBA-4C90-A6B0-ACC49A286CCD}" presName="linNode" presStyleCnt="0"/>
      <dgm:spPr/>
      <dgm:t>
        <a:bodyPr/>
        <a:lstStyle/>
        <a:p>
          <a:endParaRPr lang="ru-RU"/>
        </a:p>
      </dgm:t>
    </dgm:pt>
    <dgm:pt modelId="{1D681942-8182-4367-8799-12A12F1AB3DC}" type="pres">
      <dgm:prSet presAssocID="{E5A45DB3-6CBA-4C90-A6B0-ACC49A286CCD}" presName="parentText" presStyleLbl="node1" presStyleIdx="2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B2D21D1-047A-421C-BF35-2F6AAAF727CC}" type="pres">
      <dgm:prSet presAssocID="{E5A45DB3-6CBA-4C90-A6B0-ACC49A286CCD}" presName="descendantText" presStyleLbl="alignAccFollowNode1" presStyleIdx="2" presStyleCnt="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B8248A79-F1BE-470C-A72C-DA946A8EEE60}" srcId="{B11E53B7-C74A-4F2E-8D44-DBA2FFCDBE91}" destId="{15D90B37-C1B8-4054-8033-A8CE45C00D9B}" srcOrd="0" destOrd="0" parTransId="{5F42655A-3639-4B62-BA3C-9A767507C30E}" sibTransId="{2C2FDF85-EB9A-45FC-BD32-FEFBE82B75F1}"/>
    <dgm:cxn modelId="{DC7832AE-53BB-4227-A3A8-50331BE58C98}" type="presOf" srcId="{15D90B37-C1B8-4054-8033-A8CE45C00D9B}" destId="{267F083E-4854-45D8-B370-644969FE645E}" srcOrd="0" destOrd="0" presId="urn:microsoft.com/office/officeart/2005/8/layout/vList5"/>
    <dgm:cxn modelId="{2A8245CF-47D6-4902-9C4E-B1B7D6F510D3}" type="presOf" srcId="{A8ABE080-2F1F-411D-AA3C-1FA1E4A82213}" destId="{A02A0EBC-0112-425C-8BEB-B36CDD105E40}" srcOrd="0" destOrd="0" presId="urn:microsoft.com/office/officeart/2005/8/layout/vList5"/>
    <dgm:cxn modelId="{31D6D8A1-CA77-491D-BB23-E9B2F6B9FB69}" type="presOf" srcId="{E5A45DB3-6CBA-4C90-A6B0-ACC49A286CCD}" destId="{1D681942-8182-4367-8799-12A12F1AB3DC}" srcOrd="0" destOrd="0" presId="urn:microsoft.com/office/officeart/2005/8/layout/vList5"/>
    <dgm:cxn modelId="{6AFE0EF6-4C3E-4439-AD98-E42B48874806}" type="presOf" srcId="{E6556F6A-B57F-4A74-B839-B14E506A71B4}" destId="{99E96F8C-593E-495D-A7ED-3AB23B8A74C8}" srcOrd="0" destOrd="0" presId="urn:microsoft.com/office/officeart/2005/8/layout/vList5"/>
    <dgm:cxn modelId="{B5DB1F5A-91A7-4975-96C8-6F535B4B703A}" srcId="{E6556F6A-B57F-4A74-B839-B14E506A71B4}" destId="{E5A45DB3-6CBA-4C90-A6B0-ACC49A286CCD}" srcOrd="2" destOrd="0" parTransId="{463C1929-BAD2-4DE3-B752-890496E2A7BA}" sibTransId="{4B9A6635-CBFC-43A4-B9BF-1DFE42AC0117}"/>
    <dgm:cxn modelId="{A3E59598-19DF-4C73-A510-65AE7A53D9C2}" srcId="{E6556F6A-B57F-4A74-B839-B14E506A71B4}" destId="{3B423118-2A7E-459B-ABE9-265DB0FA42D1}" srcOrd="1" destOrd="0" parTransId="{2E671D5D-5A9E-4DDF-ADEB-8F81973337F3}" sibTransId="{7424D211-29D4-4E1A-B43B-0E96A8E0EB20}"/>
    <dgm:cxn modelId="{05536C2C-EB7F-4023-A406-0F9A86BF12C8}" type="presOf" srcId="{10603721-28FB-469F-B723-27B964480E05}" destId="{DB2D21D1-047A-421C-BF35-2F6AAAF727CC}" srcOrd="0" destOrd="0" presId="urn:microsoft.com/office/officeart/2005/8/layout/vList5"/>
    <dgm:cxn modelId="{852F7850-DE3A-4BA7-B015-3E607823CD19}" srcId="{3B423118-2A7E-459B-ABE9-265DB0FA42D1}" destId="{0C8A3126-EA05-4705-80B0-C95E250E429B}" srcOrd="1" destOrd="0" parTransId="{05BBB7F7-499B-4361-AF6B-5578583FB222}" sibTransId="{3FA04CBC-1351-4CE7-B0DA-6D0D19515485}"/>
    <dgm:cxn modelId="{11C315D3-CCFE-4EE5-8EB2-A59633630EB1}" type="presOf" srcId="{0C8A3126-EA05-4705-80B0-C95E250E429B}" destId="{A02A0EBC-0112-425C-8BEB-B36CDD105E40}" srcOrd="0" destOrd="1" presId="urn:microsoft.com/office/officeart/2005/8/layout/vList5"/>
    <dgm:cxn modelId="{0A4F4B73-A5C2-47D3-8976-B551659F9B59}" srcId="{E6556F6A-B57F-4A74-B839-B14E506A71B4}" destId="{B11E53B7-C74A-4F2E-8D44-DBA2FFCDBE91}" srcOrd="0" destOrd="0" parTransId="{F38FE6BA-FC4D-4CD3-9B98-8DBE218C9087}" sibTransId="{388C5A60-77DB-4717-9059-8715127983AC}"/>
    <dgm:cxn modelId="{CC3DB2F9-8D9C-49C8-897F-FDA4A9F5B94B}" srcId="{3B423118-2A7E-459B-ABE9-265DB0FA42D1}" destId="{A8ABE080-2F1F-411D-AA3C-1FA1E4A82213}" srcOrd="0" destOrd="0" parTransId="{EFAFB6E1-F3D6-4595-A780-F267133625E5}" sibTransId="{B57AD731-7D5B-43B6-9436-9407E12FA4D6}"/>
    <dgm:cxn modelId="{7F565276-7D40-40C5-94FB-42D2A8144EA4}" type="presOf" srcId="{B11E53B7-C74A-4F2E-8D44-DBA2FFCDBE91}" destId="{6D24A9D6-1D3B-483A-BDF9-3C1FF8D0A005}" srcOrd="0" destOrd="0" presId="urn:microsoft.com/office/officeart/2005/8/layout/vList5"/>
    <dgm:cxn modelId="{E07BB9B5-F02A-46EA-A4B9-9B8FA8335213}" type="presOf" srcId="{3B423118-2A7E-459B-ABE9-265DB0FA42D1}" destId="{E4CBC874-A197-4B8C-A0E4-9593D52D22B2}" srcOrd="0" destOrd="0" presId="urn:microsoft.com/office/officeart/2005/8/layout/vList5"/>
    <dgm:cxn modelId="{ADE16067-6FEB-49C1-AA2B-C111833AD5F0}" srcId="{E5A45DB3-6CBA-4C90-A6B0-ACC49A286CCD}" destId="{10603721-28FB-469F-B723-27B964480E05}" srcOrd="0" destOrd="0" parTransId="{F6FC0A75-0603-45CB-B8F8-81A337858EE0}" sibTransId="{F87B1586-2AF4-4598-87E6-24E09B01562A}"/>
    <dgm:cxn modelId="{73CD3BA6-100C-453A-AA30-D7C49C7E5228}" type="presParOf" srcId="{99E96F8C-593E-495D-A7ED-3AB23B8A74C8}" destId="{00828D92-DF07-4FFE-8704-0559CEF11588}" srcOrd="0" destOrd="0" presId="urn:microsoft.com/office/officeart/2005/8/layout/vList5"/>
    <dgm:cxn modelId="{BB51E0A3-AC1F-4E0B-8870-2DC437CF50A5}" type="presParOf" srcId="{00828D92-DF07-4FFE-8704-0559CEF11588}" destId="{6D24A9D6-1D3B-483A-BDF9-3C1FF8D0A005}" srcOrd="0" destOrd="0" presId="urn:microsoft.com/office/officeart/2005/8/layout/vList5"/>
    <dgm:cxn modelId="{20D75DB6-6A75-44A2-B836-645EAB5D93E9}" type="presParOf" srcId="{00828D92-DF07-4FFE-8704-0559CEF11588}" destId="{267F083E-4854-45D8-B370-644969FE645E}" srcOrd="1" destOrd="0" presId="urn:microsoft.com/office/officeart/2005/8/layout/vList5"/>
    <dgm:cxn modelId="{D01F25F4-322B-431F-9A29-2E1DD7BADBBF}" type="presParOf" srcId="{99E96F8C-593E-495D-A7ED-3AB23B8A74C8}" destId="{8FF758DF-68C2-4062-A54D-C195291D2C8A}" srcOrd="1" destOrd="0" presId="urn:microsoft.com/office/officeart/2005/8/layout/vList5"/>
    <dgm:cxn modelId="{32254DFF-8E78-4611-B18E-923230947833}" type="presParOf" srcId="{99E96F8C-593E-495D-A7ED-3AB23B8A74C8}" destId="{367B1018-8E01-43C9-AC25-4085FE9240C3}" srcOrd="2" destOrd="0" presId="urn:microsoft.com/office/officeart/2005/8/layout/vList5"/>
    <dgm:cxn modelId="{EA845BDF-6D80-4EC2-AD2F-721F60376B7D}" type="presParOf" srcId="{367B1018-8E01-43C9-AC25-4085FE9240C3}" destId="{E4CBC874-A197-4B8C-A0E4-9593D52D22B2}" srcOrd="0" destOrd="0" presId="urn:microsoft.com/office/officeart/2005/8/layout/vList5"/>
    <dgm:cxn modelId="{3185B862-7147-4913-81CA-C42364C6BBC9}" type="presParOf" srcId="{367B1018-8E01-43C9-AC25-4085FE9240C3}" destId="{A02A0EBC-0112-425C-8BEB-B36CDD105E40}" srcOrd="1" destOrd="0" presId="urn:microsoft.com/office/officeart/2005/8/layout/vList5"/>
    <dgm:cxn modelId="{743B43FA-2C73-451D-8A21-830298878DD3}" type="presParOf" srcId="{99E96F8C-593E-495D-A7ED-3AB23B8A74C8}" destId="{2D057417-302C-4F53-9BB2-AE7B5BAE7EBC}" srcOrd="3" destOrd="0" presId="urn:microsoft.com/office/officeart/2005/8/layout/vList5"/>
    <dgm:cxn modelId="{9D374ABC-3F2B-4D0C-974C-CB8F34A8B1A8}" type="presParOf" srcId="{99E96F8C-593E-495D-A7ED-3AB23B8A74C8}" destId="{D6E8B9ED-F450-49EB-9EA1-FB118C91E243}" srcOrd="4" destOrd="0" presId="urn:microsoft.com/office/officeart/2005/8/layout/vList5"/>
    <dgm:cxn modelId="{426E7C24-9562-430B-9652-656C71AAC44A}" type="presParOf" srcId="{D6E8B9ED-F450-49EB-9EA1-FB118C91E243}" destId="{1D681942-8182-4367-8799-12A12F1AB3DC}" srcOrd="0" destOrd="0" presId="urn:microsoft.com/office/officeart/2005/8/layout/vList5"/>
    <dgm:cxn modelId="{5E2A80C7-313F-4453-9764-4F88C6C4C29D}" type="presParOf" srcId="{D6E8B9ED-F450-49EB-9EA1-FB118C91E243}" destId="{DB2D21D1-047A-421C-BF35-2F6AAAF727C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2532C4-8878-4E87-B4A4-6905A38B0417}">
      <dsp:nvSpPr>
        <dsp:cNvPr id="0" name=""/>
        <dsp:cNvSpPr/>
      </dsp:nvSpPr>
      <dsp:spPr>
        <a:xfrm rot="5400000">
          <a:off x="1323214" y="-475871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Роснефть</a:t>
          </a:r>
          <a:endParaRPr lang="ru-RU" sz="1000" kern="1200" dirty="0"/>
        </a:p>
      </dsp:txBody>
      <dsp:txXfrm rot="-5400000">
        <a:off x="799768" y="47575"/>
        <a:ext cx="1421810" cy="374918"/>
      </dsp:txXfrm>
    </dsp:sp>
    <dsp:sp modelId="{27D221B8-E132-4A05-B723-69231576D184}">
      <dsp:nvSpPr>
        <dsp:cNvPr id="0" name=""/>
        <dsp:cNvSpPr/>
      </dsp:nvSpPr>
      <dsp:spPr>
        <a:xfrm>
          <a:off x="0" y="0"/>
          <a:ext cx="799768" cy="468648"/>
        </a:xfrm>
        <a:prstGeom prst="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Самара</a:t>
          </a:r>
          <a:endParaRPr lang="ru-RU" sz="1000" kern="1200" dirty="0"/>
        </a:p>
      </dsp:txBody>
      <dsp:txXfrm>
        <a:off x="0" y="0"/>
        <a:ext cx="799768" cy="468648"/>
      </dsp:txXfrm>
    </dsp:sp>
    <dsp:sp modelId="{99EC79B4-B5B3-4702-9A2E-DBE6A260ADAA}">
      <dsp:nvSpPr>
        <dsp:cNvPr id="0" name=""/>
        <dsp:cNvSpPr/>
      </dsp:nvSpPr>
      <dsp:spPr>
        <a:xfrm rot="5400000">
          <a:off x="1323214" y="16209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Лукойл</a:t>
          </a:r>
          <a:endParaRPr lang="ru-RU" sz="1000" kern="1200" dirty="0"/>
        </a:p>
      </dsp:txBody>
      <dsp:txXfrm rot="-5400000">
        <a:off x="799768" y="539655"/>
        <a:ext cx="1421810" cy="374918"/>
      </dsp:txXfrm>
    </dsp:sp>
    <dsp:sp modelId="{5C807FFA-698F-4F5A-95B8-08AB0CB3C18D}">
      <dsp:nvSpPr>
        <dsp:cNvPr id="0" name=""/>
        <dsp:cNvSpPr/>
      </dsp:nvSpPr>
      <dsp:spPr>
        <a:xfrm>
          <a:off x="0" y="492790"/>
          <a:ext cx="799768" cy="468648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ижний Новгород</a:t>
          </a:r>
          <a:endParaRPr lang="ru-RU" sz="1000" kern="1200" dirty="0"/>
        </a:p>
      </dsp:txBody>
      <dsp:txXfrm>
        <a:off x="0" y="492790"/>
        <a:ext cx="799768" cy="468648"/>
      </dsp:txXfrm>
    </dsp:sp>
    <dsp:sp modelId="{1627C50A-3EBA-463F-9011-FE8A84BAEA66}">
      <dsp:nvSpPr>
        <dsp:cNvPr id="0" name=""/>
        <dsp:cNvSpPr/>
      </dsp:nvSpPr>
      <dsp:spPr>
        <a:xfrm rot="5400000">
          <a:off x="1323214" y="508289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Башнефть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Татнефть</a:t>
          </a:r>
          <a:endParaRPr lang="ru-RU" sz="1000" kern="1200" dirty="0"/>
        </a:p>
      </dsp:txBody>
      <dsp:txXfrm rot="-5400000">
        <a:off x="799768" y="1031735"/>
        <a:ext cx="1421810" cy="374918"/>
      </dsp:txXfrm>
    </dsp:sp>
    <dsp:sp modelId="{E5C75126-AB59-4957-A83E-5BDFC9C5B155}">
      <dsp:nvSpPr>
        <dsp:cNvPr id="0" name=""/>
        <dsp:cNvSpPr/>
      </dsp:nvSpPr>
      <dsp:spPr>
        <a:xfrm>
          <a:off x="0" y="984870"/>
          <a:ext cx="799768" cy="468648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икольское</a:t>
          </a:r>
          <a:endParaRPr lang="ru-RU" sz="1000" kern="1200" dirty="0"/>
        </a:p>
      </dsp:txBody>
      <dsp:txXfrm>
        <a:off x="0" y="984870"/>
        <a:ext cx="799768" cy="4686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7F083E-4854-45D8-B370-644969FE645E}">
      <dsp:nvSpPr>
        <dsp:cNvPr id="0" name=""/>
        <dsp:cNvSpPr/>
      </dsp:nvSpPr>
      <dsp:spPr>
        <a:xfrm rot="5400000">
          <a:off x="1220297" y="-427439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err="1" smtClean="0"/>
            <a:t>Газпромнефть</a:t>
          </a:r>
          <a:endParaRPr lang="ru-RU" sz="900" kern="1200" dirty="0"/>
        </a:p>
      </dsp:txBody>
      <dsp:txXfrm rot="-5400000">
        <a:off x="745283" y="47575"/>
        <a:ext cx="1324947" cy="374918"/>
      </dsp:txXfrm>
    </dsp:sp>
    <dsp:sp modelId="{6D24A9D6-1D3B-483A-BDF9-3C1FF8D0A005}">
      <dsp:nvSpPr>
        <dsp:cNvPr id="0" name=""/>
        <dsp:cNvSpPr/>
      </dsp:nvSpPr>
      <dsp:spPr>
        <a:xfrm>
          <a:off x="0" y="710"/>
          <a:ext cx="745282" cy="468648"/>
        </a:xfrm>
        <a:prstGeom prst="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Москва</a:t>
          </a:r>
          <a:endParaRPr lang="ru-RU" sz="900" kern="1200" dirty="0"/>
        </a:p>
      </dsp:txBody>
      <dsp:txXfrm>
        <a:off x="0" y="710"/>
        <a:ext cx="745282" cy="468648"/>
      </dsp:txXfrm>
    </dsp:sp>
    <dsp:sp modelId="{A02A0EBC-0112-425C-8BEB-B36CDD105E40}">
      <dsp:nvSpPr>
        <dsp:cNvPr id="0" name=""/>
        <dsp:cNvSpPr/>
      </dsp:nvSpPr>
      <dsp:spPr>
        <a:xfrm rot="5400000">
          <a:off x="1220297" y="64640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err="1" smtClean="0"/>
            <a:t>Газпромнефть</a:t>
          </a:r>
          <a:endParaRPr lang="ru-RU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Роснефть</a:t>
          </a:r>
          <a:endParaRPr lang="ru-RU" sz="900" kern="1200" dirty="0"/>
        </a:p>
      </dsp:txBody>
      <dsp:txXfrm rot="-5400000">
        <a:off x="745283" y="539654"/>
        <a:ext cx="1324947" cy="374918"/>
      </dsp:txXfrm>
    </dsp:sp>
    <dsp:sp modelId="{E4CBC874-A197-4B8C-A0E4-9593D52D22B2}">
      <dsp:nvSpPr>
        <dsp:cNvPr id="0" name=""/>
        <dsp:cNvSpPr/>
      </dsp:nvSpPr>
      <dsp:spPr>
        <a:xfrm>
          <a:off x="0" y="492790"/>
          <a:ext cx="745282" cy="468648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Ярославль</a:t>
          </a:r>
          <a:endParaRPr lang="ru-RU" sz="900" kern="1200" dirty="0"/>
        </a:p>
      </dsp:txBody>
      <dsp:txXfrm>
        <a:off x="0" y="492790"/>
        <a:ext cx="745282" cy="468648"/>
      </dsp:txXfrm>
    </dsp:sp>
    <dsp:sp modelId="{DB2D21D1-047A-421C-BF35-2F6AAAF727CC}">
      <dsp:nvSpPr>
        <dsp:cNvPr id="0" name=""/>
        <dsp:cNvSpPr/>
      </dsp:nvSpPr>
      <dsp:spPr>
        <a:xfrm rot="5400000">
          <a:off x="1220297" y="556721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Роснефть</a:t>
          </a:r>
          <a:endParaRPr lang="ru-RU" sz="900" kern="1200" dirty="0"/>
        </a:p>
      </dsp:txBody>
      <dsp:txXfrm rot="-5400000">
        <a:off x="745283" y="1031735"/>
        <a:ext cx="1324947" cy="374918"/>
      </dsp:txXfrm>
    </dsp:sp>
    <dsp:sp modelId="{1D681942-8182-4367-8799-12A12F1AB3DC}">
      <dsp:nvSpPr>
        <dsp:cNvPr id="0" name=""/>
        <dsp:cNvSpPr/>
      </dsp:nvSpPr>
      <dsp:spPr>
        <a:xfrm>
          <a:off x="0" y="984870"/>
          <a:ext cx="745282" cy="468648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Рязань</a:t>
          </a:r>
          <a:endParaRPr lang="ru-RU" sz="900" kern="1200" dirty="0"/>
        </a:p>
      </dsp:txBody>
      <dsp:txXfrm>
        <a:off x="0" y="984870"/>
        <a:ext cx="745282" cy="46864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2532C4-8878-4E87-B4A4-6905A38B0417}">
      <dsp:nvSpPr>
        <dsp:cNvPr id="0" name=""/>
        <dsp:cNvSpPr/>
      </dsp:nvSpPr>
      <dsp:spPr>
        <a:xfrm rot="5400000">
          <a:off x="1323214" y="-475871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smtClean="0"/>
            <a:t>Роснефть</a:t>
          </a:r>
          <a:endParaRPr lang="ru-RU" sz="1000" kern="1200" dirty="0"/>
        </a:p>
      </dsp:txBody>
      <dsp:txXfrm rot="-5400000">
        <a:off x="799768" y="47575"/>
        <a:ext cx="1421810" cy="374918"/>
      </dsp:txXfrm>
    </dsp:sp>
    <dsp:sp modelId="{27D221B8-E132-4A05-B723-69231576D184}">
      <dsp:nvSpPr>
        <dsp:cNvPr id="0" name=""/>
        <dsp:cNvSpPr/>
      </dsp:nvSpPr>
      <dsp:spPr>
        <a:xfrm>
          <a:off x="0" y="0"/>
          <a:ext cx="799768" cy="468648"/>
        </a:xfrm>
        <a:prstGeom prst="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Самара</a:t>
          </a:r>
          <a:endParaRPr lang="ru-RU" sz="1000" kern="1200" dirty="0"/>
        </a:p>
      </dsp:txBody>
      <dsp:txXfrm>
        <a:off x="0" y="0"/>
        <a:ext cx="799768" cy="468648"/>
      </dsp:txXfrm>
    </dsp:sp>
    <dsp:sp modelId="{99EC79B4-B5B3-4702-9A2E-DBE6A260ADAA}">
      <dsp:nvSpPr>
        <dsp:cNvPr id="0" name=""/>
        <dsp:cNvSpPr/>
      </dsp:nvSpPr>
      <dsp:spPr>
        <a:xfrm rot="5400000">
          <a:off x="1323214" y="16209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Лукойл</a:t>
          </a:r>
          <a:endParaRPr lang="ru-RU" sz="1000" kern="1200" dirty="0"/>
        </a:p>
      </dsp:txBody>
      <dsp:txXfrm rot="-5400000">
        <a:off x="799768" y="539655"/>
        <a:ext cx="1421810" cy="374918"/>
      </dsp:txXfrm>
    </dsp:sp>
    <dsp:sp modelId="{5C807FFA-698F-4F5A-95B8-08AB0CB3C18D}">
      <dsp:nvSpPr>
        <dsp:cNvPr id="0" name=""/>
        <dsp:cNvSpPr/>
      </dsp:nvSpPr>
      <dsp:spPr>
        <a:xfrm>
          <a:off x="0" y="492790"/>
          <a:ext cx="799768" cy="468648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ижний Новгород</a:t>
          </a:r>
          <a:endParaRPr lang="ru-RU" sz="1000" kern="1200" dirty="0"/>
        </a:p>
      </dsp:txBody>
      <dsp:txXfrm>
        <a:off x="0" y="492790"/>
        <a:ext cx="799768" cy="468648"/>
      </dsp:txXfrm>
    </dsp:sp>
    <dsp:sp modelId="{1627C50A-3EBA-463F-9011-FE8A84BAEA66}">
      <dsp:nvSpPr>
        <dsp:cNvPr id="0" name=""/>
        <dsp:cNvSpPr/>
      </dsp:nvSpPr>
      <dsp:spPr>
        <a:xfrm rot="5400000">
          <a:off x="1323214" y="508289"/>
          <a:ext cx="374918" cy="142181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Башнефть</a:t>
          </a:r>
          <a:endParaRPr lang="ru-RU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kern="1200" dirty="0" err="1" smtClean="0"/>
            <a:t>Татнефть</a:t>
          </a:r>
          <a:endParaRPr lang="ru-RU" sz="1000" kern="1200" dirty="0"/>
        </a:p>
      </dsp:txBody>
      <dsp:txXfrm rot="-5400000">
        <a:off x="799768" y="1031735"/>
        <a:ext cx="1421810" cy="374918"/>
      </dsp:txXfrm>
    </dsp:sp>
    <dsp:sp modelId="{E5C75126-AB59-4957-A83E-5BDFC9C5B155}">
      <dsp:nvSpPr>
        <dsp:cNvPr id="0" name=""/>
        <dsp:cNvSpPr/>
      </dsp:nvSpPr>
      <dsp:spPr>
        <a:xfrm>
          <a:off x="0" y="984870"/>
          <a:ext cx="799768" cy="468648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19050" rIns="3810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Никольское</a:t>
          </a:r>
          <a:endParaRPr lang="ru-RU" sz="1000" kern="1200" dirty="0"/>
        </a:p>
      </dsp:txBody>
      <dsp:txXfrm>
        <a:off x="0" y="984870"/>
        <a:ext cx="799768" cy="46864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7F083E-4854-45D8-B370-644969FE645E}">
      <dsp:nvSpPr>
        <dsp:cNvPr id="0" name=""/>
        <dsp:cNvSpPr/>
      </dsp:nvSpPr>
      <dsp:spPr>
        <a:xfrm rot="5400000">
          <a:off x="1220297" y="-427439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err="1" smtClean="0"/>
            <a:t>Газпромнефть</a:t>
          </a:r>
          <a:endParaRPr lang="ru-RU" sz="900" kern="1200" dirty="0"/>
        </a:p>
      </dsp:txBody>
      <dsp:txXfrm rot="-5400000">
        <a:off x="745283" y="47575"/>
        <a:ext cx="1324947" cy="374918"/>
      </dsp:txXfrm>
    </dsp:sp>
    <dsp:sp modelId="{6D24A9D6-1D3B-483A-BDF9-3C1FF8D0A005}">
      <dsp:nvSpPr>
        <dsp:cNvPr id="0" name=""/>
        <dsp:cNvSpPr/>
      </dsp:nvSpPr>
      <dsp:spPr>
        <a:xfrm>
          <a:off x="0" y="710"/>
          <a:ext cx="745282" cy="468648"/>
        </a:xfrm>
        <a:prstGeom prst="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Москва</a:t>
          </a:r>
          <a:endParaRPr lang="ru-RU" sz="900" kern="1200" dirty="0"/>
        </a:p>
      </dsp:txBody>
      <dsp:txXfrm>
        <a:off x="0" y="710"/>
        <a:ext cx="745282" cy="468648"/>
      </dsp:txXfrm>
    </dsp:sp>
    <dsp:sp modelId="{A02A0EBC-0112-425C-8BEB-B36CDD105E40}">
      <dsp:nvSpPr>
        <dsp:cNvPr id="0" name=""/>
        <dsp:cNvSpPr/>
      </dsp:nvSpPr>
      <dsp:spPr>
        <a:xfrm rot="5400000">
          <a:off x="1220297" y="64640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err="1" smtClean="0"/>
            <a:t>Газпромнефть</a:t>
          </a:r>
          <a:endParaRPr lang="ru-RU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Роснефть</a:t>
          </a:r>
          <a:endParaRPr lang="ru-RU" sz="900" kern="1200" dirty="0"/>
        </a:p>
      </dsp:txBody>
      <dsp:txXfrm rot="-5400000">
        <a:off x="745283" y="539654"/>
        <a:ext cx="1324947" cy="374918"/>
      </dsp:txXfrm>
    </dsp:sp>
    <dsp:sp modelId="{E4CBC874-A197-4B8C-A0E4-9593D52D22B2}">
      <dsp:nvSpPr>
        <dsp:cNvPr id="0" name=""/>
        <dsp:cNvSpPr/>
      </dsp:nvSpPr>
      <dsp:spPr>
        <a:xfrm>
          <a:off x="0" y="492790"/>
          <a:ext cx="745282" cy="468648"/>
        </a:xfrm>
        <a:prstGeom prst="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Ярославль</a:t>
          </a:r>
          <a:endParaRPr lang="ru-RU" sz="900" kern="1200" dirty="0"/>
        </a:p>
      </dsp:txBody>
      <dsp:txXfrm>
        <a:off x="0" y="492790"/>
        <a:ext cx="745282" cy="468648"/>
      </dsp:txXfrm>
    </dsp:sp>
    <dsp:sp modelId="{DB2D21D1-047A-421C-BF35-2F6AAAF727CC}">
      <dsp:nvSpPr>
        <dsp:cNvPr id="0" name=""/>
        <dsp:cNvSpPr/>
      </dsp:nvSpPr>
      <dsp:spPr>
        <a:xfrm rot="5400000">
          <a:off x="1220297" y="556721"/>
          <a:ext cx="374918" cy="1324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Роснефть</a:t>
          </a:r>
          <a:endParaRPr lang="ru-RU" sz="900" kern="1200" dirty="0"/>
        </a:p>
      </dsp:txBody>
      <dsp:txXfrm rot="-5400000">
        <a:off x="745283" y="1031735"/>
        <a:ext cx="1324947" cy="374918"/>
      </dsp:txXfrm>
    </dsp:sp>
    <dsp:sp modelId="{1D681942-8182-4367-8799-12A12F1AB3DC}">
      <dsp:nvSpPr>
        <dsp:cNvPr id="0" name=""/>
        <dsp:cNvSpPr/>
      </dsp:nvSpPr>
      <dsp:spPr>
        <a:xfrm>
          <a:off x="0" y="984870"/>
          <a:ext cx="745282" cy="468648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Рязань</a:t>
          </a:r>
          <a:endParaRPr lang="ru-RU" sz="900" kern="1200" dirty="0"/>
        </a:p>
      </dsp:txBody>
      <dsp:txXfrm>
        <a:off x="0" y="984870"/>
        <a:ext cx="745282" cy="4686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24</cdr:x>
      <cdr:y>0.03125</cdr:y>
    </cdr:from>
    <cdr:to>
      <cdr:x>0.7619</cdr:x>
      <cdr:y>0.128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20080" y="90010"/>
          <a:ext cx="5040561" cy="2797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 rtl="0"/>
          <a:r>
            <a:rPr lang="ru-RU" sz="1400" b="1" i="0" baseline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Динамика цен на Московских АЗС*</a:t>
          </a:r>
          <a:endParaRPr lang="ru-RU" sz="1400" b="1" dirty="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7433</cdr:x>
      <cdr:y>0.74538</cdr:y>
    </cdr:from>
    <cdr:to>
      <cdr:x>0.44802</cdr:x>
      <cdr:y>0.8817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058746" y="3890655"/>
          <a:ext cx="1303470" cy="71186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100" b="1" i="1" dirty="0">
              <a:latin typeface="Calibri"/>
              <a:cs typeface="Arial" pitchFamily="34" charset="0"/>
            </a:rPr>
            <a:t>201</a:t>
          </a:r>
          <a:r>
            <a:rPr lang="en-US" sz="1100" b="1" i="1" dirty="0">
              <a:latin typeface="Calibri"/>
              <a:cs typeface="Arial" pitchFamily="34" charset="0"/>
            </a:rPr>
            <a:t>1</a:t>
          </a:r>
          <a:r>
            <a:rPr lang="ru-RU" sz="1100" b="1" i="1" dirty="0">
              <a:latin typeface="Calibri"/>
              <a:cs typeface="Arial" pitchFamily="34" charset="0"/>
            </a:rPr>
            <a:t>-201</a:t>
          </a:r>
          <a:r>
            <a:rPr lang="en-US" sz="1100" b="1" i="1" dirty="0">
              <a:latin typeface="Calibri"/>
              <a:cs typeface="Arial" pitchFamily="34" charset="0"/>
            </a:rPr>
            <a:t>2</a:t>
          </a:r>
          <a:r>
            <a:rPr lang="ru-RU" sz="1100" b="1" i="1" dirty="0">
              <a:latin typeface="Calibri"/>
              <a:cs typeface="Arial" pitchFamily="34" charset="0"/>
            </a:rPr>
            <a:t>:</a:t>
          </a:r>
          <a:br>
            <a:rPr lang="ru-RU" sz="11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BRENT          +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14,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9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3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%</a:t>
          </a:r>
          <a:endParaRPr lang="en-US" sz="900" b="1" i="1" u="none" strike="noStrike" baseline="0" dirty="0">
            <a:solidFill>
              <a:srgbClr val="000000"/>
            </a:solidFill>
            <a:latin typeface="Calibri"/>
            <a:cs typeface="Arial" pitchFamily="34" charset="0"/>
          </a:endParaRPr>
        </a:p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9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Регуляр-92   </a:t>
          </a:r>
          <a:r>
            <a:rPr lang="en-US" sz="9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+ 5,92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dirty="0">
              <a:latin typeface="Calibri"/>
            </a:rPr>
            <a:t/>
          </a:r>
          <a:br>
            <a:rPr lang="ru-RU" sz="1050" b="1" i="1" dirty="0">
              <a:latin typeface="Calibri"/>
            </a:rPr>
          </a:br>
          <a:endParaRPr lang="ru-RU" sz="105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44581</cdr:x>
      <cdr:y>0.6711</cdr:y>
    </cdr:from>
    <cdr:to>
      <cdr:x>0.64914</cdr:x>
      <cdr:y>0.79793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3371584" y="3502917"/>
          <a:ext cx="1537754" cy="66201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100" b="1" i="1" dirty="0">
              <a:latin typeface="Calibri"/>
              <a:cs typeface="Arial" pitchFamily="34" charset="0"/>
            </a:rPr>
            <a:t>201</a:t>
          </a:r>
          <a:r>
            <a:rPr lang="en-US" sz="1100" b="1" i="1" dirty="0">
              <a:latin typeface="Calibri"/>
              <a:cs typeface="Arial" pitchFamily="34" charset="0"/>
            </a:rPr>
            <a:t>2</a:t>
          </a:r>
          <a:r>
            <a:rPr lang="ru-RU" sz="1100" b="1" i="1" dirty="0">
              <a:latin typeface="Calibri"/>
              <a:cs typeface="Arial" pitchFamily="34" charset="0"/>
            </a:rPr>
            <a:t>-201</a:t>
          </a:r>
          <a:r>
            <a:rPr lang="en-US" sz="1100" b="1" i="1" dirty="0">
              <a:latin typeface="Calibri"/>
              <a:cs typeface="Arial" pitchFamily="34" charset="0"/>
            </a:rPr>
            <a:t>3</a:t>
          </a:r>
          <a:r>
            <a:rPr lang="ru-RU" sz="1100" b="1" i="1" dirty="0">
              <a:latin typeface="Calibri"/>
              <a:cs typeface="Arial" pitchFamily="34" charset="0"/>
            </a:rPr>
            <a:t>:</a:t>
          </a:r>
          <a:br>
            <a:rPr lang="ru-RU" sz="11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            - 0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,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86 %</a:t>
          </a:r>
          <a:endParaRPr lang="en-US" sz="900" b="1" i="1" u="none" strike="noStrike" baseline="0" dirty="0">
            <a:solidFill>
              <a:srgbClr val="000000"/>
            </a:solidFill>
            <a:latin typeface="Calibri"/>
            <a:cs typeface="Arial" pitchFamily="34" charset="0"/>
          </a:endParaRPr>
        </a:p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9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Регуляр-92 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    + 2,64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dirty="0">
              <a:latin typeface="Calibri"/>
            </a:rPr>
            <a:t/>
          </a:r>
          <a:br>
            <a:rPr lang="ru-RU" sz="1050" b="1" i="1" dirty="0">
              <a:latin typeface="Calibri"/>
            </a:rPr>
          </a:br>
          <a:endParaRPr lang="ru-RU" sz="105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27635</cdr:x>
      <cdr:y>0.04193</cdr:y>
    </cdr:from>
    <cdr:to>
      <cdr:x>0.27784</cdr:x>
      <cdr:y>0.90664</cdr:y>
    </cdr:to>
    <cdr:sp macro="" textlink="">
      <cdr:nvSpPr>
        <cdr:cNvPr id="6" name="Прямая соединительная линия 5"/>
        <cdr:cNvSpPr/>
      </cdr:nvSpPr>
      <cdr:spPr>
        <a:xfrm xmlns:a="http://schemas.openxmlformats.org/drawingml/2006/main" flipH="1">
          <a:off x="2073895" y="218862"/>
          <a:ext cx="11182" cy="4513527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5162</cdr:x>
      <cdr:y>0.04506</cdr:y>
    </cdr:from>
    <cdr:to>
      <cdr:x>0.45488</cdr:x>
      <cdr:y>0.90664</cdr:y>
    </cdr:to>
    <cdr:sp macro="" textlink="">
      <cdr:nvSpPr>
        <cdr:cNvPr id="7" name="Прямая соединительная линия 6"/>
        <cdr:cNvSpPr/>
      </cdr:nvSpPr>
      <cdr:spPr>
        <a:xfrm xmlns:a="http://schemas.openxmlformats.org/drawingml/2006/main">
          <a:off x="3389217" y="235200"/>
          <a:ext cx="24465" cy="4497189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088</cdr:x>
      <cdr:y>0.05094</cdr:y>
    </cdr:from>
    <cdr:to>
      <cdr:x>0.64306</cdr:x>
      <cdr:y>0.91093</cdr:y>
    </cdr:to>
    <cdr:sp macro="" textlink="">
      <cdr:nvSpPr>
        <cdr:cNvPr id="8" name="Прямая соединительная линия 7"/>
        <cdr:cNvSpPr/>
      </cdr:nvSpPr>
      <cdr:spPr>
        <a:xfrm xmlns:a="http://schemas.openxmlformats.org/drawingml/2006/main">
          <a:off x="4809572" y="265910"/>
          <a:ext cx="16360" cy="4488890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5118</cdr:x>
      <cdr:y>0.59899</cdr:y>
    </cdr:from>
    <cdr:to>
      <cdr:x>0.82466</cdr:x>
      <cdr:y>0.72259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886832" y="3126535"/>
          <a:ext cx="1301894" cy="64515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en-US" sz="1100" b="1" i="1" dirty="0">
              <a:latin typeface="Calibri"/>
              <a:cs typeface="Arial" pitchFamily="34" charset="0"/>
            </a:rPr>
            <a:t>2013-2014</a:t>
          </a:r>
          <a:r>
            <a:rPr lang="ru-RU" sz="1100" b="1" i="1" dirty="0">
              <a:latin typeface="Calibri"/>
              <a:cs typeface="Arial" pitchFamily="34" charset="0"/>
            </a:rPr>
            <a:t>:</a:t>
          </a:r>
          <a:br>
            <a:rPr lang="ru-RU" sz="11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      </a:t>
          </a:r>
          <a:r>
            <a:rPr lang="en-US" sz="1000" b="1" i="1" u="none" strike="noStrike" baseline="0" dirty="0">
              <a:effectLst/>
              <a:latin typeface="+mn-lt"/>
              <a:ea typeface="+mn-ea"/>
              <a:cs typeface="+mn-cs"/>
            </a:rPr>
            <a:t>- 4</a:t>
          </a:r>
          <a:r>
            <a:rPr lang="ru-RU" sz="1000" b="1" i="1" u="none" strike="noStrike" baseline="0" dirty="0">
              <a:effectLst/>
              <a:latin typeface="+mn-lt"/>
              <a:ea typeface="+mn-ea"/>
              <a:cs typeface="+mn-cs"/>
            </a:rPr>
            <a:t>,</a:t>
          </a:r>
          <a:r>
            <a:rPr lang="en-US" sz="1000" b="1" i="1" u="none" strike="noStrike" baseline="0" dirty="0">
              <a:effectLst/>
              <a:latin typeface="+mn-lt"/>
              <a:ea typeface="+mn-ea"/>
              <a:cs typeface="+mn-cs"/>
            </a:rPr>
            <a:t>6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%</a:t>
          </a:r>
          <a:endParaRPr lang="en-US" sz="900" b="1" i="1" u="none" strike="noStrike" baseline="0" dirty="0">
            <a:solidFill>
              <a:srgbClr val="000000"/>
            </a:solidFill>
            <a:latin typeface="Calibri"/>
            <a:cs typeface="Arial" pitchFamily="34" charset="0"/>
          </a:endParaRP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9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Регуляр-92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+ </a:t>
          </a:r>
          <a:r>
            <a:rPr lang="en-US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9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,</a:t>
          </a:r>
          <a:r>
            <a:rPr lang="en-US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02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dirty="0">
              <a:latin typeface="Calibri"/>
            </a:rPr>
            <a:t/>
          </a:r>
          <a:br>
            <a:rPr lang="ru-RU" sz="1050" b="1" i="1" dirty="0">
              <a:latin typeface="Calibri"/>
            </a:rPr>
          </a:br>
          <a:endParaRPr lang="ru-RU" sz="105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82087</cdr:x>
      <cdr:y>0.04133</cdr:y>
    </cdr:from>
    <cdr:to>
      <cdr:x>0.82414</cdr:x>
      <cdr:y>0.90608</cdr:y>
    </cdr:to>
    <cdr:sp macro="" textlink="">
      <cdr:nvSpPr>
        <cdr:cNvPr id="10" name="Прямая соединительная линия 9"/>
        <cdr:cNvSpPr/>
      </cdr:nvSpPr>
      <cdr:spPr>
        <a:xfrm xmlns:a="http://schemas.openxmlformats.org/drawingml/2006/main">
          <a:off x="6160305" y="215747"/>
          <a:ext cx="24540" cy="4513735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617</cdr:x>
      <cdr:y>0.79181</cdr:y>
    </cdr:from>
    <cdr:to>
      <cdr:x>0.91047</cdr:x>
      <cdr:y>0.91541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5760640" y="4132987"/>
          <a:ext cx="1125121" cy="64515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dirty="0" smtClean="0">
              <a:latin typeface="Calibri"/>
              <a:cs typeface="Arial" pitchFamily="34" charset="0"/>
            </a:rPr>
            <a:t>2014-01/2015</a:t>
          </a:r>
          <a:r>
            <a:rPr lang="ru-RU" sz="1000" b="1" i="1" dirty="0">
              <a:latin typeface="Calibri"/>
              <a:cs typeface="Arial" pitchFamily="34" charset="0"/>
            </a:rPr>
            <a:t/>
          </a:r>
          <a:br>
            <a:rPr lang="ru-RU" sz="1000" b="1" i="1" dirty="0">
              <a:latin typeface="Calibri"/>
              <a:cs typeface="Arial" pitchFamily="34" charset="0"/>
            </a:rPr>
          </a:br>
          <a:r>
            <a:rPr lang="en-US" sz="8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</a:t>
          </a:r>
          <a:r>
            <a:rPr lang="ru-RU" sz="8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 </a:t>
          </a:r>
          <a:r>
            <a:rPr lang="en-US" sz="800" b="1" i="1" u="none" strike="noStrike" baseline="0" dirty="0">
              <a:effectLst/>
              <a:latin typeface="+mn-lt"/>
              <a:ea typeface="+mn-ea"/>
              <a:cs typeface="+mn-cs"/>
            </a:rPr>
            <a:t>- </a:t>
          </a:r>
          <a:r>
            <a:rPr lang="ru-RU" sz="800" b="1" i="1" u="none" strike="noStrike" baseline="0" dirty="0" smtClean="0">
              <a:effectLst/>
              <a:latin typeface="+mn-lt"/>
              <a:ea typeface="+mn-ea"/>
              <a:cs typeface="+mn-cs"/>
            </a:rPr>
            <a:t>53,7</a:t>
          </a:r>
          <a:r>
            <a:rPr lang="en-US" sz="800" b="1" i="1" u="none" strike="noStrike" baseline="0" dirty="0" smtClean="0">
              <a:solidFill>
                <a:srgbClr val="000000"/>
              </a:solidFill>
              <a:latin typeface="Calibri"/>
              <a:cs typeface="Arial" pitchFamily="34" charset="0"/>
            </a:rPr>
            <a:t> </a:t>
          </a:r>
          <a:r>
            <a:rPr lang="en-US" sz="8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%</a:t>
          </a:r>
          <a:endParaRPr lang="en-US" sz="700" b="1" i="1" u="none" strike="noStrike" baseline="0" dirty="0">
            <a:solidFill>
              <a:srgbClr val="000000"/>
            </a:solidFill>
            <a:latin typeface="Calibri"/>
            <a:cs typeface="Arial" pitchFamily="34" charset="0"/>
          </a:endParaRP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8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Регуляр-92 </a:t>
          </a:r>
          <a:r>
            <a:rPr lang="ru-RU" sz="800" b="1" i="1" u="none" strike="noStrike" baseline="0" dirty="0" smtClean="0">
              <a:solidFill>
                <a:srgbClr val="FF0000"/>
              </a:solidFill>
              <a:latin typeface="Calibri"/>
              <a:cs typeface="Arial" pitchFamily="34" charset="0"/>
            </a:rPr>
            <a:t>-</a:t>
          </a:r>
          <a:r>
            <a:rPr lang="ru-RU" sz="900" b="1" i="1" u="none" strike="noStrike" baseline="0" dirty="0" smtClean="0">
              <a:solidFill>
                <a:srgbClr val="FF0000"/>
              </a:solidFill>
              <a:latin typeface="Calibri"/>
              <a:cs typeface="Arial" pitchFamily="34" charset="0"/>
            </a:rPr>
            <a:t> 1,23 </a:t>
          </a:r>
          <a:r>
            <a:rPr lang="ru-RU" sz="9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b="1" i="1" dirty="0">
              <a:latin typeface="Calibri"/>
            </a:rPr>
            <a:t/>
          </a:r>
          <a:br>
            <a:rPr lang="ru-RU" sz="1100" b="1" i="1" dirty="0">
              <a:latin typeface="Calibri"/>
            </a:rPr>
          </a:br>
          <a:endParaRPr lang="ru-RU" sz="1100" b="1" i="1" dirty="0">
            <a:latin typeface="Calibri"/>
          </a:endParaRP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3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4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5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6</cdr:x>
      <cdr:y>0.03081</cdr:y>
    </cdr:from>
    <cdr:to>
      <cdr:x>0.79747</cdr:x>
      <cdr:y>0.1594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40419" y="90011"/>
          <a:ext cx="5130209" cy="3758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i="0" baseline="0" dirty="0"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Динамика цен %, инфляция %</a:t>
          </a:r>
          <a:endParaRPr lang="ru-RU" sz="1400" b="1" dirty="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pPr algn="ctr"/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3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4804</cdr:x>
      <cdr:y>0.39887</cdr:y>
    </cdr:from>
    <cdr:to>
      <cdr:x>0.63022</cdr:x>
      <cdr:y>0.50442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3444706" y="2298538"/>
          <a:ext cx="1400661" cy="6082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/>
            <a:t>201</a:t>
          </a:r>
          <a:r>
            <a:rPr lang="en-US" sz="1000" b="1" i="1"/>
            <a:t>2</a:t>
          </a:r>
          <a:r>
            <a:rPr lang="ru-RU" sz="1000" b="1" i="1"/>
            <a:t>-201</a:t>
          </a:r>
          <a:r>
            <a:rPr lang="en-US" sz="1000" b="1" i="1"/>
            <a:t>3</a:t>
          </a:r>
          <a:r>
            <a:rPr lang="ru-RU" sz="1000" b="1" i="1"/>
            <a:t>:</a:t>
          </a:r>
          <a:br>
            <a:rPr lang="ru-RU" sz="1000" b="1" i="1"/>
          </a:br>
          <a:r>
            <a:rPr lang="en-US" sz="800" b="1" i="1" u="none" strike="noStrike" baseline="0">
              <a:solidFill>
                <a:srgbClr val="000000"/>
              </a:solidFill>
              <a:latin typeface="Calibri"/>
            </a:rPr>
            <a:t>RTSI               </a:t>
          </a:r>
          <a:r>
            <a:rPr lang="ru-RU" sz="800" b="1" i="1" u="none" strike="noStrike" baseline="0">
              <a:solidFill>
                <a:srgbClr val="000000"/>
              </a:solidFill>
              <a:latin typeface="Calibri"/>
            </a:rPr>
            <a:t>+ 9,3</a:t>
          </a:r>
          <a:r>
            <a:rPr lang="en-US" sz="800" b="1" i="1" u="none" strike="noStrike" baseline="0">
              <a:solidFill>
                <a:srgbClr val="000000"/>
              </a:solidFill>
              <a:latin typeface="Calibri"/>
            </a:rPr>
            <a:t> </a:t>
          </a:r>
          <a:r>
            <a:rPr lang="en-US" sz="700" b="1" i="1" u="none" strike="noStrike" baseline="0">
              <a:solidFill>
                <a:srgbClr val="000000"/>
              </a:solidFill>
              <a:latin typeface="Calibri"/>
            </a:rPr>
            <a:t>%</a:t>
          </a:r>
        </a:p>
        <a:p xmlns:a="http://schemas.openxmlformats.org/drawingml/2006/main">
          <a:pPr algn="l" rtl="0">
            <a:lnSpc>
              <a:spcPts val="9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700" b="1" i="1" u="none" strike="noStrike" baseline="0">
              <a:solidFill>
                <a:srgbClr val="FF0000"/>
              </a:solidFill>
              <a:latin typeface="Calibri"/>
            </a:rPr>
            <a:t>ДТЛ  </a:t>
          </a:r>
          <a:r>
            <a:rPr lang="ru-RU" sz="800" b="1" i="1" u="none" strike="noStrike" baseline="0">
              <a:solidFill>
                <a:srgbClr val="FF0000"/>
              </a:solidFill>
              <a:latin typeface="Calibri"/>
            </a:rPr>
            <a:t>             + 14,62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/>
            <a:t/>
          </a:r>
          <a:br>
            <a:rPr lang="ru-RU" sz="1000"/>
          </a:br>
          <a:endParaRPr lang="ru-RU" sz="1000"/>
        </a:p>
      </cdr:txBody>
    </cdr:sp>
  </cdr:relSizeAnchor>
  <cdr:relSizeAnchor xmlns:cdr="http://schemas.openxmlformats.org/drawingml/2006/chartDrawing">
    <cdr:from>
      <cdr:x>0.26338</cdr:x>
      <cdr:y>0.64906</cdr:y>
    </cdr:from>
    <cdr:to>
      <cdr:x>0.4885</cdr:x>
      <cdr:y>0.7665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024934" y="3740264"/>
          <a:ext cx="1730797" cy="6768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100" b="1" i="1">
              <a:latin typeface="+mn-lt"/>
            </a:rPr>
            <a:t>201</a:t>
          </a:r>
          <a:r>
            <a:rPr lang="en-US" sz="1100" b="1" i="1">
              <a:latin typeface="+mn-lt"/>
            </a:rPr>
            <a:t>1</a:t>
          </a:r>
          <a:r>
            <a:rPr lang="ru-RU" sz="1100" b="1" i="1">
              <a:latin typeface="+mn-lt"/>
            </a:rPr>
            <a:t>-201</a:t>
          </a:r>
          <a:r>
            <a:rPr lang="en-US" sz="1100" b="1" i="1">
              <a:latin typeface="+mn-lt"/>
            </a:rPr>
            <a:t>2</a:t>
          </a:r>
          <a:r>
            <a:rPr lang="ru-RU" sz="1100" b="1" i="1">
              <a:latin typeface="+mn-lt"/>
            </a:rPr>
            <a:t>:</a:t>
          </a:r>
          <a:br>
            <a:rPr lang="ru-RU" sz="1100" b="1" i="1">
              <a:latin typeface="+mn-lt"/>
            </a:rPr>
          </a:br>
          <a:r>
            <a:rPr lang="en-US" sz="1000" b="1" i="1" u="none" strike="noStrike" baseline="0">
              <a:solidFill>
                <a:srgbClr val="000000"/>
              </a:solidFill>
              <a:latin typeface="+mn-lt"/>
            </a:rPr>
            <a:t>RTSI               - </a:t>
          </a:r>
          <a:r>
            <a:rPr lang="ru-RU" sz="1000" b="1" i="1" u="none" strike="noStrike" baseline="0">
              <a:solidFill>
                <a:srgbClr val="000000"/>
              </a:solidFill>
              <a:latin typeface="+mn-lt"/>
            </a:rPr>
            <a:t>20,4</a:t>
          </a:r>
          <a:r>
            <a:rPr lang="en-US" sz="1000" b="1" i="1" u="none" strike="noStrike" baseline="0">
              <a:solidFill>
                <a:srgbClr val="000000"/>
              </a:solidFill>
              <a:latin typeface="+mn-lt"/>
            </a:rPr>
            <a:t> </a:t>
          </a:r>
          <a:r>
            <a:rPr lang="en-US" sz="900" b="1" i="1" u="none" strike="noStrike" baseline="0">
              <a:solidFill>
                <a:srgbClr val="000000"/>
              </a:solidFill>
              <a:latin typeface="+mn-lt"/>
            </a:rPr>
            <a:t>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900" b="1" i="1" u="none" strike="noStrike" baseline="0">
              <a:solidFill>
                <a:srgbClr val="FF0000"/>
              </a:solidFill>
              <a:latin typeface="+mn-lt"/>
            </a:rPr>
            <a:t>ДТЛ           </a:t>
          </a:r>
          <a:r>
            <a:rPr lang="ru-RU" sz="1000" b="1" i="1" u="none" strike="noStrike" baseline="0">
              <a:solidFill>
                <a:srgbClr val="FF0000"/>
              </a:solidFill>
              <a:latin typeface="+mn-lt"/>
            </a:rPr>
            <a:t>     + 27,81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b="1" i="1">
              <a:latin typeface="+mn-lt"/>
            </a:rPr>
            <a:t/>
          </a:r>
          <a:br>
            <a:rPr lang="ru-RU" sz="1100" b="1" i="1">
              <a:latin typeface="+mn-lt"/>
            </a:rPr>
          </a:br>
          <a:endParaRPr lang="ru-RU" sz="1100" b="1" i="1">
            <a:latin typeface="+mn-lt"/>
          </a:endParaRPr>
        </a:p>
      </cdr:txBody>
    </cdr:sp>
  </cdr:relSizeAnchor>
  <cdr:relSizeAnchor xmlns:cdr="http://schemas.openxmlformats.org/drawingml/2006/chartDrawing">
    <cdr:from>
      <cdr:x>0.2624</cdr:x>
      <cdr:y>0.03679</cdr:y>
    </cdr:from>
    <cdr:to>
      <cdr:x>0.2624</cdr:x>
      <cdr:y>0.90491</cdr:y>
    </cdr:to>
    <cdr:sp macro="" textlink="">
      <cdr:nvSpPr>
        <cdr:cNvPr id="9" name="Прямая соединительная линия 8"/>
        <cdr:cNvSpPr/>
      </cdr:nvSpPr>
      <cdr:spPr>
        <a:xfrm xmlns:a="http://schemas.openxmlformats.org/drawingml/2006/main" flipH="1">
          <a:off x="1994176" y="212007"/>
          <a:ext cx="0" cy="5002650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3642</cdr:x>
      <cdr:y>0.03924</cdr:y>
    </cdr:from>
    <cdr:to>
      <cdr:x>0.43856</cdr:x>
      <cdr:y>0.91024</cdr:y>
    </cdr:to>
    <cdr:sp macro="" textlink="">
      <cdr:nvSpPr>
        <cdr:cNvPr id="10" name="Прямая соединительная линия 9"/>
        <cdr:cNvSpPr/>
      </cdr:nvSpPr>
      <cdr:spPr>
        <a:xfrm xmlns:a="http://schemas.openxmlformats.org/drawingml/2006/main">
          <a:off x="3316680" y="226152"/>
          <a:ext cx="16339" cy="5019246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41</cdr:x>
      <cdr:y>0.04199</cdr:y>
    </cdr:from>
    <cdr:to>
      <cdr:x>0.63979</cdr:x>
      <cdr:y>0.91463</cdr:y>
    </cdr:to>
    <cdr:sp macro="" textlink="">
      <cdr:nvSpPr>
        <cdr:cNvPr id="11" name="Прямая соединительная линия 10"/>
        <cdr:cNvSpPr/>
      </cdr:nvSpPr>
      <cdr:spPr>
        <a:xfrm xmlns:a="http://schemas.openxmlformats.org/drawingml/2006/main" flipH="1">
          <a:off x="4859399" y="241968"/>
          <a:ext cx="2888" cy="5028697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956</cdr:x>
      <cdr:y>0.3913</cdr:y>
    </cdr:from>
    <cdr:to>
      <cdr:x>0.80505</cdr:x>
      <cdr:y>0.48996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4994012" y="2254894"/>
          <a:ext cx="1195458" cy="5685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 smtClean="0"/>
            <a:t>2013-201</a:t>
          </a:r>
          <a:r>
            <a:rPr lang="ru-RU" sz="1050" b="1" i="1" dirty="0"/>
            <a:t>4:</a:t>
          </a:r>
          <a:br>
            <a:rPr lang="ru-RU" sz="1050" b="1" i="1" dirty="0"/>
          </a:br>
          <a:r>
            <a:rPr lang="en-US" sz="900" b="1" i="1" u="none" strike="noStrike" baseline="0" dirty="0">
              <a:solidFill>
                <a:srgbClr val="000000"/>
              </a:solidFill>
              <a:latin typeface="Calibri"/>
            </a:rPr>
            <a:t>RTSI         </a:t>
          </a:r>
          <a:r>
            <a:rPr lang="ru-RU" sz="900" b="1" i="1" u="none" strike="noStrike" baseline="0" dirty="0" smtClean="0">
              <a:solidFill>
                <a:srgbClr val="000000"/>
              </a:solidFill>
              <a:latin typeface="Calibri"/>
            </a:rPr>
            <a:t>- 11,46</a:t>
          </a:r>
          <a:r>
            <a:rPr lang="en-US" sz="900" b="1" i="1" u="none" strike="noStrike" baseline="0" dirty="0" smtClean="0">
              <a:solidFill>
                <a:srgbClr val="000000"/>
              </a:solidFill>
              <a:latin typeface="Calibri"/>
            </a:rPr>
            <a:t> </a:t>
          </a:r>
          <a:r>
            <a:rPr lang="en-US" sz="800" b="1" i="1" u="none" strike="noStrike" baseline="0" dirty="0">
              <a:solidFill>
                <a:srgbClr val="000000"/>
              </a:solidFill>
              <a:latin typeface="Calibri"/>
            </a:rPr>
            <a:t>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800" b="1" i="1" u="none" strike="noStrike" baseline="0" dirty="0">
              <a:solidFill>
                <a:srgbClr val="FF0000"/>
              </a:solidFill>
              <a:latin typeface="Calibri"/>
            </a:rPr>
            <a:t>ДТЛ  </a:t>
          </a:r>
          <a:r>
            <a:rPr lang="ru-RU" sz="900" b="1" i="1" u="none" strike="noStrike" baseline="0" dirty="0">
              <a:solidFill>
                <a:srgbClr val="FF0000"/>
              </a:solidFill>
              <a:latin typeface="Calibri"/>
            </a:rPr>
            <a:t>        + </a:t>
          </a:r>
          <a:r>
            <a:rPr lang="ru-RU" sz="900" b="1" i="1" u="none" strike="noStrike" baseline="0" dirty="0" smtClean="0">
              <a:solidFill>
                <a:srgbClr val="FF0000"/>
              </a:solidFill>
              <a:latin typeface="Calibri"/>
            </a:rPr>
            <a:t>0,63 </a:t>
          </a:r>
          <a:r>
            <a:rPr lang="ru-RU" sz="900" b="1" i="1" u="none" strike="noStrike" baseline="0" dirty="0">
              <a:solidFill>
                <a:srgbClr val="FF0000"/>
              </a:solidFill>
              <a:latin typeface="Calibri"/>
            </a:rPr>
            <a:t>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dirty="0"/>
            <a:t/>
          </a:r>
          <a:br>
            <a:rPr lang="ru-RU" sz="1050" dirty="0"/>
          </a:br>
          <a:endParaRPr lang="ru-RU" sz="1050" dirty="0"/>
        </a:p>
      </cdr:txBody>
    </cdr:sp>
  </cdr:relSizeAnchor>
  <cdr:relSizeAnchor xmlns:cdr="http://schemas.openxmlformats.org/drawingml/2006/chartDrawing">
    <cdr:from>
      <cdr:x>0.81059</cdr:x>
      <cdr:y>0.03668</cdr:y>
    </cdr:from>
    <cdr:to>
      <cdr:x>0.81129</cdr:x>
      <cdr:y>0.90973</cdr:y>
    </cdr:to>
    <cdr:sp macro="" textlink="">
      <cdr:nvSpPr>
        <cdr:cNvPr id="13" name="Прямая соединительная линия 12"/>
        <cdr:cNvSpPr/>
      </cdr:nvSpPr>
      <cdr:spPr>
        <a:xfrm xmlns:a="http://schemas.openxmlformats.org/drawingml/2006/main">
          <a:off x="6160327" y="211378"/>
          <a:ext cx="5320" cy="5031059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81095</cdr:x>
      <cdr:y>0.57518</cdr:y>
    </cdr:from>
    <cdr:to>
      <cdr:x>0.96644</cdr:x>
      <cdr:y>0.7049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6234867" y="3314569"/>
          <a:ext cx="1195458" cy="7478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rtl="0"/>
          <a:r>
            <a:rPr lang="ru-RU" sz="1000" b="1" i="1" baseline="0">
              <a:effectLst/>
              <a:latin typeface="+mn-lt"/>
              <a:ea typeface="+mn-ea"/>
              <a:cs typeface="+mn-cs"/>
            </a:rPr>
            <a:t>01.01.</a:t>
          </a:r>
          <a:r>
            <a:rPr lang="en-US" sz="1000" b="1" i="1" baseline="0">
              <a:effectLst/>
              <a:latin typeface="+mn-lt"/>
              <a:ea typeface="+mn-ea"/>
              <a:cs typeface="+mn-cs"/>
            </a:rPr>
            <a:t>201</a:t>
          </a:r>
          <a:r>
            <a:rPr lang="ru-RU" sz="1000" b="1" i="1" baseline="0">
              <a:effectLst/>
              <a:latin typeface="+mn-lt"/>
              <a:ea typeface="+mn-ea"/>
              <a:cs typeface="+mn-cs"/>
            </a:rPr>
            <a:t>4</a:t>
          </a:r>
          <a:endParaRPr lang="ru-RU" sz="900">
            <a:effectLst/>
          </a:endParaRPr>
        </a:p>
        <a:p xmlns:a="http://schemas.openxmlformats.org/drawingml/2006/main">
          <a:pPr rtl="0"/>
          <a:r>
            <a:rPr lang="en-US" sz="1000" b="1" i="1" baseline="0">
              <a:effectLst/>
              <a:latin typeface="+mn-lt"/>
              <a:ea typeface="+mn-ea"/>
              <a:cs typeface="+mn-cs"/>
            </a:rPr>
            <a:t>-</a:t>
          </a:r>
          <a:r>
            <a:rPr lang="ru-RU" sz="1000" b="1" i="1" baseline="0">
              <a:effectLst/>
              <a:latin typeface="+mn-lt"/>
              <a:ea typeface="+mn-ea"/>
              <a:cs typeface="+mn-cs"/>
            </a:rPr>
            <a:t>27.01.</a:t>
          </a:r>
          <a:r>
            <a:rPr lang="en-US" sz="1000" b="1" i="1" baseline="0">
              <a:effectLst/>
              <a:latin typeface="+mn-lt"/>
              <a:ea typeface="+mn-ea"/>
              <a:cs typeface="+mn-cs"/>
            </a:rPr>
            <a:t>201</a:t>
          </a:r>
          <a:r>
            <a:rPr lang="ru-RU" sz="1000" b="1" i="1" baseline="0">
              <a:effectLst/>
              <a:latin typeface="+mn-lt"/>
              <a:ea typeface="+mn-ea"/>
              <a:cs typeface="+mn-cs"/>
            </a:rPr>
            <a:t>5</a:t>
          </a:r>
          <a:r>
            <a:rPr lang="en-US" sz="1000" b="1" i="1" baseline="0">
              <a:effectLst/>
              <a:latin typeface="+mn-lt"/>
              <a:ea typeface="+mn-ea"/>
              <a:cs typeface="+mn-cs"/>
            </a:rPr>
            <a:t>:</a:t>
          </a:r>
          <a:br>
            <a:rPr lang="en-US" sz="1000" b="1" i="1" baseline="0">
              <a:effectLst/>
              <a:latin typeface="+mn-lt"/>
              <a:ea typeface="+mn-ea"/>
              <a:cs typeface="+mn-cs"/>
            </a:rPr>
          </a:br>
          <a:r>
            <a:rPr lang="en-US" sz="1000" b="1" i="1" baseline="0">
              <a:effectLst/>
              <a:latin typeface="+mn-lt"/>
              <a:ea typeface="+mn-ea"/>
              <a:cs typeface="+mn-cs"/>
            </a:rPr>
            <a:t>RTSI</a:t>
          </a:r>
          <a:r>
            <a:rPr lang="ru-RU" sz="1000" b="1" i="1" baseline="0">
              <a:effectLst/>
              <a:latin typeface="+mn-lt"/>
              <a:ea typeface="+mn-ea"/>
              <a:cs typeface="+mn-cs"/>
            </a:rPr>
            <a:t>  -43</a:t>
          </a:r>
          <a:r>
            <a:rPr lang="en-US" sz="1000" b="1" i="1" baseline="0">
              <a:effectLst/>
              <a:latin typeface="+mn-lt"/>
              <a:ea typeface="+mn-ea"/>
              <a:cs typeface="+mn-cs"/>
            </a:rPr>
            <a:t>,</a:t>
          </a:r>
          <a:r>
            <a:rPr lang="ru-RU" sz="1000" b="1" i="1" baseline="0">
              <a:effectLst/>
              <a:latin typeface="+mn-lt"/>
              <a:ea typeface="+mn-ea"/>
              <a:cs typeface="+mn-cs"/>
            </a:rPr>
            <a:t>5</a:t>
          </a:r>
          <a:r>
            <a:rPr lang="en-US" sz="1000" b="1" i="1" baseline="0">
              <a:effectLst/>
              <a:latin typeface="+mn-lt"/>
              <a:ea typeface="+mn-ea"/>
              <a:cs typeface="+mn-cs"/>
            </a:rPr>
            <a:t>%</a:t>
          </a:r>
          <a:endParaRPr lang="ru-RU" sz="900">
            <a:effectLst/>
          </a:endParaRP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900" b="1" i="1" u="none" strike="noStrike" baseline="0" dirty="0">
              <a:solidFill>
                <a:srgbClr val="FF0000"/>
              </a:solidFill>
              <a:latin typeface="Calibri"/>
            </a:rPr>
            <a:t>ДТЛ 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</a:rPr>
            <a:t>  -1,6</a:t>
          </a:r>
          <a:r>
            <a:rPr lang="ru-RU" sz="1000" b="1" i="1" u="none" strike="noStrike" baseline="0" dirty="0" smtClean="0">
              <a:solidFill>
                <a:srgbClr val="FF0000"/>
              </a:solidFill>
              <a:latin typeface="Calibri"/>
            </a:rPr>
            <a:t>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</a:rPr>
            <a:t>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dirty="0"/>
            <a:t/>
          </a:r>
          <a:br>
            <a:rPr lang="ru-RU" sz="1050" dirty="0"/>
          </a:br>
          <a:endParaRPr lang="ru-RU" sz="105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924781" y="522620"/>
          <a:ext cx="345403" cy="13064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0258</cdr:x>
      <cdr:y>0.48454</cdr:y>
    </cdr:from>
    <cdr:to>
      <cdr:x>0.74802</cdr:x>
      <cdr:y>0.6016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870430" y="2792243"/>
          <a:ext cx="1890210" cy="675075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en-US" sz="1600" b="1" i="1" dirty="0">
              <a:latin typeface="+mn-lt"/>
            </a:rPr>
            <a:t>RTSI         </a:t>
          </a:r>
          <a:r>
            <a:rPr lang="ru-RU" sz="1600" b="1" i="1" dirty="0">
              <a:latin typeface="+mn-lt"/>
            </a:rPr>
            <a:t>-</a:t>
          </a:r>
          <a:r>
            <a:rPr lang="en-US" sz="1600" b="1" i="1" dirty="0">
              <a:latin typeface="+mn-lt"/>
            </a:rPr>
            <a:t> </a:t>
          </a:r>
          <a:r>
            <a:rPr lang="ru-RU" sz="1600" b="1" i="1" dirty="0">
              <a:latin typeface="+mn-lt"/>
            </a:rPr>
            <a:t>43</a:t>
          </a:r>
          <a:r>
            <a:rPr lang="en-US" sz="1600" b="1" i="1" dirty="0">
              <a:latin typeface="+mn-lt"/>
            </a:rPr>
            <a:t>,</a:t>
          </a:r>
          <a:r>
            <a:rPr lang="ru-RU" sz="1600" b="1" i="1" dirty="0">
              <a:latin typeface="+mn-lt"/>
            </a:rPr>
            <a:t>5</a:t>
          </a:r>
          <a:r>
            <a:rPr lang="en-US" sz="1600" b="1" i="1" dirty="0">
              <a:latin typeface="+mn-lt"/>
            </a:rPr>
            <a:t> 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600" b="1" i="1" dirty="0">
              <a:solidFill>
                <a:srgbClr val="FF0000"/>
              </a:solidFill>
              <a:latin typeface="+mn-lt"/>
            </a:rPr>
            <a:t>ДТЛ         - 1,6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600" dirty="0">
            <a:latin typeface="+mn-lt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3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3509</cdr:x>
      <cdr:y>0.08956</cdr:y>
    </cdr:from>
    <cdr:to>
      <cdr:x>0.64754</cdr:x>
      <cdr:y>0.22322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3349287" y="516124"/>
          <a:ext cx="1635410" cy="77023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201</a:t>
          </a:r>
          <a:r>
            <a:rPr lang="en-US" sz="1050" b="1" i="1" dirty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-201</a:t>
          </a:r>
          <a:r>
            <a:rPr lang="en-US" sz="1050" b="1" i="1" dirty="0">
              <a:latin typeface="Calibri" panose="020F0502020204030204" pitchFamily="34" charset="0"/>
              <a:cs typeface="Calibri" panose="020F0502020204030204" pitchFamily="34" charset="0"/>
            </a:rPr>
            <a:t>3</a:t>
          </a: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b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RTSI                  </a:t>
          </a:r>
          <a:r>
            <a:rPr lang="en-US" sz="1050" b="1" i="1" u="none" strike="noStrike" baseline="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ru-RU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+ 9,3</a:t>
          </a:r>
          <a:r>
            <a:rPr lang="en-US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u="none" strike="noStrike" baseline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уляр-92      </a:t>
          </a:r>
          <a:r>
            <a:rPr lang="ru-RU" sz="1050" b="1" i="1" u="none" strike="noStrike" baseline="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+ </a:t>
          </a:r>
          <a:r>
            <a:rPr lang="ru-RU" sz="1050" b="1" i="1" u="none" strike="noStrike" baseline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4,07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dirty="0">
              <a:latin typeface="Calibri" panose="020F0502020204030204" pitchFamily="34" charset="0"/>
              <a:cs typeface="Calibri" panose="020F0502020204030204" pitchFamily="34" charset="0"/>
            </a:rPr>
            <a:t/>
          </a:r>
          <a:br>
            <a:rPr lang="ru-RU" sz="105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ru-RU" sz="1050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597</cdr:x>
      <cdr:y>0.70654</cdr:y>
    </cdr:from>
    <cdr:to>
      <cdr:x>0.46154</cdr:x>
      <cdr:y>0.81343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999137" y="4071519"/>
          <a:ext cx="1553735" cy="61596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201</a:t>
          </a:r>
          <a:r>
            <a:rPr lang="en-US" sz="1050" b="1" i="1" dirty="0">
              <a:latin typeface="Calibri" panose="020F0502020204030204" pitchFamily="34" charset="0"/>
              <a:cs typeface="Calibri" panose="020F0502020204030204" pitchFamily="34" charset="0"/>
            </a:rPr>
            <a:t>1</a:t>
          </a: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-201</a:t>
          </a:r>
          <a:r>
            <a:rPr lang="en-US" sz="1050" b="1" i="1" dirty="0">
              <a:latin typeface="Calibri" panose="020F0502020204030204" pitchFamily="34" charset="0"/>
              <a:cs typeface="Calibri" panose="020F0502020204030204" pitchFamily="34" charset="0"/>
            </a:rPr>
            <a:t>2</a:t>
          </a: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b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RTSI            </a:t>
          </a:r>
          <a:r>
            <a:rPr lang="en-US" sz="1050" b="1" i="1" u="none" strike="noStrike" baseline="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- </a:t>
          </a:r>
          <a:r>
            <a:rPr lang="ru-RU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20,4</a:t>
          </a:r>
          <a:r>
            <a:rPr lang="en-US" sz="1050" b="1" i="1" u="none" strike="noStrike" baseline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u="none" strike="noStrike" baseline="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уляр-92+ </a:t>
          </a:r>
          <a:r>
            <a:rPr lang="ru-RU" sz="1050" b="1" i="1" u="none" strike="noStrike" baseline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9,08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  <a:t/>
          </a:r>
          <a:br>
            <a:rPr lang="ru-RU" sz="1050" b="1" i="1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ru-RU" sz="1050" b="1" i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26492</cdr:x>
      <cdr:y>0.0442</cdr:y>
    </cdr:from>
    <cdr:to>
      <cdr:x>0.26617</cdr:x>
      <cdr:y>0.85929</cdr:y>
    </cdr:to>
    <cdr:sp macro="" textlink="">
      <cdr:nvSpPr>
        <cdr:cNvPr id="9" name="Прямая соединительная линия 8"/>
        <cdr:cNvSpPr/>
      </cdr:nvSpPr>
      <cdr:spPr>
        <a:xfrm xmlns:a="http://schemas.openxmlformats.org/drawingml/2006/main" flipH="1">
          <a:off x="2014527" y="254734"/>
          <a:ext cx="9506" cy="4697058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4114</cdr:x>
      <cdr:y>0.0478</cdr:y>
    </cdr:from>
    <cdr:to>
      <cdr:x>0.44238</cdr:x>
      <cdr:y>0.8629</cdr:y>
    </cdr:to>
    <cdr:sp macro="" textlink="">
      <cdr:nvSpPr>
        <cdr:cNvPr id="10" name="Прямая соединительная линия 9"/>
        <cdr:cNvSpPr/>
      </cdr:nvSpPr>
      <cdr:spPr>
        <a:xfrm xmlns:a="http://schemas.openxmlformats.org/drawingml/2006/main" flipH="1">
          <a:off x="3395833" y="275453"/>
          <a:ext cx="9545" cy="4697116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115</cdr:x>
      <cdr:y>0.04307</cdr:y>
    </cdr:from>
    <cdr:to>
      <cdr:x>0.64239</cdr:x>
      <cdr:y>0.85817</cdr:y>
    </cdr:to>
    <cdr:sp macro="" textlink="">
      <cdr:nvSpPr>
        <cdr:cNvPr id="11" name="Прямая соединительная линия 10"/>
        <cdr:cNvSpPr/>
      </cdr:nvSpPr>
      <cdr:spPr>
        <a:xfrm xmlns:a="http://schemas.openxmlformats.org/drawingml/2006/main" flipH="1">
          <a:off x="4875470" y="248196"/>
          <a:ext cx="9430" cy="4697116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56</cdr:x>
      <cdr:y>0.06031</cdr:y>
    </cdr:from>
    <cdr:to>
      <cdr:x>0.83265</cdr:x>
      <cdr:y>0.19555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4969467" y="347526"/>
          <a:ext cx="1440160" cy="77933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2013-2014:</a:t>
          </a:r>
          <a:b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</a:b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RTSI          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 11,5%</a:t>
          </a:r>
          <a:endParaRPr lang="ru-RU" sz="1050" b="1" i="1" dirty="0">
            <a:latin typeface="Calibri" panose="020F0502020204030204" pitchFamily="34" charset="0"/>
            <a:cs typeface="Calibri" panose="020F0502020204030204" pitchFamily="34" charset="0"/>
          </a:endParaRP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уляр-92 +</a:t>
          </a:r>
          <a:r>
            <a:rPr lang="en-US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9,02</a:t>
          </a:r>
          <a:r>
            <a:rPr lang="ru-RU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dirty="0">
              <a:latin typeface="Calibri" panose="020F0502020204030204" pitchFamily="34" charset="0"/>
              <a:cs typeface="Calibri" panose="020F0502020204030204" pitchFamily="34" charset="0"/>
            </a:rPr>
            <a:t/>
          </a:r>
          <a:br>
            <a:rPr lang="ru-RU" sz="105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ru-RU" sz="1050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80915</cdr:x>
      <cdr:y>0.04695</cdr:y>
    </cdr:from>
    <cdr:to>
      <cdr:x>0.81039</cdr:x>
      <cdr:y>0.86205</cdr:y>
    </cdr:to>
    <cdr:sp macro="" textlink="">
      <cdr:nvSpPr>
        <cdr:cNvPr id="13" name="Прямая соединительная линия 12"/>
        <cdr:cNvSpPr/>
      </cdr:nvSpPr>
      <cdr:spPr>
        <a:xfrm xmlns:a="http://schemas.openxmlformats.org/drawingml/2006/main" flipH="1">
          <a:off x="6153043" y="270582"/>
          <a:ext cx="9429" cy="4697115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9818</cdr:x>
      <cdr:y>0.76121</cdr:y>
    </cdr:from>
    <cdr:to>
      <cdr:x>0.89696</cdr:x>
      <cdr:y>0.85493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5374512" y="4386554"/>
          <a:ext cx="1530170" cy="54006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09.01.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201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4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-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27.01.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201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5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:</a:t>
          </a:r>
          <a:endParaRPr lang="ru-RU" sz="1050" b="1" i="1" dirty="0" smtClean="0">
            <a:latin typeface="Calibri" panose="020F0502020204030204" pitchFamily="34" charset="0"/>
            <a:cs typeface="Calibri" panose="020F0502020204030204" pitchFamily="34" charset="0"/>
          </a:endParaRP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RTSI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  -43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ru-RU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5</a:t>
          </a:r>
          <a:r>
            <a:rPr lang="en-US" sz="1050" b="1" i="1" dirty="0" smtClean="0">
              <a:latin typeface="Calibri" panose="020F0502020204030204" pitchFamily="34" charset="0"/>
              <a:cs typeface="Calibri" panose="020F0502020204030204" pitchFamily="34" charset="0"/>
            </a:rPr>
            <a:t> 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Регуляр-92  -1</a:t>
          </a:r>
          <a:r>
            <a:rPr lang="en-US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ru-RU" sz="1050" b="1" i="1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rPr>
            <a:t>23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dirty="0">
              <a:latin typeface="Calibri" panose="020F0502020204030204" pitchFamily="34" charset="0"/>
              <a:cs typeface="Calibri" panose="020F0502020204030204" pitchFamily="34" charset="0"/>
            </a:rPr>
            <a:t/>
          </a:r>
          <a:br>
            <a:rPr lang="ru-RU" sz="1050" b="1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ru-RU" sz="1050" b="1" dirty="0"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6901</cdr:x>
      <cdr:y>0.75137</cdr:y>
    </cdr:from>
    <cdr:to>
      <cdr:x>0.45207</cdr:x>
      <cdr:y>0.88702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070229" y="3906434"/>
          <a:ext cx="1408803" cy="705254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dirty="0">
              <a:latin typeface="Calibri"/>
              <a:cs typeface="Arial" pitchFamily="34" charset="0"/>
            </a:rPr>
            <a:t>201</a:t>
          </a:r>
          <a:r>
            <a:rPr lang="en-US" sz="1000" b="1" i="1" dirty="0">
              <a:latin typeface="Calibri"/>
              <a:cs typeface="Arial" pitchFamily="34" charset="0"/>
            </a:rPr>
            <a:t>1</a:t>
          </a:r>
          <a:r>
            <a:rPr lang="ru-RU" sz="1000" b="1" i="1" dirty="0">
              <a:latin typeface="Calibri"/>
              <a:cs typeface="Arial" pitchFamily="34" charset="0"/>
            </a:rPr>
            <a:t>-201</a:t>
          </a:r>
          <a:r>
            <a:rPr lang="en-US" sz="1000" b="1" i="1" dirty="0">
              <a:latin typeface="Calibri"/>
              <a:cs typeface="Arial" pitchFamily="34" charset="0"/>
            </a:rPr>
            <a:t>2</a:t>
          </a:r>
          <a:r>
            <a:rPr lang="ru-RU" sz="1000" b="1" i="1" dirty="0">
              <a:latin typeface="Calibri"/>
              <a:cs typeface="Arial" pitchFamily="34" charset="0"/>
            </a:rPr>
            <a:t>:</a:t>
          </a:r>
          <a:br>
            <a:rPr lang="ru-RU" sz="10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BRENT   +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14,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9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3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%</a:t>
          </a:r>
        </a:p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ДТЛ       + 27,81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b="1" i="1" dirty="0">
              <a:latin typeface="Calibri"/>
            </a:rPr>
            <a:t/>
          </a:r>
          <a:br>
            <a:rPr lang="ru-RU" sz="1000" b="1" i="1" dirty="0">
              <a:latin typeface="Calibri"/>
            </a:rPr>
          </a:br>
          <a:endParaRPr lang="ru-RU" sz="100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46976</cdr:x>
      <cdr:y>0.64706</cdr:y>
    </cdr:from>
    <cdr:to>
      <cdr:x>0.64867</cdr:x>
      <cdr:y>0.7626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3527438" y="3728778"/>
          <a:ext cx="1343446" cy="66592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dirty="0">
              <a:latin typeface="Calibri"/>
              <a:cs typeface="Arial" pitchFamily="34" charset="0"/>
            </a:rPr>
            <a:t>201</a:t>
          </a:r>
          <a:r>
            <a:rPr lang="en-US" sz="1000" b="1" i="1" dirty="0">
              <a:latin typeface="Calibri"/>
              <a:cs typeface="Arial" pitchFamily="34" charset="0"/>
            </a:rPr>
            <a:t>2</a:t>
          </a:r>
          <a:r>
            <a:rPr lang="ru-RU" sz="1000" b="1" i="1" dirty="0">
              <a:latin typeface="Calibri"/>
              <a:cs typeface="Arial" pitchFamily="34" charset="0"/>
            </a:rPr>
            <a:t>-201</a:t>
          </a:r>
          <a:r>
            <a:rPr lang="en-US" sz="1000" b="1" i="1" dirty="0">
              <a:latin typeface="Calibri"/>
              <a:cs typeface="Arial" pitchFamily="34" charset="0"/>
            </a:rPr>
            <a:t>3</a:t>
          </a:r>
          <a:r>
            <a:rPr lang="ru-RU" sz="1000" b="1" i="1" dirty="0">
              <a:latin typeface="Calibri"/>
              <a:cs typeface="Arial" pitchFamily="34" charset="0"/>
            </a:rPr>
            <a:t>:</a:t>
          </a:r>
          <a:br>
            <a:rPr lang="ru-RU" sz="10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    - 0</a:t>
          </a:r>
          <a:r>
            <a:rPr lang="ru-RU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,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86 %</a:t>
          </a:r>
        </a:p>
        <a:p xmlns:a="http://schemas.openxmlformats.org/drawingml/2006/main">
          <a:pPr algn="l" rtl="0">
            <a:lnSpc>
              <a:spcPts val="1100"/>
            </a:lnSpc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ДТЛ           + 14,62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1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b="1" i="1" dirty="0">
              <a:latin typeface="Calibri"/>
            </a:rPr>
            <a:t/>
          </a:r>
          <a:br>
            <a:rPr lang="ru-RU" sz="1000" b="1" i="1" dirty="0">
              <a:latin typeface="Calibri"/>
            </a:rPr>
          </a:br>
          <a:endParaRPr lang="ru-RU" sz="100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26504</cdr:x>
      <cdr:y>0.03906</cdr:y>
    </cdr:from>
    <cdr:to>
      <cdr:x>0.26571</cdr:x>
      <cdr:y>0.90841</cdr:y>
    </cdr:to>
    <cdr:sp macro="" textlink="">
      <cdr:nvSpPr>
        <cdr:cNvPr id="6" name="Прямая соединительная линия 5"/>
        <cdr:cNvSpPr/>
      </cdr:nvSpPr>
      <cdr:spPr>
        <a:xfrm xmlns:a="http://schemas.openxmlformats.org/drawingml/2006/main" flipH="1">
          <a:off x="1990165" y="225105"/>
          <a:ext cx="5033" cy="5009723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45555</cdr:x>
      <cdr:y>0.03754</cdr:y>
    </cdr:from>
    <cdr:to>
      <cdr:x>0.45605</cdr:x>
      <cdr:y>0.90841</cdr:y>
    </cdr:to>
    <cdr:sp macro="" textlink="">
      <cdr:nvSpPr>
        <cdr:cNvPr id="7" name="Прямая соединительная линия 6"/>
        <cdr:cNvSpPr/>
      </cdr:nvSpPr>
      <cdr:spPr>
        <a:xfrm xmlns:a="http://schemas.openxmlformats.org/drawingml/2006/main">
          <a:off x="3420769" y="216355"/>
          <a:ext cx="3748" cy="5018473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302</cdr:x>
      <cdr:y>0.04159</cdr:y>
    </cdr:from>
    <cdr:to>
      <cdr:x>0.64558</cdr:x>
      <cdr:y>0.90841</cdr:y>
    </cdr:to>
    <cdr:sp macro="" textlink="">
      <cdr:nvSpPr>
        <cdr:cNvPr id="8" name="Прямая соединительная линия 7"/>
        <cdr:cNvSpPr/>
      </cdr:nvSpPr>
      <cdr:spPr>
        <a:xfrm xmlns:a="http://schemas.openxmlformats.org/drawingml/2006/main">
          <a:off x="4828509" y="239689"/>
          <a:ext cx="19156" cy="4995139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5102</cdr:x>
      <cdr:y>0.5251</cdr:y>
    </cdr:from>
    <cdr:to>
      <cdr:x>0.82449</cdr:x>
      <cdr:y>0.6500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888529" y="3025954"/>
          <a:ext cx="1302597" cy="71986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en-US" sz="1100" b="1" i="1" dirty="0">
              <a:latin typeface="Calibri"/>
              <a:cs typeface="Arial" pitchFamily="34" charset="0"/>
            </a:rPr>
            <a:t>2013-2014</a:t>
          </a:r>
          <a:r>
            <a:rPr lang="ru-RU" sz="1100" b="1" i="1" dirty="0">
              <a:latin typeface="Calibri"/>
              <a:cs typeface="Arial" pitchFamily="34" charset="0"/>
            </a:rPr>
            <a:t>:</a:t>
          </a:r>
          <a:br>
            <a:rPr lang="ru-RU" sz="1100" b="1" i="1" dirty="0">
              <a:latin typeface="Calibri"/>
              <a:cs typeface="Arial" pitchFamily="34" charset="0"/>
            </a:rPr>
          </a:br>
          <a:r>
            <a:rPr lang="en-US" sz="11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    - 4</a:t>
          </a:r>
          <a:r>
            <a:rPr lang="ru-RU" sz="11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,</a:t>
          </a:r>
          <a:r>
            <a:rPr lang="en-US" sz="11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6 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1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ДТЛ           + </a:t>
          </a:r>
          <a:r>
            <a:rPr lang="en-US" sz="11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0</a:t>
          </a:r>
          <a:r>
            <a:rPr lang="ru-RU" sz="11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,</a:t>
          </a:r>
          <a:r>
            <a:rPr lang="en-US" sz="11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63</a:t>
          </a:r>
          <a:r>
            <a:rPr lang="ru-RU" sz="11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 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b="1" i="1" dirty="0">
              <a:latin typeface="Calibri"/>
            </a:rPr>
            <a:t/>
          </a:r>
          <a:br>
            <a:rPr lang="ru-RU" sz="1100" b="1" i="1" dirty="0">
              <a:latin typeface="Calibri"/>
            </a:rPr>
          </a:br>
          <a:endParaRPr lang="ru-RU" sz="1100" b="1" i="1" dirty="0">
            <a:latin typeface="Calibri"/>
          </a:endParaRPr>
        </a:p>
      </cdr:txBody>
    </cdr:sp>
  </cdr:relSizeAnchor>
  <cdr:relSizeAnchor xmlns:cdr="http://schemas.openxmlformats.org/drawingml/2006/chartDrawing">
    <cdr:from>
      <cdr:x>0.82408</cdr:x>
      <cdr:y>0.04253</cdr:y>
    </cdr:from>
    <cdr:to>
      <cdr:x>0.82764</cdr:x>
      <cdr:y>0.91424</cdr:y>
    </cdr:to>
    <cdr:sp macro="" textlink="">
      <cdr:nvSpPr>
        <cdr:cNvPr id="10" name="Прямая соединительная линия 9"/>
        <cdr:cNvSpPr/>
      </cdr:nvSpPr>
      <cdr:spPr>
        <a:xfrm xmlns:a="http://schemas.openxmlformats.org/drawingml/2006/main">
          <a:off x="6188100" y="245080"/>
          <a:ext cx="26682" cy="5023366"/>
        </a:xfrm>
        <a:prstGeom xmlns:a="http://schemas.openxmlformats.org/drawingml/2006/main" prst="line">
          <a:avLst/>
        </a:prstGeom>
        <a:ln xmlns:a="http://schemas.openxmlformats.org/drawingml/2006/main" w="15875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8947</cdr:x>
      <cdr:y>0.76003</cdr:y>
    </cdr:from>
    <cdr:to>
      <cdr:x>0.92982</cdr:x>
      <cdr:y>0.88495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6075674" y="3951439"/>
          <a:ext cx="1080120" cy="649468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dirty="0" smtClean="0">
              <a:latin typeface="Calibri"/>
              <a:cs typeface="Arial" pitchFamily="34" charset="0"/>
            </a:rPr>
            <a:t>2014:</a:t>
          </a:r>
          <a:r>
            <a:rPr lang="ru-RU" sz="1000" b="1" i="1" dirty="0">
              <a:latin typeface="Calibri"/>
              <a:cs typeface="Arial" pitchFamily="34" charset="0"/>
            </a:rPr>
            <a:t/>
          </a:r>
          <a:br>
            <a:rPr lang="ru-RU" sz="1000" b="1" i="1" dirty="0">
              <a:latin typeface="Calibri"/>
              <a:cs typeface="Arial" pitchFamily="34" charset="0"/>
            </a:rPr>
          </a:b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 BRENT  - </a:t>
          </a:r>
          <a:r>
            <a:rPr lang="ru-RU" sz="1000" b="1" i="1" u="none" strike="noStrike" baseline="0" dirty="0" smtClean="0">
              <a:solidFill>
                <a:srgbClr val="000000"/>
              </a:solidFill>
              <a:latin typeface="Calibri"/>
              <a:cs typeface="Arial" pitchFamily="34" charset="0"/>
            </a:rPr>
            <a:t>31,5</a:t>
          </a:r>
          <a:r>
            <a:rPr lang="en-US" sz="1000" b="1" i="1" u="none" strike="noStrike" baseline="0" dirty="0" smtClean="0">
              <a:solidFill>
                <a:srgbClr val="000000"/>
              </a:solidFill>
              <a:latin typeface="Calibri"/>
              <a:cs typeface="Arial" pitchFamily="34" charset="0"/>
            </a:rPr>
            <a:t> </a:t>
          </a:r>
          <a:r>
            <a:rPr lang="en-US" sz="1000" b="1" i="1" u="none" strike="noStrike" baseline="0" dirty="0">
              <a:solidFill>
                <a:srgbClr val="000000"/>
              </a:solidFill>
              <a:latin typeface="Calibri"/>
              <a:cs typeface="Arial" pitchFamily="34" charset="0"/>
            </a:rPr>
            <a:t>%</a:t>
          </a:r>
        </a:p>
        <a:p xmlns:a="http://schemas.openxmlformats.org/drawingml/2006/main">
          <a:pPr algn="l" rtl="0">
            <a:defRPr sz="1000" b="0" i="0" u="none" strike="noStrike" kern="1200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ДТЛ       + </a:t>
          </a:r>
          <a:r>
            <a:rPr lang="ru-RU" sz="1000" b="1" i="1" u="none" strike="noStrike" baseline="0" dirty="0" smtClean="0">
              <a:solidFill>
                <a:srgbClr val="FF0000"/>
              </a:solidFill>
              <a:latin typeface="Calibri"/>
              <a:cs typeface="Arial" pitchFamily="34" charset="0"/>
            </a:rPr>
            <a:t>0</a:t>
          </a:r>
          <a:r>
            <a:rPr lang="en-US" sz="1000" b="1" i="1" u="none" strike="noStrike" baseline="0" dirty="0" smtClean="0">
              <a:solidFill>
                <a:srgbClr val="FF0000"/>
              </a:solidFill>
              <a:latin typeface="Calibri"/>
              <a:cs typeface="Arial" pitchFamily="34" charset="0"/>
            </a:rPr>
            <a:t>,</a:t>
          </a:r>
          <a:r>
            <a:rPr lang="ru-RU" sz="1000" b="1" i="1" u="none" strike="noStrike" baseline="0" dirty="0" smtClean="0">
              <a:solidFill>
                <a:srgbClr val="FF0000"/>
              </a:solidFill>
              <a:latin typeface="Calibri"/>
              <a:cs typeface="Arial" pitchFamily="34" charset="0"/>
            </a:rPr>
            <a:t>91 </a:t>
          </a:r>
          <a:r>
            <a:rPr lang="ru-RU" sz="1000" b="1" i="1" u="none" strike="noStrike" baseline="0" dirty="0">
              <a:solidFill>
                <a:srgbClr val="FF0000"/>
              </a:solidFill>
              <a:latin typeface="Calibri"/>
              <a:cs typeface="Arial" pitchFamily="34" charset="0"/>
            </a:rPr>
            <a:t>%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12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b="1" i="1" dirty="0">
              <a:latin typeface="Calibri"/>
            </a:rPr>
            <a:t/>
          </a:r>
          <a:br>
            <a:rPr lang="ru-RU" sz="1000" b="1" i="1" dirty="0">
              <a:latin typeface="Calibri"/>
            </a:rPr>
          </a:br>
          <a:endParaRPr lang="ru-RU" sz="1000" b="1" i="1" dirty="0">
            <a:latin typeface="Calibri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63976</cdr:x>
      <cdr:y>0.20705</cdr:y>
    </cdr:from>
    <cdr:to>
      <cdr:x>0.68463</cdr:x>
      <cdr:y>0.2588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340679" y="979714"/>
          <a:ext cx="304458" cy="2449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A965F5-686F-47AA-A2C7-9EBDD9C3FF38}" type="datetimeFigureOut">
              <a:rPr lang="ru-RU" smtClean="0"/>
              <a:pPr/>
              <a:t>09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B304B-9D3B-43F1-A028-9217D9172F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263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4932040" y="6255894"/>
            <a:ext cx="406794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ru-RU" sz="3200" dirty="0" smtClean="0">
                <a:solidFill>
                  <a:srgbClr val="77BAE7"/>
                </a:solidFill>
                <a:latin typeface="Segoe UI Light" pitchFamily="34" charset="0"/>
              </a:rPr>
              <a:t>ЗАО «СПбМТСБ»</a:t>
            </a:r>
            <a:endParaRPr lang="ru-RU" sz="3200" dirty="0">
              <a:solidFill>
                <a:srgbClr val="77BAE7"/>
              </a:solidFill>
              <a:latin typeface="Segoe UI Light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0" y="5517232"/>
            <a:ext cx="8999985" cy="703117"/>
          </a:xfrm>
        </p:spPr>
        <p:txBody>
          <a:bodyPr>
            <a:noAutofit/>
          </a:bodyPr>
          <a:lstStyle>
            <a:lvl1pPr marL="0" algn="r" defTabSz="914400" rtl="0" eaLnBrk="1" latinLnBrk="0" hangingPunct="1">
              <a:defRPr lang="ru-RU" sz="44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836474296"/>
              </p:ext>
            </p:extLst>
          </p:nvPr>
        </p:nvGraphicFramePr>
        <p:xfrm>
          <a:off x="-41548" y="-51069"/>
          <a:ext cx="9006036" cy="53522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4" r:id="rId3" imgW="724273" imgH="429783" progId="">
                  <p:embed/>
                </p:oleObj>
              </mc:Choice>
              <mc:Fallback>
                <p:oleObj r:id="rId3" imgW="724273" imgH="429783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41548" y="-51069"/>
                        <a:ext cx="9006036" cy="53522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12514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5" y="5085184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5661248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24" name="Объект 2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804760661"/>
              </p:ext>
            </p:extLst>
          </p:nvPr>
        </p:nvGraphicFramePr>
        <p:xfrm>
          <a:off x="107504" y="-26988"/>
          <a:ext cx="981075" cy="6767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8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-26988"/>
                        <a:ext cx="981075" cy="6767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80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115615" y="116632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692696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507862151"/>
              </p:ext>
            </p:extLst>
          </p:nvPr>
        </p:nvGraphicFramePr>
        <p:xfrm>
          <a:off x="107503" y="-25756"/>
          <a:ext cx="980275" cy="67671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2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7503" y="-25756"/>
                        <a:ext cx="980275" cy="67671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1116013" y="1268413"/>
            <a:ext cx="8027987" cy="432082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0654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4932040" y="6255894"/>
            <a:ext cx="406794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ru-RU" sz="3200" dirty="0" smtClean="0">
                <a:solidFill>
                  <a:srgbClr val="77BAE7"/>
                </a:solidFill>
                <a:latin typeface="Segoe UI Light" pitchFamily="34" charset="0"/>
              </a:rPr>
              <a:t>ЗАО «СПбМТСБ»</a:t>
            </a:r>
            <a:endParaRPr lang="ru-RU" sz="3200" dirty="0">
              <a:solidFill>
                <a:srgbClr val="77BAE7"/>
              </a:solidFill>
              <a:latin typeface="Segoe UI Light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0" y="5517232"/>
            <a:ext cx="8999985" cy="703117"/>
          </a:xfrm>
        </p:spPr>
        <p:txBody>
          <a:bodyPr>
            <a:noAutofit/>
          </a:bodyPr>
          <a:lstStyle>
            <a:lvl1pPr marL="0" algn="r" defTabSz="914400" rtl="0" eaLnBrk="1" latinLnBrk="0" hangingPunct="1">
              <a:defRPr lang="ru-RU" sz="44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255799410"/>
              </p:ext>
            </p:extLst>
          </p:nvPr>
        </p:nvGraphicFramePr>
        <p:xfrm>
          <a:off x="-41548" y="-51069"/>
          <a:ext cx="9006036" cy="53522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78" r:id="rId3" imgW="724273" imgH="429783" progId="">
                  <p:embed/>
                </p:oleObj>
              </mc:Choice>
              <mc:Fallback>
                <p:oleObj r:id="rId3" imgW="724273" imgH="429783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41548" y="-51069"/>
                        <a:ext cx="9006036" cy="53522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9528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5" y="5085184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5661248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24" name="Объект 2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83529418"/>
              </p:ext>
            </p:extLst>
          </p:nvPr>
        </p:nvGraphicFramePr>
        <p:xfrm>
          <a:off x="107504" y="-26988"/>
          <a:ext cx="981075" cy="6767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02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-26988"/>
                        <a:ext cx="981075" cy="6767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95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115615" y="116632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692696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33658275"/>
              </p:ext>
            </p:extLst>
          </p:nvPr>
        </p:nvGraphicFramePr>
        <p:xfrm>
          <a:off x="107503" y="-25756"/>
          <a:ext cx="980275" cy="67671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6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7503" y="-25756"/>
                        <a:ext cx="980275" cy="67671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1116013" y="1268413"/>
            <a:ext cx="8027987" cy="432082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9082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4932040" y="6255894"/>
            <a:ext cx="406794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ru-RU" sz="3200" dirty="0" smtClean="0">
                <a:solidFill>
                  <a:srgbClr val="77BAE7"/>
                </a:solidFill>
                <a:latin typeface="Segoe UI Light" pitchFamily="34" charset="0"/>
              </a:rPr>
              <a:t>ЗАО «СПбМТСБ»</a:t>
            </a:r>
            <a:endParaRPr lang="ru-RU" sz="3200" dirty="0">
              <a:solidFill>
                <a:srgbClr val="77BAE7"/>
              </a:solidFill>
              <a:latin typeface="Segoe UI Light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0" y="5517232"/>
            <a:ext cx="8999985" cy="703117"/>
          </a:xfrm>
        </p:spPr>
        <p:txBody>
          <a:bodyPr>
            <a:noAutofit/>
          </a:bodyPr>
          <a:lstStyle>
            <a:lvl1pPr marL="0" algn="r" defTabSz="914400" rtl="0" eaLnBrk="1" latinLnBrk="0" hangingPunct="1">
              <a:defRPr lang="ru-RU" sz="44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64469072"/>
              </p:ext>
            </p:extLst>
          </p:nvPr>
        </p:nvGraphicFramePr>
        <p:xfrm>
          <a:off x="-41548" y="-51069"/>
          <a:ext cx="9006036" cy="53522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50" r:id="rId3" imgW="724273" imgH="429783" progId="">
                  <p:embed/>
                </p:oleObj>
              </mc:Choice>
              <mc:Fallback>
                <p:oleObj r:id="rId3" imgW="724273" imgH="429783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41548" y="-51069"/>
                        <a:ext cx="9006036" cy="53522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55074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5" y="5085184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2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5661248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24" name="Объект 23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57582205"/>
              </p:ext>
            </p:extLst>
          </p:nvPr>
        </p:nvGraphicFramePr>
        <p:xfrm>
          <a:off x="107504" y="-26988"/>
          <a:ext cx="981075" cy="6767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74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-26988"/>
                        <a:ext cx="981075" cy="6767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114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115615" y="116632"/>
            <a:ext cx="8028385" cy="621542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692696"/>
            <a:ext cx="8028384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251890765"/>
              </p:ext>
            </p:extLst>
          </p:nvPr>
        </p:nvGraphicFramePr>
        <p:xfrm>
          <a:off x="107503" y="-25756"/>
          <a:ext cx="980275" cy="67671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8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7503" y="-25756"/>
                        <a:ext cx="980275" cy="67671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7504" y="6381329"/>
            <a:ext cx="100850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1116013" y="1268413"/>
            <a:ext cx="8027987" cy="432082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27405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83B3C-0F63-49CF-83A2-AD4574F642B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157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83B3C-0F63-49CF-83A2-AD4574F642B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0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83B3C-0F63-49CF-83A2-AD4574F642B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420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19.png"/><Relationship Id="rId7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4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2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8.gif"/><Relationship Id="rId18" Type="http://schemas.openxmlformats.org/officeDocument/2006/relationships/image" Target="../media/image13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7.png"/><Relationship Id="rId17" Type="http://schemas.openxmlformats.org/officeDocument/2006/relationships/image" Target="../media/image12.emf"/><Relationship Id="rId2" Type="http://schemas.openxmlformats.org/officeDocument/2006/relationships/tags" Target="../tags/tag3.xml"/><Relationship Id="rId16" Type="http://schemas.openxmlformats.org/officeDocument/2006/relationships/image" Target="../media/image11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6.emf"/><Relationship Id="rId5" Type="http://schemas.openxmlformats.org/officeDocument/2006/relationships/tags" Target="../tags/tag6.xml"/><Relationship Id="rId15" Type="http://schemas.openxmlformats.org/officeDocument/2006/relationships/image" Target="../media/image10.jpe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кция срочного ры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0708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20660" y="1628800"/>
            <a:ext cx="315036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1116013" y="1268414"/>
            <a:ext cx="8027987" cy="1224482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latin typeface="Segoe UI" pitchFamily="34" charset="0"/>
                <a:cs typeface="Segoe UI" pitchFamily="34" charset="0"/>
              </a:rPr>
              <a:t>Общий объем торгов поставочным фьючерсом на дизельное топливо летнее</a:t>
            </a:r>
            <a:r>
              <a:rPr lang="ru-RU" dirty="0" smtClean="0">
                <a:latin typeface="Segoe UI" pitchFamily="34" charset="0"/>
                <a:cs typeface="Segoe UI" pitchFamily="34" charset="0"/>
              </a:rPr>
              <a:t>:</a:t>
            </a:r>
          </a:p>
          <a:p>
            <a:pPr lvl="1"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более 635 тыс. тонн</a:t>
            </a:r>
          </a:p>
          <a:p>
            <a:pPr lvl="1"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более 16,0 млрд. рублей</a:t>
            </a:r>
            <a:endParaRPr lang="ru-RU" dirty="0" smtClean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Поставочные фьючерсы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Введены в обращение</a:t>
            </a:r>
            <a:r>
              <a:rPr lang="ru-RU" dirty="0" smtClean="0"/>
              <a:t> 17 </a:t>
            </a:r>
            <a:r>
              <a:rPr lang="ru-RU" dirty="0"/>
              <a:t>декабря 2010 г</a:t>
            </a:r>
            <a:r>
              <a:rPr lang="en-US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940152" y="1754816"/>
            <a:ext cx="3203847" cy="8740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Уникальный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опыт поставки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lvl="0" algn="r">
              <a:spcBef>
                <a:spcPct val="20000"/>
              </a:spcBef>
              <a:defRPr/>
            </a:pP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Фьючерсный контракт исполняется </a:t>
            </a:r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ПОСТАВКОЙ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базового актив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940152" y="2789929"/>
            <a:ext cx="3203848" cy="34485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057164" y="2780928"/>
            <a:ext cx="30868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Преимущества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57164" y="3329989"/>
            <a:ext cx="3086835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Более </a:t>
            </a:r>
            <a:r>
              <a:rPr lang="en-US" sz="1100" dirty="0" smtClean="0">
                <a:latin typeface="Segoe UI" pitchFamily="34" charset="0"/>
                <a:cs typeface="Segoe UI" pitchFamily="34" charset="0"/>
              </a:rPr>
              <a:t>45</a:t>
            </a: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 участников на Срочном рынке ЗАО «СПбМТСБ»</a:t>
            </a: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>
                <a:latin typeface="Segoe UI" pitchFamily="34" charset="0"/>
                <a:cs typeface="Segoe UI" pitchFamily="34" charset="0"/>
              </a:rPr>
              <a:t>Система </a:t>
            </a:r>
            <a:r>
              <a:rPr lang="ru-RU" sz="1100" dirty="0" err="1">
                <a:latin typeface="Segoe UI" pitchFamily="34" charset="0"/>
                <a:cs typeface="Segoe UI" pitchFamily="34" charset="0"/>
              </a:rPr>
              <a:t>рибейтов</a:t>
            </a:r>
            <a:r>
              <a:rPr lang="ru-RU" sz="1100" dirty="0">
                <a:latin typeface="Segoe UI" pitchFamily="34" charset="0"/>
                <a:cs typeface="Segoe UI" pitchFamily="34" charset="0"/>
              </a:rPr>
              <a:t> для брокеров, направленная </a:t>
            </a: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на повышение ликвидности</a:t>
            </a: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Центральный контрагент</a:t>
            </a:r>
            <a:endParaRPr lang="en-US" sz="1100" dirty="0" smtClean="0">
              <a:latin typeface="Segoe UI" pitchFamily="34" charset="0"/>
              <a:cs typeface="Segoe UI" pitchFamily="34" charset="0"/>
            </a:endParaRP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Одновременное наличие маркет-мейкеров и гарантирующих поставщиков создаст наиболее комфортные условия для клиентов</a:t>
            </a:r>
            <a:endParaRPr lang="en-US" sz="1100" dirty="0" smtClean="0">
              <a:latin typeface="Segoe UI" pitchFamily="34" charset="0"/>
              <a:cs typeface="Segoe UI" pitchFamily="34" charset="0"/>
            </a:endParaRP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Механизм «Гарантирующего поставщика», разработанный вместе с Газпромнефтью.</a:t>
            </a:r>
            <a:endParaRPr lang="ru-RU" sz="1100" dirty="0"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4743616"/>
            <a:ext cx="2917627" cy="1980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Прямоугольник 11"/>
          <p:cNvSpPr/>
          <p:nvPr/>
        </p:nvSpPr>
        <p:spPr>
          <a:xfrm>
            <a:off x="3986936" y="5553706"/>
            <a:ext cx="405044" cy="11708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986934" y="6078265"/>
            <a:ext cx="16651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Торги на хабе «Владимир»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17305" y="0"/>
            <a:ext cx="11701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9600" dirty="0" smtClean="0">
                <a:solidFill>
                  <a:schemeClr val="accent1"/>
                </a:solidFill>
              </a:rPr>
              <a:t> </a:t>
            </a:r>
            <a:endParaRPr lang="ru-RU" sz="9600" dirty="0">
              <a:solidFill>
                <a:schemeClr val="accent1"/>
              </a:solidFill>
            </a:endParaRPr>
          </a:p>
        </p:txBody>
      </p:sp>
      <p:grpSp>
        <p:nvGrpSpPr>
          <p:cNvPr id="15" name="Группа 18"/>
          <p:cNvGrpSpPr/>
          <p:nvPr/>
        </p:nvGrpSpPr>
        <p:grpSpPr>
          <a:xfrm>
            <a:off x="6637003" y="0"/>
            <a:ext cx="2506997" cy="1569660"/>
            <a:chOff x="6637003" y="0"/>
            <a:chExt cx="2506997" cy="1569660"/>
          </a:xfrm>
        </p:grpSpPr>
        <p:pic>
          <p:nvPicPr>
            <p:cNvPr id="16" name="Picture 3" descr="C:\Documents and Settings\vondrukhov\Рабочий стол\цистерна.bmp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637003" y="105535"/>
              <a:ext cx="2506997" cy="966886"/>
            </a:xfrm>
            <a:prstGeom prst="rect">
              <a:avLst/>
            </a:prstGeom>
            <a:noFill/>
          </p:spPr>
        </p:pic>
        <p:sp>
          <p:nvSpPr>
            <p:cNvPr id="17" name="TextBox 16"/>
            <p:cNvSpPr txBox="1"/>
            <p:nvPr/>
          </p:nvSpPr>
          <p:spPr>
            <a:xfrm>
              <a:off x="7317305" y="0"/>
              <a:ext cx="117013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Wingdings" pitchFamily="2" charset="2"/>
                <a:buChar char="ü"/>
              </a:pPr>
              <a:r>
                <a:rPr lang="ru-RU" sz="9600" dirty="0" smtClean="0">
                  <a:solidFill>
                    <a:schemeClr val="accent1"/>
                  </a:solidFill>
                </a:rPr>
                <a:t> </a:t>
              </a:r>
              <a:endParaRPr lang="ru-RU" sz="96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7362310" y="115965"/>
              <a:ext cx="1035115" cy="998730"/>
            </a:xfrm>
            <a:prstGeom prst="rect">
              <a:avLst/>
            </a:pr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202808" y="2492896"/>
            <a:ext cx="416128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ru-RU" sz="1600" dirty="0">
                <a:latin typeface="Segoe UI" pitchFamily="34" charset="0"/>
                <a:cs typeface="Segoe UI" pitchFamily="34" charset="0"/>
              </a:rPr>
              <a:t>Охватывает практически все </a:t>
            </a:r>
            <a:r>
              <a:rPr lang="ru-RU" sz="1600" dirty="0" err="1" smtClean="0">
                <a:latin typeface="Segoe UI" pitchFamily="34" charset="0"/>
                <a:cs typeface="Segoe UI" pitchFamily="34" charset="0"/>
              </a:rPr>
              <a:t>ВИНКи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:</a:t>
            </a:r>
          </a:p>
        </p:txBody>
      </p: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4152887840"/>
              </p:ext>
            </p:extLst>
          </p:nvPr>
        </p:nvGraphicFramePr>
        <p:xfrm>
          <a:off x="3573721" y="3022227"/>
          <a:ext cx="2221579" cy="1454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9" name="Схема 28"/>
          <p:cNvGraphicFramePr/>
          <p:nvPr>
            <p:extLst>
              <p:ext uri="{D42A27DB-BD31-4B8C-83A1-F6EECF244321}">
                <p14:modId xmlns:p14="http://schemas.microsoft.com/office/powerpoint/2010/main" val="1927592245"/>
              </p:ext>
            </p:extLst>
          </p:nvPr>
        </p:nvGraphicFramePr>
        <p:xfrm>
          <a:off x="1331640" y="3022227"/>
          <a:ext cx="2070230" cy="1454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46164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20660" y="1628800"/>
            <a:ext cx="315036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1116013" y="1268414"/>
            <a:ext cx="8027987" cy="1224482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latin typeface="Segoe UI" pitchFamily="34" charset="0"/>
                <a:cs typeface="Segoe UI" pitchFamily="34" charset="0"/>
              </a:rPr>
              <a:t>Общий объем торгов поставочным фьючерсом на дизельное топливо летнее</a:t>
            </a:r>
            <a:r>
              <a:rPr lang="ru-RU" dirty="0" smtClean="0">
                <a:latin typeface="Segoe UI" pitchFamily="34" charset="0"/>
                <a:cs typeface="Segoe UI" pitchFamily="34" charset="0"/>
              </a:rPr>
              <a:t>:</a:t>
            </a:r>
          </a:p>
          <a:p>
            <a:pPr lvl="1"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более 635 тыс. тонн</a:t>
            </a:r>
          </a:p>
          <a:p>
            <a:pPr lvl="1"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более 16,0 млрд. рублей</a:t>
            </a:r>
            <a:endParaRPr lang="ru-RU" dirty="0" smtClean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Поставочные фьючерсы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Введены в обращение</a:t>
            </a:r>
            <a:r>
              <a:rPr lang="ru-RU" dirty="0" smtClean="0"/>
              <a:t> 17 </a:t>
            </a:r>
            <a:r>
              <a:rPr lang="ru-RU" dirty="0"/>
              <a:t>декабря 2010 г</a:t>
            </a:r>
            <a:r>
              <a:rPr lang="en-US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940152" y="1754816"/>
            <a:ext cx="3203847" cy="8740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Уникальный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опыт поставки</a:t>
            </a:r>
            <a:endParaRPr lang="ru-RU" sz="2000" dirty="0" smtClean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lvl="0" algn="r">
              <a:spcBef>
                <a:spcPct val="20000"/>
              </a:spcBef>
              <a:defRPr/>
            </a:pP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Фьючерсный контракт исполняется </a:t>
            </a:r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ПОСТАВКОЙ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базового актив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940152" y="2789929"/>
            <a:ext cx="3203848" cy="34485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057164" y="2780928"/>
            <a:ext cx="30868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Преимущества: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57164" y="3329989"/>
            <a:ext cx="3086835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Более </a:t>
            </a:r>
            <a:r>
              <a:rPr lang="en-US" sz="1100" dirty="0" smtClean="0">
                <a:latin typeface="Segoe UI" pitchFamily="34" charset="0"/>
                <a:cs typeface="Segoe UI" pitchFamily="34" charset="0"/>
              </a:rPr>
              <a:t>45</a:t>
            </a: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 участников на Срочном рынке ЗАО «СПбМТСБ»</a:t>
            </a: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>
                <a:latin typeface="Segoe UI" pitchFamily="34" charset="0"/>
                <a:cs typeface="Segoe UI" pitchFamily="34" charset="0"/>
              </a:rPr>
              <a:t>Система </a:t>
            </a:r>
            <a:r>
              <a:rPr lang="ru-RU" sz="1100" dirty="0" err="1">
                <a:latin typeface="Segoe UI" pitchFamily="34" charset="0"/>
                <a:cs typeface="Segoe UI" pitchFamily="34" charset="0"/>
              </a:rPr>
              <a:t>рибейтов</a:t>
            </a:r>
            <a:r>
              <a:rPr lang="ru-RU" sz="1100" dirty="0">
                <a:latin typeface="Segoe UI" pitchFamily="34" charset="0"/>
                <a:cs typeface="Segoe UI" pitchFamily="34" charset="0"/>
              </a:rPr>
              <a:t> для брокеров, направленная </a:t>
            </a: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на повышение ликвидности</a:t>
            </a: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Центральный контрагент</a:t>
            </a:r>
            <a:endParaRPr lang="en-US" sz="1100" dirty="0" smtClean="0">
              <a:latin typeface="Segoe UI" pitchFamily="34" charset="0"/>
              <a:cs typeface="Segoe UI" pitchFamily="34" charset="0"/>
            </a:endParaRP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Одновременное наличие маркет-мейкеров и гарантирующих поставщиков создаст наиболее комфортные условия для клиентов</a:t>
            </a:r>
            <a:endParaRPr lang="en-US" sz="1100" dirty="0" smtClean="0">
              <a:latin typeface="Segoe UI" pitchFamily="34" charset="0"/>
              <a:cs typeface="Segoe UI" pitchFamily="34" charset="0"/>
            </a:endParaRPr>
          </a:p>
          <a:p>
            <a:pPr marL="266700" indent="-180975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100" dirty="0" smtClean="0">
                <a:latin typeface="Segoe UI" pitchFamily="34" charset="0"/>
                <a:cs typeface="Segoe UI" pitchFamily="34" charset="0"/>
              </a:rPr>
              <a:t>Механизм «Гарантирующего поставщика», разработанный вместе с Газпромнефтью.</a:t>
            </a:r>
            <a:endParaRPr lang="ru-RU" sz="1100" dirty="0"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4743616"/>
            <a:ext cx="2917627" cy="1980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Прямоугольник 11"/>
          <p:cNvSpPr/>
          <p:nvPr/>
        </p:nvSpPr>
        <p:spPr>
          <a:xfrm>
            <a:off x="3986936" y="5553706"/>
            <a:ext cx="405044" cy="11708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986934" y="6078265"/>
            <a:ext cx="16651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Торги на хабе «Владимир»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17305" y="0"/>
            <a:ext cx="11701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9600" dirty="0" smtClean="0">
                <a:solidFill>
                  <a:schemeClr val="accent1"/>
                </a:solidFill>
              </a:rPr>
              <a:t> </a:t>
            </a:r>
            <a:endParaRPr lang="ru-RU" sz="9600" dirty="0">
              <a:solidFill>
                <a:schemeClr val="accent1"/>
              </a:solidFill>
            </a:endParaRPr>
          </a:p>
        </p:txBody>
      </p:sp>
      <p:grpSp>
        <p:nvGrpSpPr>
          <p:cNvPr id="15" name="Группа 18"/>
          <p:cNvGrpSpPr/>
          <p:nvPr/>
        </p:nvGrpSpPr>
        <p:grpSpPr>
          <a:xfrm>
            <a:off x="6637003" y="0"/>
            <a:ext cx="2506997" cy="1569660"/>
            <a:chOff x="6637003" y="0"/>
            <a:chExt cx="2506997" cy="1569660"/>
          </a:xfrm>
        </p:grpSpPr>
        <p:pic>
          <p:nvPicPr>
            <p:cNvPr id="16" name="Picture 3" descr="C:\Documents and Settings\vondrukhov\Рабочий стол\цистерна.bmp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637003" y="105535"/>
              <a:ext cx="2506997" cy="966886"/>
            </a:xfrm>
            <a:prstGeom prst="rect">
              <a:avLst/>
            </a:prstGeom>
            <a:noFill/>
          </p:spPr>
        </p:pic>
        <p:sp>
          <p:nvSpPr>
            <p:cNvPr id="17" name="TextBox 16"/>
            <p:cNvSpPr txBox="1"/>
            <p:nvPr/>
          </p:nvSpPr>
          <p:spPr>
            <a:xfrm>
              <a:off x="7317305" y="0"/>
              <a:ext cx="117013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Wingdings" pitchFamily="2" charset="2"/>
                <a:buChar char="ü"/>
              </a:pPr>
              <a:r>
                <a:rPr lang="ru-RU" sz="9600" dirty="0" smtClean="0">
                  <a:solidFill>
                    <a:schemeClr val="accent1"/>
                  </a:solidFill>
                </a:rPr>
                <a:t> </a:t>
              </a:r>
              <a:endParaRPr lang="ru-RU" sz="960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7362310" y="115965"/>
              <a:ext cx="1035115" cy="998730"/>
            </a:xfrm>
            <a:prstGeom prst="rect">
              <a:avLst/>
            </a:prstGeom>
            <a:noFill/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202808" y="2492896"/>
            <a:ext cx="416128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defRPr/>
            </a:pPr>
            <a:r>
              <a:rPr lang="ru-RU" sz="1600" dirty="0">
                <a:latin typeface="Segoe UI" pitchFamily="34" charset="0"/>
                <a:cs typeface="Segoe UI" pitchFamily="34" charset="0"/>
              </a:rPr>
              <a:t>Охватывает практически все </a:t>
            </a:r>
            <a:r>
              <a:rPr lang="ru-RU" sz="1600" dirty="0" err="1" smtClean="0">
                <a:latin typeface="Segoe UI" pitchFamily="34" charset="0"/>
                <a:cs typeface="Segoe UI" pitchFamily="34" charset="0"/>
              </a:rPr>
              <a:t>ВИНКи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:</a:t>
            </a:r>
          </a:p>
        </p:txBody>
      </p:sp>
      <p:graphicFrame>
        <p:nvGraphicFramePr>
          <p:cNvPr id="28" name="Схема 27"/>
          <p:cNvGraphicFramePr/>
          <p:nvPr>
            <p:extLst>
              <p:ext uri="{D42A27DB-BD31-4B8C-83A1-F6EECF244321}">
                <p14:modId xmlns:p14="http://schemas.microsoft.com/office/powerpoint/2010/main" val="4179613287"/>
              </p:ext>
            </p:extLst>
          </p:nvPr>
        </p:nvGraphicFramePr>
        <p:xfrm>
          <a:off x="3573721" y="3022227"/>
          <a:ext cx="2221579" cy="1454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29" name="Схема 28"/>
          <p:cNvGraphicFramePr/>
          <p:nvPr>
            <p:extLst>
              <p:ext uri="{D42A27DB-BD31-4B8C-83A1-F6EECF244321}">
                <p14:modId xmlns:p14="http://schemas.microsoft.com/office/powerpoint/2010/main" val="3298501991"/>
              </p:ext>
            </p:extLst>
          </p:nvPr>
        </p:nvGraphicFramePr>
        <p:xfrm>
          <a:off x="1331640" y="3022227"/>
          <a:ext cx="2070230" cy="1454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  <p:sp>
        <p:nvSpPr>
          <p:cNvPr id="20" name="Знак запрета 19"/>
          <p:cNvSpPr/>
          <p:nvPr/>
        </p:nvSpPr>
        <p:spPr>
          <a:xfrm>
            <a:off x="1376646" y="119438"/>
            <a:ext cx="7020779" cy="681492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66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Расчетные фьючерсы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Введены в обращение</a:t>
            </a:r>
            <a:r>
              <a:rPr lang="en-US" dirty="0"/>
              <a:t> </a:t>
            </a:r>
            <a:r>
              <a:rPr lang="en-US" dirty="0" smtClean="0"/>
              <a:t>19</a:t>
            </a:r>
            <a:r>
              <a:rPr lang="ru-RU" dirty="0" smtClean="0"/>
              <a:t> октября </a:t>
            </a:r>
            <a:r>
              <a:rPr lang="en-US" dirty="0" smtClean="0"/>
              <a:t>2012</a:t>
            </a:r>
            <a:r>
              <a:rPr lang="ru-RU" dirty="0" smtClean="0"/>
              <a:t> г.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24" name="Текст 3"/>
          <p:cNvSpPr txBox="1">
            <a:spLocks/>
          </p:cNvSpPr>
          <p:nvPr/>
        </p:nvSpPr>
        <p:spPr>
          <a:xfrm>
            <a:off x="1015999" y="1268413"/>
            <a:ext cx="4321086" cy="8104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Segoe UI" pitchFamily="34" charset="0"/>
                <a:ea typeface="+mn-ea"/>
                <a:cs typeface="Segoe U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egoe UI" pitchFamily="34" charset="0"/>
                <a:ea typeface="+mn-ea"/>
                <a:cs typeface="Segoe U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Segoe UI" pitchFamily="34" charset="0"/>
                <a:ea typeface="+mn-ea"/>
                <a:cs typeface="Segoe U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Наличи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объективного ценового индикатора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38AC8">
                    <a:lumMod val="75000"/>
                  </a:srgbClr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позволяет использовать его для совершения расчетов по фьючерсным контрактам.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652120" y="1268759"/>
            <a:ext cx="3491880" cy="8433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cs typeface="Segoe UI" pitchFamily="34" charset="0"/>
              </a:rPr>
              <a:t>Нет риска выхода на поставку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itchFamily="34" charset="0"/>
              </a:rPr>
              <a:t>Фьючерсный контракт исполняется 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cs typeface="Segoe UI" pitchFamily="34" charset="0"/>
              </a:rPr>
              <a:t>БЕЗ ПОСТАВКИ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itchFamily="34" charset="0"/>
              </a:rPr>
              <a:t>базового актива </a:t>
            </a:r>
          </a:p>
        </p:txBody>
      </p:sp>
      <p:grpSp>
        <p:nvGrpSpPr>
          <p:cNvPr id="26" name="Группа 7"/>
          <p:cNvGrpSpPr/>
          <p:nvPr/>
        </p:nvGrpSpPr>
        <p:grpSpPr>
          <a:xfrm>
            <a:off x="1078671" y="2508111"/>
            <a:ext cx="4320481" cy="2677656"/>
            <a:chOff x="1016604" y="2471397"/>
            <a:chExt cx="4275476" cy="3445374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27" name="Прямоугольник 26"/>
            <p:cNvSpPr/>
            <p:nvPr/>
          </p:nvSpPr>
          <p:spPr>
            <a:xfrm>
              <a:off x="1016604" y="2628138"/>
              <a:ext cx="4275474" cy="3184969"/>
            </a:xfrm>
            <a:prstGeom prst="rect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1016605" y="2471397"/>
              <a:ext cx="4275475" cy="344537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Segoe UI" pitchFamily="34" charset="0"/>
                </a:rPr>
                <a:t>Обращающиеся фьючерсные контракты: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itchFamily="34" charset="0"/>
              </a:endParaRPr>
            </a:p>
            <a:p>
              <a:pPr marL="628650" marR="0" lvl="1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Segoe UI" pitchFamily="34" charset="0"/>
                </a:rPr>
                <a:t>Расчетный фьючерсный контракт на 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индекс СПбМТСБ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–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Регуляр-92</a:t>
              </a:r>
            </a:p>
            <a:p>
              <a:pPr marL="628650" marR="0" lvl="1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Segoe UI" pitchFamily="34" charset="0"/>
                </a:rPr>
                <a:t>Расчетный фьючерсный контракт на 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индекс СПбМТСБ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–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ТС (РТ)</a:t>
              </a:r>
            </a:p>
            <a:p>
              <a:pPr marL="628650" marR="0" lvl="1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Segoe UI" pitchFamily="34" charset="0"/>
                </a:rPr>
                <a:t>Расчетный фьючерсный контракт на 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индекс СПбМТСБ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–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ДТЛ</a:t>
              </a:r>
            </a:p>
            <a:p>
              <a:pPr marL="628650" lvl="1" indent="-342900">
                <a:buFont typeface="+mj-lt"/>
                <a:buAutoNum type="arabicPeriod"/>
                <a:defRPr/>
              </a:pPr>
              <a:r>
                <a:rPr lang="ru-RU" sz="1400" kern="0" dirty="0">
                  <a:solidFill>
                    <a:prstClr val="black"/>
                  </a:solidFill>
                  <a:cs typeface="Segoe UI" pitchFamily="34" charset="0"/>
                </a:rPr>
                <a:t>Расчетный фьючерсный контракт на </a:t>
              </a:r>
              <a:r>
                <a:rPr lang="ru-RU" sz="1400" kern="0" dirty="0">
                  <a:solidFill>
                    <a:schemeClr val="bg2">
                      <a:lumMod val="75000"/>
                    </a:schemeClr>
                  </a:solidFill>
                  <a:cs typeface="Segoe UI" pitchFamily="34" charset="0"/>
                </a:rPr>
                <a:t>индекс СПбМТСБ</a:t>
              </a:r>
              <a:r>
                <a:rPr lang="en-US" sz="1400" kern="0" dirty="0">
                  <a:solidFill>
                    <a:schemeClr val="bg2">
                      <a:lumMod val="75000"/>
                    </a:schemeClr>
                  </a:solidFill>
                  <a:cs typeface="Segoe UI" pitchFamily="34" charset="0"/>
                </a:rPr>
                <a:t> –</a:t>
              </a:r>
              <a:r>
                <a:rPr lang="ru-RU" sz="1400" kern="0" dirty="0">
                  <a:solidFill>
                    <a:schemeClr val="bg2">
                      <a:lumMod val="75000"/>
                    </a:schemeClr>
                  </a:solidFill>
                  <a:cs typeface="Segoe UI" pitchFamily="34" charset="0"/>
                </a:rPr>
                <a:t> </a:t>
              </a:r>
              <a:r>
                <a:rPr lang="ru-RU" sz="1400" kern="0" dirty="0" smtClean="0">
                  <a:solidFill>
                    <a:schemeClr val="bg2">
                      <a:lumMod val="75000"/>
                    </a:schemeClr>
                  </a:solidFill>
                  <a:cs typeface="Segoe UI" pitchFamily="34" charset="0"/>
                </a:rPr>
                <a:t>ДТЗ</a:t>
              </a:r>
              <a:endParaRPr lang="ru-RU" sz="1400" kern="0" dirty="0">
                <a:solidFill>
                  <a:schemeClr val="bg2">
                    <a:lumMod val="75000"/>
                  </a:schemeClr>
                </a:solidFill>
                <a:cs typeface="Segoe UI" pitchFamily="34" charset="0"/>
              </a:endParaRPr>
            </a:p>
            <a:p>
              <a:pPr marL="628650" marR="0" lvl="1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Segoe UI" pitchFamily="34" charset="0"/>
                </a:rPr>
                <a:t>Расчетный фьючерсный контракт на</a:t>
              </a: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7FD13B">
                      <a:lumMod val="75000"/>
                    </a:srgbClr>
                  </a:solidFill>
                  <a:effectLst/>
                  <a:uLnTx/>
                  <a:uFillTx/>
                  <a:cs typeface="Segoe UI" pitchFamily="34" charset="0"/>
                </a:rPr>
                <a:t> 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индекс СПбМТСБ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–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2">
                      <a:lumMod val="75000"/>
                    </a:schemeClr>
                  </a:solidFill>
                  <a:effectLst/>
                  <a:uLnTx/>
                  <a:uFillTx/>
                  <a:cs typeface="Segoe UI" pitchFamily="34" charset="0"/>
                </a:rPr>
                <a:t> Мазут</a:t>
              </a: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5652120" y="2492896"/>
            <a:ext cx="3491880" cy="40774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652121" y="2492896"/>
            <a:ext cx="34918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ru-RU" sz="2400" dirty="0" smtClean="0">
                <a:solidFill>
                  <a:schemeClr val="bg2">
                    <a:lumMod val="75000"/>
                  </a:schemeClr>
                </a:solidFill>
                <a:cs typeface="Segoe UI" pitchFamily="34" charset="0"/>
              </a:rPr>
              <a:t>Преимущества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652120" y="2942946"/>
            <a:ext cx="349188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71475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Репрезентативный индекс, рассчитываемый с 2009 года на основе договоров на ликвидном спот рынке</a:t>
            </a:r>
          </a:p>
          <a:p>
            <a:pPr marL="371475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Более 45 участников на Срочном рынке ЗАО «СПбМТСБ»</a:t>
            </a:r>
          </a:p>
          <a:p>
            <a:pPr marL="371475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Система </a:t>
            </a:r>
            <a:r>
              <a:rPr lang="ru-RU" sz="1400" dirty="0" err="1" smtClean="0">
                <a:solidFill>
                  <a:prstClr val="black"/>
                </a:solidFill>
                <a:cs typeface="Segoe UI" pitchFamily="34" charset="0"/>
              </a:rPr>
              <a:t>рибейтов</a:t>
            </a: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 для брокеров, направленная на повышение ликвидности</a:t>
            </a:r>
          </a:p>
          <a:p>
            <a:pPr marL="371475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Единая организационно технологическая база со спот рынком </a:t>
            </a:r>
          </a:p>
          <a:p>
            <a:pPr marL="371475" indent="-285750">
              <a:spcBef>
                <a:spcPts val="12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Центральный контрагент</a:t>
            </a:r>
            <a:endParaRPr lang="ru-RU" sz="1400" dirty="0">
              <a:solidFill>
                <a:prstClr val="black"/>
              </a:solidFill>
              <a:cs typeface="Segoe UI" pitchFamily="34" charset="0"/>
            </a:endParaRPr>
          </a:p>
        </p:txBody>
      </p:sp>
      <p:pic>
        <p:nvPicPr>
          <p:cNvPr id="34" name="Picture 3" descr="C:\Documents and Settings\vondrukhov\Рабочий стол\цистерна.bm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37003" y="105535"/>
            <a:ext cx="2506997" cy="966886"/>
          </a:xfrm>
          <a:prstGeom prst="rect">
            <a:avLst/>
          </a:prstGeom>
          <a:noFill/>
        </p:spPr>
      </p:pic>
      <p:sp>
        <p:nvSpPr>
          <p:cNvPr id="37" name="Знак запрета 36"/>
          <p:cNvSpPr/>
          <p:nvPr/>
        </p:nvSpPr>
        <p:spPr>
          <a:xfrm>
            <a:off x="7317305" y="45005"/>
            <a:ext cx="1080120" cy="1088740"/>
          </a:xfrm>
          <a:prstGeom prst="noSmoking">
            <a:avLst>
              <a:gd name="adj" fmla="val 10092"/>
            </a:avLst>
          </a:prstGeom>
          <a:solidFill>
            <a:srgbClr val="FEB80A"/>
          </a:solidFill>
          <a:ln w="25400" cap="flat" cmpd="sng" algn="ctr">
            <a:solidFill>
              <a:srgbClr val="FEB80A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9199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7885939"/>
              </p:ext>
            </p:extLst>
          </p:nvPr>
        </p:nvGraphicFramePr>
        <p:xfrm>
          <a:off x="1183106" y="998541"/>
          <a:ext cx="7555209" cy="3798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0634"/>
                <a:gridCol w="1231880"/>
                <a:gridCol w="208280"/>
                <a:gridCol w="2588243"/>
                <a:gridCol w="1156172"/>
              </a:tblGrid>
              <a:tr h="37244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j-lt"/>
                        </a:rPr>
                        <a:t>Расчетный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Поставочный</a:t>
                      </a:r>
                      <a:endParaRPr lang="ru-RU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0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62073"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- это заключаемый в ходе биржевых торгов договор в соответствии с которым стороны </a:t>
                      </a:r>
                      <a:r>
                        <a:rPr lang="ru-RU" sz="1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обязуются на определенную дату выплатить  разницу между ценой покупки и продажи</a:t>
                      </a:r>
                      <a:r>
                        <a:rPr lang="ru-RU" sz="1000" dirty="0" smtClean="0"/>
                        <a:t> фьючерса и ценой исполнения.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Базовый актив расчетных фьючерсов – </a:t>
                      </a:r>
                      <a:r>
                        <a:rPr lang="ru-RU" sz="1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Индексы СПбМТСБ</a:t>
                      </a:r>
                      <a:r>
                        <a:rPr lang="ru-RU" sz="1000" dirty="0" smtClean="0"/>
                        <a:t>,  четко и оперативно отражающие динамику рынка нефтепродуктов в России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just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то заключаемый в ходе биржевых торгов договор, предусматривающий </a:t>
                      </a:r>
                      <a:r>
                        <a:rPr lang="ru-RU" sz="10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обязательство осуществить или принять поставку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ределенного количества товара в указанном месте в определенное время в будущем. Все условия фьючерса являются стандартными, кроме цены, которая определяется в ходе торгов, исходя из складывающейся конъюнктуры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Поставочные фьючерсы исполняются через биржевой спот-рынок:</a:t>
                      </a:r>
                    </a:p>
                    <a:p>
                      <a:endParaRPr lang="ru-RU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64096"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Цена исполнения таких фьючерсов определяется </a:t>
                      </a:r>
                      <a:r>
                        <a:rPr lang="ru-RU" sz="1000" dirty="0" smtClean="0">
                          <a:solidFill>
                            <a:srgbClr val="0090D6"/>
                          </a:solidFill>
                        </a:rPr>
                        <a:t>исходя из значений Индексов</a:t>
                      </a:r>
                      <a:r>
                        <a:rPr lang="ru-RU" sz="1000" baseline="0" dirty="0" smtClean="0">
                          <a:solidFill>
                            <a:srgbClr val="0090D6"/>
                          </a:solidFill>
                        </a:rPr>
                        <a:t> </a:t>
                      </a:r>
                      <a:r>
                        <a:rPr lang="ru-RU" sz="1000" dirty="0" smtClean="0"/>
                        <a:t>в заранее установленный Правилами Биржи последний день обращения фьючерсов.</a:t>
                      </a:r>
                      <a:r>
                        <a:rPr lang="ru-RU" sz="1000" baseline="0" dirty="0" smtClean="0"/>
                        <a:t> </a:t>
                      </a:r>
                      <a:endParaRPr lang="ru-RU" sz="10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endParaRPr lang="ru-RU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Цена исполнения таких фьючерсов определяется как расчетная цена фьючерса, сложившаяся на фьючерсном рынке в заранее установленный Правилами Биржи последний день обращения фьючерсов. </a:t>
                      </a:r>
                      <a:endParaRPr lang="ru-RU" sz="1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рочный рынок СПбМТСБ</a:t>
            </a:r>
            <a:endParaRPr lang="ru-RU" dirty="0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115616" y="641039"/>
            <a:ext cx="8028384" cy="540060"/>
          </a:xfrm>
        </p:spPr>
        <p:txBody>
          <a:bodyPr/>
          <a:lstStyle/>
          <a:p>
            <a:r>
              <a:rPr lang="ru-RU" dirty="0" smtClean="0"/>
              <a:t> </a:t>
            </a:r>
            <a:r>
              <a:rPr lang="ru-RU" dirty="0"/>
              <a:t>Виды фьючерсных контрактов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1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59633" y="2826366"/>
            <a:ext cx="1944215" cy="962674"/>
          </a:xfrm>
          <a:prstGeom prst="rect">
            <a:avLst/>
          </a:prstGeom>
          <a:solidFill>
            <a:schemeClr val="bg1"/>
          </a:solidFill>
        </p:spPr>
        <p:txBody>
          <a:bodyPr wrap="square" lIns="99925" tIns="49962" rIns="99925" bIns="49962" rtlCol="0">
            <a:spAutoFit/>
          </a:bodyPr>
          <a:lstStyle/>
          <a:p>
            <a:pPr lvl="1">
              <a:lnSpc>
                <a:spcPct val="112000"/>
              </a:lnSpc>
            </a:pPr>
            <a:r>
              <a:rPr lang="ru-RU" sz="1000" dirty="0">
                <a:solidFill>
                  <a:prstClr val="black"/>
                </a:solidFill>
              </a:rPr>
              <a:t>на Индекс Регуляр-92</a:t>
            </a:r>
          </a:p>
          <a:p>
            <a:pPr lvl="1">
              <a:lnSpc>
                <a:spcPct val="112000"/>
              </a:lnSpc>
            </a:pPr>
            <a:r>
              <a:rPr lang="ru-RU" sz="1000" dirty="0">
                <a:solidFill>
                  <a:prstClr val="black"/>
                </a:solidFill>
              </a:rPr>
              <a:t>на Индекс ТС (РТ)</a:t>
            </a:r>
          </a:p>
          <a:p>
            <a:pPr lvl="1">
              <a:lnSpc>
                <a:spcPct val="112000"/>
              </a:lnSpc>
            </a:pPr>
            <a:r>
              <a:rPr lang="ru-RU" sz="1000" dirty="0">
                <a:solidFill>
                  <a:prstClr val="black"/>
                </a:solidFill>
              </a:rPr>
              <a:t>на Индекс ДТЛ</a:t>
            </a:r>
          </a:p>
          <a:p>
            <a:pPr lvl="1">
              <a:lnSpc>
                <a:spcPct val="112000"/>
              </a:lnSpc>
            </a:pPr>
            <a:r>
              <a:rPr lang="ru-RU" sz="1000" dirty="0">
                <a:solidFill>
                  <a:prstClr val="black"/>
                </a:solidFill>
              </a:rPr>
              <a:t>на Индекс ДТЗ</a:t>
            </a:r>
          </a:p>
          <a:p>
            <a:pPr lvl="1">
              <a:lnSpc>
                <a:spcPct val="112000"/>
              </a:lnSpc>
            </a:pPr>
            <a:r>
              <a:rPr lang="ru-RU" sz="1000" dirty="0">
                <a:solidFill>
                  <a:prstClr val="black"/>
                </a:solidFill>
              </a:rPr>
              <a:t>на Индекс Мазута</a:t>
            </a:r>
          </a:p>
        </p:txBody>
      </p:sp>
      <p:pic>
        <p:nvPicPr>
          <p:cNvPr id="12" name="Picture 2" descr="http://spimex.com/images/indexes/RE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2907992"/>
            <a:ext cx="252000" cy="13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spimex.com/images/indexes/DTL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268032"/>
            <a:ext cx="252000" cy="13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://spimex.com/images/indexes/TRD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061623"/>
            <a:ext cx="252000" cy="13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spimex.com/images/indexes/MZ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556064"/>
            <a:ext cx="252000" cy="134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spimex.com/images/indexes/DTZ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421664"/>
            <a:ext cx="252000" cy="13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5086957" y="3079296"/>
            <a:ext cx="2725403" cy="78175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lvl="1" indent="-171450">
              <a:lnSpc>
                <a:spcPct val="112000"/>
              </a:lnSpc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</a:rPr>
              <a:t>на Регуляр-92 на базисе «Кириши»</a:t>
            </a:r>
          </a:p>
          <a:p>
            <a:pPr marL="342900" lvl="1" indent="-171450">
              <a:lnSpc>
                <a:spcPct val="112000"/>
              </a:lnSpc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</a:rPr>
              <a:t>на Премиум-95 на базисе «Кириши»</a:t>
            </a:r>
          </a:p>
          <a:p>
            <a:pPr marL="342900" lvl="1" indent="-171450">
              <a:lnSpc>
                <a:spcPct val="112000"/>
              </a:lnSpc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</a:rPr>
              <a:t>на ДТЛ на базисе «Кириши»</a:t>
            </a:r>
          </a:p>
          <a:p>
            <a:pPr marL="342900" lvl="1" indent="-171450">
              <a:lnSpc>
                <a:spcPct val="112000"/>
              </a:lnSpc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</a:rPr>
              <a:t>на ДТЗ на базисе «Кириши»</a:t>
            </a:r>
          </a:p>
        </p:txBody>
      </p:sp>
      <p:pic>
        <p:nvPicPr>
          <p:cNvPr id="19" name="Picture 3" descr="C:\Documents and Settings\vondrukhov\Рабочий стол\цистерна.bmp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07904" y="1058447"/>
            <a:ext cx="815317" cy="314447"/>
          </a:xfrm>
          <a:prstGeom prst="rect">
            <a:avLst/>
          </a:prstGeom>
          <a:noFill/>
        </p:spPr>
      </p:pic>
      <p:sp>
        <p:nvSpPr>
          <p:cNvPr id="20" name="Знак запрета 19"/>
          <p:cNvSpPr/>
          <p:nvPr/>
        </p:nvSpPr>
        <p:spPr>
          <a:xfrm>
            <a:off x="3942401" y="997917"/>
            <a:ext cx="334036" cy="336827"/>
          </a:xfrm>
          <a:prstGeom prst="noSmoking">
            <a:avLst>
              <a:gd name="adj" fmla="val 10092"/>
            </a:avLst>
          </a:prstGeom>
          <a:solidFill>
            <a:srgbClr val="FEB80A"/>
          </a:solidFill>
          <a:ln w="19050" cap="flat" cmpd="sng" algn="ctr">
            <a:solidFill>
              <a:srgbClr val="FEB80A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7729451" y="861727"/>
            <a:ext cx="961019" cy="707886"/>
            <a:chOff x="7777296" y="1117633"/>
            <a:chExt cx="961019" cy="707886"/>
          </a:xfrm>
        </p:grpSpPr>
        <p:pic>
          <p:nvPicPr>
            <p:cNvPr id="21" name="Picture 3" descr="C:\Documents and Settings\vondrukhov\Рабочий стол\цистерна.bmp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777296" y="1314353"/>
              <a:ext cx="815317" cy="314447"/>
            </a:xfrm>
            <a:prstGeom prst="rect">
              <a:avLst/>
            </a:prstGeom>
            <a:noFill/>
          </p:spPr>
        </p:pic>
        <p:sp>
          <p:nvSpPr>
            <p:cNvPr id="25" name="TextBox 24"/>
            <p:cNvSpPr txBox="1"/>
            <p:nvPr/>
          </p:nvSpPr>
          <p:spPr>
            <a:xfrm>
              <a:off x="7955228" y="1117633"/>
              <a:ext cx="78308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Wingdings" pitchFamily="2" charset="2"/>
                <a:buChar char="ü"/>
              </a:pPr>
              <a:r>
                <a:rPr lang="ru-RU" sz="4000" dirty="0">
                  <a:solidFill>
                    <a:srgbClr val="92D050"/>
                  </a:solidFill>
                </a:rPr>
                <a:t> 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8023135" y="1263017"/>
              <a:ext cx="323637" cy="31843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prstClr val="white"/>
                </a:solidFill>
                <a:latin typeface="Segoe UI Light" pitchFamily="34" charset="0"/>
              </a:rPr>
              <a:t>2</a:t>
            </a:r>
            <a:endParaRPr lang="ru-RU" sz="96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2821007668"/>
              </p:ext>
            </p:extLst>
          </p:nvPr>
        </p:nvGraphicFramePr>
        <p:xfrm>
          <a:off x="1105474" y="4769768"/>
          <a:ext cx="7557505" cy="208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911810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Краткая спецификация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14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Рисунок 9" descr="Лого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37385" y="8620"/>
            <a:ext cx="983630" cy="65250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1840996"/>
              </p:ext>
            </p:extLst>
          </p:nvPr>
        </p:nvGraphicFramePr>
        <p:xfrm>
          <a:off x="1556665" y="728700"/>
          <a:ext cx="7290809" cy="46761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5408"/>
                <a:gridCol w="2975051"/>
                <a:gridCol w="3150350"/>
              </a:tblGrid>
              <a:tr h="4650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</a:rPr>
                        <a:t>Расчетный фьючерсный контракт </a:t>
                      </a:r>
                      <a:endParaRPr lang="ru-RU" sz="1000" dirty="0" smtClean="0">
                        <a:solidFill>
                          <a:srgbClr val="FF0000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FF0000"/>
                          </a:solidFill>
                          <a:effectLst/>
                        </a:rPr>
                        <a:t>на Бензин92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</a:rPr>
                        <a:t>Расчётный фьючерсный </a:t>
                      </a:r>
                      <a:r>
                        <a:rPr lang="ru-RU" sz="1000" dirty="0" smtClean="0">
                          <a:solidFill>
                            <a:srgbClr val="0070C0"/>
                          </a:solidFill>
                          <a:effectLst/>
                        </a:rPr>
                        <a:t>контракт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70C0"/>
                          </a:solidFill>
                          <a:effectLst/>
                        </a:rPr>
                        <a:t>на </a:t>
                      </a:r>
                      <a:r>
                        <a:rPr lang="ru-RU" sz="1000" dirty="0">
                          <a:solidFill>
                            <a:srgbClr val="0070C0"/>
                          </a:solidFill>
                          <a:effectLst/>
                        </a:rPr>
                        <a:t>Дизель</a:t>
                      </a:r>
                      <a:endParaRPr lang="ru-RU" sz="100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</a:tr>
              <a:tr h="795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Базовый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акти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Индекс нефтепродуктов </a:t>
                      </a:r>
                      <a:r>
                        <a:rPr lang="ru-RU" sz="1000" b="1" dirty="0" smtClean="0">
                          <a:effectLst/>
                        </a:rPr>
                        <a:t>СПбМТСБ–Регуляр92</a:t>
                      </a:r>
                      <a:r>
                        <a:rPr lang="ru-RU" sz="1000" dirty="0">
                          <a:effectLst/>
                        </a:rPr>
                        <a:t>, </a:t>
                      </a:r>
                      <a:endParaRPr lang="ru-RU" sz="10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рассчитываемый </a:t>
                      </a:r>
                      <a:r>
                        <a:rPr lang="ru-RU" sz="1000" dirty="0">
                          <a:effectLst/>
                        </a:rPr>
                        <a:t>в соответствии с Методикой расчета индексов цен нефтепродуктов ЗАО «СПбМТСБ».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Индекс нефтепродуктов </a:t>
                      </a:r>
                      <a:r>
                        <a:rPr lang="ru-RU" sz="1000" b="1" dirty="0" smtClean="0">
                          <a:effectLst/>
                        </a:rPr>
                        <a:t>СПбМТСБ–ДТЛ</a:t>
                      </a:r>
                      <a:r>
                        <a:rPr lang="ru-RU" sz="1000" dirty="0">
                          <a:effectLst/>
                        </a:rPr>
                        <a:t>, рассчитываемый в соответствии с Методикой расчета индексов цен нефтепродуктов ЗАО «СПбМТСБ»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</a:tr>
              <a:tr h="232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Объем контракт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 тонна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10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Порядок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исполн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Расчётный,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без поставки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34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Валюта расчёт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Рубль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894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Цена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исполнения 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Среднеарифметическое значение Индекса </a:t>
                      </a:r>
                      <a:r>
                        <a:rPr lang="ru-RU" sz="1000" dirty="0">
                          <a:effectLst/>
                        </a:rPr>
                        <a:t>нефтепродуктов СПбМТСБ–Регуляр92, рассчитанное по итогам 5 последних рабочих дней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Среднеарифметическое значение Индекса</a:t>
                      </a:r>
                      <a:r>
                        <a:rPr lang="ru-RU" sz="1000" dirty="0">
                          <a:effectLst/>
                        </a:rPr>
                        <a:t> нефтепродуктов СПбМТСБ–ДТЛ, рассчитанное по итогам 5 последних рабочих дней </a:t>
                      </a:r>
                      <a:endParaRPr lang="ru-RU" sz="1100" dirty="0">
                        <a:effectLst/>
                      </a:endParaRPr>
                    </a:p>
                  </a:txBody>
                  <a:tcPr marL="64513" marR="64513" marT="0" marB="0"/>
                </a:tc>
              </a:tr>
              <a:tr h="5056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Дата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исполн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следний торговый день месяца, кроме декабря. </a:t>
                      </a:r>
                      <a:endParaRPr lang="ru-RU" sz="10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Декабрьские </a:t>
                      </a:r>
                      <a:r>
                        <a:rPr lang="ru-RU" sz="1000" dirty="0">
                          <a:effectLst/>
                        </a:rPr>
                        <a:t>фьючерсы исполняются 20-го декабря.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50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</a:rPr>
                        <a:t>Время </a:t>
                      </a: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</a:rPr>
                        <a:t>торг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рабочие дн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1:00 – 16:00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4513" marR="6451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2329318829"/>
              </p:ext>
            </p:extLst>
          </p:nvPr>
        </p:nvGraphicFramePr>
        <p:xfrm>
          <a:off x="1601670" y="5319210"/>
          <a:ext cx="7419345" cy="1538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75695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5" y="-99392"/>
            <a:ext cx="8028385" cy="648072"/>
          </a:xfrm>
        </p:spPr>
        <p:txBody>
          <a:bodyPr>
            <a:noAutofit/>
          </a:bodyPr>
          <a:lstStyle/>
          <a:p>
            <a:r>
              <a:rPr lang="ru-RU" sz="2400" dirty="0" smtClean="0"/>
              <a:t>Спецификации </a:t>
            </a:r>
            <a:r>
              <a:rPr lang="ru-RU" sz="2400" dirty="0"/>
              <a:t>фьючерсных контрактов </a:t>
            </a:r>
            <a:r>
              <a:rPr lang="ru-RU" sz="2400" dirty="0" smtClean="0"/>
              <a:t>СПбМТСБ</a:t>
            </a:r>
            <a:r>
              <a:rPr lang="ru-RU" sz="2400" dirty="0"/>
              <a:t>»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15</a:t>
            </a:fld>
            <a:endParaRPr lang="ru-RU" dirty="0">
              <a:solidFill>
                <a:prstClr val="white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609513"/>
              </p:ext>
            </p:extLst>
          </p:nvPr>
        </p:nvGraphicFramePr>
        <p:xfrm>
          <a:off x="1115616" y="476672"/>
          <a:ext cx="7632848" cy="5961171"/>
        </p:xfrm>
        <a:graphic>
          <a:graphicData uri="http://schemas.openxmlformats.org/drawingml/2006/table">
            <a:tbl>
              <a:tblPr>
                <a:tableStyleId>{6E25E649-3F16-4E02-A733-19D2CDBF48F0}</a:tableStyleId>
              </a:tblPr>
              <a:tblGrid>
                <a:gridCol w="824876"/>
                <a:gridCol w="1911428"/>
                <a:gridCol w="1872208"/>
                <a:gridCol w="1512168"/>
                <a:gridCol w="1512168"/>
              </a:tblGrid>
              <a:tr h="6605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Наименование контракта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Расчетный фьючерсный контракт на Индекс нефтепродуктов СПбМТСБ - ДТЛ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Расчетный фьючерсный контракт на Индекс нефтепродуктов СПбМТСБ - Регуляр-92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Расчетный фьючерсный контракт на Индекс нефтепродуктов СПбМТСБ - </a:t>
                      </a:r>
                      <a:r>
                        <a:rPr lang="ru-RU" sz="800" dirty="0" smtClean="0">
                          <a:effectLst/>
                        </a:rPr>
                        <a:t> Авиакеросин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Расчетный фьючерсный контракт на Индекс нефтепродуктов СПбМТСБ - мазут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3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Кодировка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FSIDTLVLI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FSIREGVLI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FSITRDVLI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FSIMZTVLI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63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Тип контракта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расчетный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счетны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счетны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счетны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59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Базовый актив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нефтепродуктов СПбМТСБ–ДТЛ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нефтепродуктов СПбМТСБ–Регуляр-92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нефтепродуктов СПбМТСБ–ТС(РТ)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нефтепродуктов СПбМТСБ–Мазут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Котировка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ндекс стоимости 1 тонны в рублях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стоимости 1 тонны в рублях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ндекс стоимости 1 тонны в рублях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ндекс стоимости 1 тонны в рублях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Объем контракта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 тонн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 тонна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 тонн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 тонна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Последний день торгов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ледний торговый день месяца исполн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следний торговый день месяца исполне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следний торговый день месяца исполне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ледний торговый день месяца исполн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00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День/период исполнения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ледний торговый день месяца исполн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следний торговый день месяца исполне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ледний торговый день месяца исполн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ледний торговый день месяца исполнения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10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Цена исполнения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среднее арифметическое значений индекса за 5 дней до исполнения, но в пределах установленного лимита изменения цены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реднее арифметическое значений индекса за 5 дней до исполнения, но в пределах установленного лимита изменения цены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реднее арифметическое значений индекса за 5 дней до исполнения, но в пределах установленного лимита изменения цены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среднее арифметическое значений индекса за 5 дней до исполнения, но в пределах установленного лимита изменения цены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58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Исполнение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счетны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расчетный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расчетный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счетный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497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</a:rPr>
                        <a:t>Биржевой сбор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,14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,14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5,14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,71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</a:rPr>
                        <a:t>Клиринговый сбор</a:t>
                      </a:r>
                      <a:endParaRPr lang="ru-RU" sz="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,86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,86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,86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,28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5779" marR="2577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359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16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 descr="Лого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37385" y="8620"/>
            <a:ext cx="983630" cy="652502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070863" y="186342"/>
            <a:ext cx="8127395" cy="6386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32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smtClean="0"/>
              <a:t>Заявки в торгах</a:t>
            </a:r>
            <a:br>
              <a:rPr lang="ru-RU" smtClean="0"/>
            </a:br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430890" y="3834045"/>
            <a:ext cx="7245805" cy="15901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ts val="2000"/>
              </a:lnSpc>
              <a:defRPr/>
            </a:pPr>
            <a:r>
              <a:rPr lang="ru-RU" sz="1600" dirty="0">
                <a:latin typeface="Segoe UI" pitchFamily="34" charset="0"/>
                <a:cs typeface="Segoe UI" pitchFamily="34" charset="0"/>
              </a:rPr>
              <a:t>В ходе торгов на 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фьючерсном рынке </a:t>
            </a:r>
            <a:r>
              <a:rPr lang="ru-RU" sz="1600" dirty="0">
                <a:latin typeface="Segoe UI" pitchFamily="34" charset="0"/>
                <a:cs typeface="Segoe UI" pitchFamily="34" charset="0"/>
              </a:rPr>
              <a:t>СПбМТСБ 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работают </a:t>
            </a:r>
            <a:r>
              <a:rPr lang="ru-RU" b="1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6 маркет-мейкеров</a:t>
            </a:r>
            <a:endParaRPr lang="ru-RU" b="1" dirty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  <a:p>
            <a:endParaRPr lang="ru-RU" sz="1600" dirty="0">
              <a:latin typeface="Segoe UI" pitchFamily="34" charset="0"/>
              <a:cs typeface="Segoe UI" pitchFamily="34" charset="0"/>
            </a:endParaRPr>
          </a:p>
          <a:p>
            <a:pPr algn="just"/>
            <a:r>
              <a:rPr lang="ru-RU" sz="1600" dirty="0">
                <a:latin typeface="Segoe UI" pitchFamily="34" charset="0"/>
                <a:cs typeface="Segoe UI" pitchFamily="34" charset="0"/>
              </a:rPr>
              <a:t>Маркет-мейкеры обязаны 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выставлять </a:t>
            </a:r>
            <a:r>
              <a:rPr lang="ru-RU" sz="1600" dirty="0">
                <a:latin typeface="Segoe UI" pitchFamily="34" charset="0"/>
                <a:cs typeface="Segoe UI" pitchFamily="34" charset="0"/>
              </a:rPr>
              <a:t>заявки на покупку и продажу с фиксированными 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спрэдом (разницей) </a:t>
            </a:r>
            <a:r>
              <a:rPr lang="ru-RU" sz="1600" dirty="0">
                <a:latin typeface="Segoe UI" pitchFamily="34" charset="0"/>
                <a:cs typeface="Segoe UI" pitchFamily="34" charset="0"/>
              </a:rPr>
              <a:t>и объемом, что позволяет формировать первичную </a:t>
            </a:r>
            <a:r>
              <a:rPr lang="ru-RU" sz="1600" dirty="0" smtClean="0">
                <a:latin typeface="Segoe UI" pitchFamily="34" charset="0"/>
                <a:cs typeface="Segoe UI" pitchFamily="34" charset="0"/>
              </a:rPr>
              <a:t>ликвидность торгов.</a:t>
            </a:r>
            <a:endParaRPr lang="ru-RU" sz="1600" dirty="0"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82946" name="Picture 2" descr="C:\Users\sergeev\Documents\фото 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625" y="998730"/>
            <a:ext cx="4038603" cy="2453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48" name="Picture 4" descr="C:\Users\sergeev\Documents\фото 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793" y="960822"/>
            <a:ext cx="3967221" cy="2528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4687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Клиринг торгов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Секции Срочного рынка ЗАО «СПбМТСБ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51620" y="1133745"/>
            <a:ext cx="4572000" cy="4962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Segoe UI" pitchFamily="34" charset="0"/>
              </a:rPr>
              <a:t>* </a:t>
            </a:r>
            <a:r>
              <a:rPr kumimoji="0" lang="ru-RU" altLang="ru-RU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РДК (ЗАО) – Расчётно-Депозитарная Компания 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- единственная клиринговая организация в России, специализирующаяся на обслуживании клиентов в сегменте товарного рынка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 РДК (ЗАО) работает на финансовом рынке России с 1998 года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 РДК (ЗАО) имеет значительный практический опыт проведения клиринга на товарных рынках: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- на рынке нефтепродуктов </a:t>
            </a: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на рынке сырой нефти</a:t>
            </a:r>
          </a:p>
          <a:p>
            <a:pPr marL="171450" marR="0" lvl="1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ru-RU" altLang="ru-RU" sz="1100" b="1" kern="0" noProof="0" dirty="0" smtClean="0"/>
              <a:t>на рынке газа</a:t>
            </a:r>
            <a:endParaRPr kumimoji="0" lang="ru-RU" altLang="ru-RU" sz="11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- на рынке зерна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- на срочном рынке (ССР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 Аккредитовано более </a:t>
            </a:r>
            <a:r>
              <a:rPr kumimoji="0" lang="ru-RU" alt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789 участников клиринга 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(Роснефть, Газпромнефть, ЛУКОЙЛ-</a:t>
            </a:r>
            <a:r>
              <a:rPr kumimoji="0" lang="ru-RU" altLang="ru-RU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Резервнефтепродукт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, Сургутэкс, Татнефть, </a:t>
            </a:r>
            <a:r>
              <a:rPr kumimoji="0" lang="ru-RU" altLang="ru-RU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Транснефтепродукт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 и др.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 Собственные средства РДК (ЗАО) составляют </a:t>
            </a:r>
            <a:r>
              <a:rPr kumimoji="0" lang="ru-RU" alt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1,6 млрд. рублей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Размер капитала </a:t>
            </a:r>
            <a:r>
              <a:rPr kumimoji="0" lang="ru-RU" alt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более чем в 5 раз 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превосходит минимальный уровень, установленный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European Market Infrastructure Regulation </a:t>
            </a:r>
            <a:r>
              <a:rPr kumimoji="0" lang="ru-RU" alt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EMIR (7,5 млн. евро)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Денежные </a:t>
            </a: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расчеты на срочном рынке осуществляются через крупнейшие </a:t>
            </a: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банки (Сбербанк, Газпромбанк, ВТБ, Альфа, ВБРР)  и </a:t>
            </a: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НКО ЗАО </a:t>
            </a: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НРД (обеспечен быстрый </a:t>
            </a: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перевод средств между </a:t>
            </a: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СПбМТСБ </a:t>
            </a: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и </a:t>
            </a: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Московской биржей)</a:t>
            </a: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* </a:t>
            </a: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cs typeface="Segoe UI" pitchFamily="34" charset="0"/>
              </a:rPr>
              <a:t>ГО срочном рынке:  рубли, валюта, банковские гарантии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Segoe U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723620" y="1718810"/>
            <a:ext cx="3294366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b="1" kern="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Standard </a:t>
            </a:r>
            <a:r>
              <a:rPr lang="en-US" sz="14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Portfolio Analysis of Risk</a:t>
            </a:r>
            <a:r>
              <a:rPr lang="ru-RU" sz="14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 (</a:t>
            </a:r>
            <a:r>
              <a:rPr lang="en-US" sz="14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SPAN®</a:t>
            </a:r>
            <a:r>
              <a:rPr lang="ru-RU" sz="14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)</a:t>
            </a:r>
            <a:r>
              <a:rPr lang="en-US" sz="1400" b="1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en-US" sz="1400" kern="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–</a:t>
            </a:r>
            <a:r>
              <a:rPr lang="ru-RU" sz="1400" kern="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стандарт</a:t>
            </a:r>
            <a:r>
              <a:rPr lang="en-US" sz="1400" kern="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ru-RU" sz="1400" kern="0" dirty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в области клиринговой деятельности и расчета обязательств</a:t>
            </a:r>
            <a:r>
              <a:rPr lang="ru-RU" sz="1400" kern="0" dirty="0" smtClean="0">
                <a:solidFill>
                  <a:srgbClr val="002060"/>
                </a:solidFill>
                <a:latin typeface="Segoe UI" pitchFamily="34" charset="0"/>
                <a:cs typeface="Segoe UI" pitchFamily="34" charset="0"/>
              </a:rPr>
              <a:t>. В клиринге РДК : </a:t>
            </a:r>
          </a:p>
          <a:p>
            <a:endParaRPr lang="ru-RU" sz="1400" kern="0" dirty="0" smtClean="0">
              <a:solidFill>
                <a:srgbClr val="002060"/>
              </a:solidFill>
              <a:latin typeface="Segoe UI" pitchFamily="34" charset="0"/>
              <a:cs typeface="Segoe UI" pitchFamily="34" charset="0"/>
            </a:endParaRPr>
          </a:p>
          <a:p>
            <a:pPr lvl="1"/>
            <a:r>
              <a:rPr lang="ru-RU" sz="1400" b="1" dirty="0" smtClean="0"/>
              <a:t>- Календарные спрэды</a:t>
            </a:r>
            <a:endParaRPr lang="ru-RU" sz="1400" b="1" dirty="0"/>
          </a:p>
          <a:p>
            <a:pPr lvl="1"/>
            <a:endParaRPr lang="ru-RU" sz="1400" b="1" dirty="0" smtClean="0"/>
          </a:p>
          <a:p>
            <a:pPr lvl="1"/>
            <a:r>
              <a:rPr lang="ru-RU" sz="1400" b="1" dirty="0" smtClean="0"/>
              <a:t>- </a:t>
            </a:r>
            <a:r>
              <a:rPr lang="ru-RU" sz="1400" b="1" dirty="0" err="1" smtClean="0"/>
              <a:t>Межконтрактные</a:t>
            </a:r>
            <a:r>
              <a:rPr lang="ru-RU" sz="1400" b="1" dirty="0" smtClean="0"/>
              <a:t> спрэды</a:t>
            </a:r>
            <a:endParaRPr lang="ru-RU" sz="1400" b="1" dirty="0"/>
          </a:p>
          <a:p>
            <a:pPr lvl="1"/>
            <a:endParaRPr lang="ru-RU" sz="1400" b="1" dirty="0" smtClean="0"/>
          </a:p>
          <a:p>
            <a:pPr marL="628650" lvl="1" indent="-171450">
              <a:buFontTx/>
              <a:buChar char="-"/>
            </a:pPr>
            <a:r>
              <a:rPr lang="ru-RU" sz="1400" b="1" dirty="0" smtClean="0"/>
              <a:t>Портфельное </a:t>
            </a:r>
            <a:r>
              <a:rPr lang="ru-RU" sz="1400" b="1" dirty="0" err="1" smtClean="0"/>
              <a:t>маржирование</a:t>
            </a:r>
            <a:r>
              <a:rPr lang="ru-RU" sz="1400" b="1" dirty="0" smtClean="0"/>
              <a:t> </a:t>
            </a:r>
          </a:p>
          <a:p>
            <a:pPr marL="628650" lvl="1" indent="-171450">
              <a:buFontTx/>
              <a:buChar char="-"/>
            </a:pPr>
            <a:endParaRPr lang="ru-RU" sz="1400" b="1" dirty="0"/>
          </a:p>
          <a:p>
            <a:pPr marL="628650" lvl="1" indent="-171450">
              <a:buFontTx/>
              <a:buChar char="-"/>
            </a:pPr>
            <a:r>
              <a:rPr lang="ru-RU" sz="1400" b="1" dirty="0" smtClean="0"/>
              <a:t>Полный </a:t>
            </a:r>
            <a:r>
              <a:rPr lang="ru-RU" sz="1400" b="1" dirty="0" err="1" smtClean="0"/>
              <a:t>неттинг</a:t>
            </a:r>
            <a:endParaRPr lang="ru-RU" sz="1400" b="1" dirty="0" smtClean="0"/>
          </a:p>
          <a:p>
            <a:pPr lvl="1"/>
            <a:r>
              <a:rPr lang="ru-RU" sz="1400" b="1" dirty="0" smtClean="0"/>
              <a:t>(по </a:t>
            </a:r>
            <a:r>
              <a:rPr lang="ru-RU" sz="1400" b="1" dirty="0"/>
              <a:t>встречным позициям в одном портфеле </a:t>
            </a:r>
            <a:r>
              <a:rPr lang="ru-RU" sz="1400" b="1" dirty="0" smtClean="0"/>
              <a:t>ГО=0)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395110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равнение динамик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лайд </a:t>
            </a:r>
            <a:fld id="{8A883B3C-0F63-49CF-83A2-AD4574F642BA}" type="slidenum">
              <a:rPr lang="ru-RU" smtClean="0"/>
              <a:pPr/>
              <a:t>18</a:t>
            </a:fld>
            <a:endParaRPr lang="ru-RU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9468749"/>
              </p:ext>
            </p:extLst>
          </p:nvPr>
        </p:nvGraphicFramePr>
        <p:xfrm>
          <a:off x="1403350" y="476250"/>
          <a:ext cx="7272338" cy="431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6" r:id="rId3" imgW="30772683" imgH="18239577" progId="">
                  <p:embed/>
                </p:oleObj>
              </mc:Choice>
              <mc:Fallback>
                <p:oleObj r:id="rId3" imgW="30772683" imgH="1823957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3350" y="476250"/>
                        <a:ext cx="7272338" cy="43116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979712" y="2721694"/>
            <a:ext cx="56166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bg1"/>
                </a:solidFill>
              </a:rPr>
              <a:t>Индикаторы</a:t>
            </a:r>
            <a:endParaRPr lang="ru-RU" sz="4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962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5" y="244783"/>
            <a:ext cx="8028385" cy="766325"/>
          </a:xfrm>
        </p:spPr>
        <p:txBody>
          <a:bodyPr>
            <a:noAutofit/>
          </a:bodyPr>
          <a:lstStyle/>
          <a:p>
            <a:pPr lvl="0"/>
            <a:r>
              <a:rPr lang="ru-RU" sz="2400" dirty="0"/>
              <a:t>Динамика цен на </a:t>
            </a:r>
            <a:r>
              <a:rPr lang="ru-RU" sz="2400" dirty="0" smtClean="0"/>
              <a:t>Московских АЗС</a:t>
            </a:r>
            <a:br>
              <a:rPr lang="ru-RU" sz="2400" dirty="0" smtClean="0"/>
            </a:b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22308" y="6440125"/>
            <a:ext cx="67057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i="1" dirty="0" smtClean="0"/>
              <a:t>* По данным Московской топливной ассоциации</a:t>
            </a:r>
            <a:endParaRPr lang="ru-RU" sz="1050" i="1" dirty="0"/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2377086"/>
              </p:ext>
            </p:extLst>
          </p:nvPr>
        </p:nvGraphicFramePr>
        <p:xfrm>
          <a:off x="1241630" y="863715"/>
          <a:ext cx="7560840" cy="2880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0490842"/>
              </p:ext>
            </p:extLst>
          </p:nvPr>
        </p:nvGraphicFramePr>
        <p:xfrm>
          <a:off x="1196626" y="3519009"/>
          <a:ext cx="7110790" cy="292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37709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>
          <a:xfrm>
            <a:off x="1115616" y="1048294"/>
            <a:ext cx="7632848" cy="4468938"/>
          </a:xfrm>
        </p:spPr>
        <p:txBody>
          <a:bodyPr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800" dirty="0">
                <a:solidFill>
                  <a:schemeClr val="tx2"/>
                </a:solidFill>
                <a:cs typeface="Calibri" pitchFamily="34" charset="0"/>
              </a:rPr>
              <a:t>ЗАО «Санкт-Петербургская Международная Товарно-сырьевая Биржа»</a:t>
            </a:r>
            <a:r>
              <a:rPr lang="ru-RU" sz="1800" dirty="0">
                <a:cs typeface="Calibri" pitchFamily="34" charset="0"/>
              </a:rPr>
              <a:t>, лицензия № 077-004 от 22.11.2013, уставной капитал – </a:t>
            </a:r>
            <a:r>
              <a:rPr lang="en-US" sz="1800" dirty="0" smtClean="0">
                <a:cs typeface="Calibri" pitchFamily="34" charset="0"/>
              </a:rPr>
              <a:t>4</a:t>
            </a:r>
            <a:r>
              <a:rPr lang="ru-RU" sz="1800" dirty="0" smtClean="0">
                <a:cs typeface="Calibri" pitchFamily="34" charset="0"/>
              </a:rPr>
              <a:t>3</a:t>
            </a:r>
            <a:r>
              <a:rPr lang="en-US" sz="1800" dirty="0" smtClean="0">
                <a:cs typeface="Calibri" pitchFamily="34" charset="0"/>
              </a:rPr>
              <a:t>5</a:t>
            </a:r>
            <a:r>
              <a:rPr lang="ru-RU" sz="1800" dirty="0" smtClean="0">
                <a:cs typeface="Calibri" pitchFamily="34" charset="0"/>
              </a:rPr>
              <a:t> млн. </a:t>
            </a:r>
            <a:r>
              <a:rPr lang="ru-RU" sz="1800" dirty="0">
                <a:cs typeface="Calibri" pitchFamily="34" charset="0"/>
              </a:rPr>
              <a:t>руб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800" dirty="0" smtClean="0">
                <a:cs typeface="Calibri" pitchFamily="34" charset="0"/>
              </a:rPr>
              <a:t>Учредители</a:t>
            </a:r>
            <a:r>
              <a:rPr lang="ru-RU" sz="1800" dirty="0">
                <a:cs typeface="Calibri" pitchFamily="34" charset="0"/>
              </a:rPr>
              <a:t>: «Транснефть», «Транснефтепродукт», «Роснефть», «Газпромнефть», «Зарубежнефть», «Сургутнефтегаз», «</a:t>
            </a:r>
            <a:r>
              <a:rPr lang="ru-RU" sz="1800" dirty="0" err="1">
                <a:cs typeface="Calibri" pitchFamily="34" charset="0"/>
              </a:rPr>
              <a:t>Совкомфлот</a:t>
            </a:r>
            <a:r>
              <a:rPr lang="ru-RU" sz="1800" dirty="0">
                <a:cs typeface="Calibri" pitchFamily="34" charset="0"/>
              </a:rPr>
              <a:t>», «РЖД» и др. </a:t>
            </a:r>
            <a:endParaRPr lang="ru-RU" sz="1800" dirty="0" smtClean="0">
              <a:cs typeface="Calibri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800" dirty="0" smtClean="0">
                <a:cs typeface="Calibri" pitchFamily="34" charset="0"/>
              </a:rPr>
              <a:t>Крупнейшие компании России – участники торгов на СПбМТС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endParaRPr lang="ru-RU" sz="1800" dirty="0">
              <a:cs typeface="Calibri" pitchFamily="34" charset="0"/>
            </a:endParaRP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800" dirty="0" smtClean="0">
                <a:cs typeface="Calibri" pitchFamily="34" charset="0"/>
              </a:rPr>
              <a:t>СПбМТСБ - </a:t>
            </a:r>
            <a:r>
              <a:rPr lang="ru-RU" sz="1200" b="1" dirty="0" smtClean="0">
                <a:solidFill>
                  <a:schemeClr val="tx2"/>
                </a:solidFill>
                <a:cs typeface="Calibri" pitchFamily="34" charset="0"/>
              </a:rPr>
              <a:t>твердое положение лидера организованного рынка</a:t>
            </a:r>
            <a:r>
              <a:rPr lang="en-US" sz="1200" b="1" dirty="0" smtClean="0">
                <a:solidFill>
                  <a:schemeClr val="tx2"/>
                </a:solidFill>
                <a:cs typeface="Calibri" pitchFamily="34" charset="0"/>
              </a:rPr>
              <a:t> </a:t>
            </a:r>
            <a:r>
              <a:rPr lang="ru-RU" sz="1200" b="1" dirty="0" smtClean="0">
                <a:solidFill>
                  <a:schemeClr val="tx2"/>
                </a:solidFill>
                <a:cs typeface="Calibri" pitchFamily="34" charset="0"/>
              </a:rPr>
              <a:t>РФ по </a:t>
            </a:r>
            <a:r>
              <a:rPr lang="ru-RU" sz="1200" b="1" dirty="0">
                <a:solidFill>
                  <a:schemeClr val="tx2"/>
                </a:solidFill>
                <a:cs typeface="Calibri" pitchFamily="34" charset="0"/>
              </a:rPr>
              <a:t>торговле </a:t>
            </a:r>
            <a:r>
              <a:rPr lang="ru-RU" sz="1200" b="1" dirty="0" smtClean="0">
                <a:solidFill>
                  <a:schemeClr val="tx2"/>
                </a:solidFill>
                <a:cs typeface="Calibri" pitchFamily="34" charset="0"/>
              </a:rPr>
              <a:t>товарами</a:t>
            </a:r>
            <a:endParaRPr lang="ru-RU" sz="1200" b="1" dirty="0">
              <a:cs typeface="Calibri" pitchFamily="34" charset="0"/>
            </a:endParaRPr>
          </a:p>
          <a:p>
            <a:pPr marL="285750" fontAlgn="auto">
              <a:spcBef>
                <a:spcPts val="600"/>
              </a:spcBef>
              <a:spcAft>
                <a:spcPts val="600"/>
              </a:spcAft>
              <a:defRPr/>
            </a:pPr>
            <a:endParaRPr lang="ru-RU" sz="1200" dirty="0">
              <a:cs typeface="Calibri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prstClr val="white"/>
                </a:solidFill>
                <a:latin typeface="Segoe UI Light" pitchFamily="34" charset="0"/>
              </a:rPr>
              <a:t>1</a:t>
            </a:r>
          </a:p>
        </p:txBody>
      </p:sp>
      <p:sp>
        <p:nvSpPr>
          <p:cNvPr id="11" name="Заголовок 7"/>
          <p:cNvSpPr>
            <a:spLocks noGrp="1"/>
          </p:cNvSpPr>
          <p:nvPr>
            <p:ph type="title"/>
          </p:nvPr>
        </p:nvSpPr>
        <p:spPr>
          <a:xfrm>
            <a:off x="1296143" y="215170"/>
            <a:ext cx="8028385" cy="621542"/>
          </a:xfrm>
        </p:spPr>
        <p:txBody>
          <a:bodyPr>
            <a:noAutofit/>
          </a:bodyPr>
          <a:lstStyle/>
          <a:p>
            <a:r>
              <a:rPr lang="ru-RU" sz="2400" dirty="0"/>
              <a:t>СПбМТСБ </a:t>
            </a:r>
            <a:r>
              <a:rPr lang="ru-RU" sz="2400" dirty="0" smtClean="0"/>
              <a:t>– лидер организованного товарного рынка, центр рыночного  ценообразования на товары</a:t>
            </a:r>
            <a:endParaRPr lang="ru-RU" sz="24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28" t="47162" r="6457" b="15618"/>
          <a:stretch/>
        </p:blipFill>
        <p:spPr bwMode="auto">
          <a:xfrm>
            <a:off x="1240362" y="4437112"/>
            <a:ext cx="7538444" cy="2055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9" t="54503" r="19272" b="37806"/>
          <a:stretch/>
        </p:blipFill>
        <p:spPr bwMode="auto">
          <a:xfrm>
            <a:off x="1240362" y="3296734"/>
            <a:ext cx="7508102" cy="59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0390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3999" y="7380"/>
            <a:ext cx="8028385" cy="621542"/>
          </a:xfrm>
        </p:spPr>
        <p:txBody>
          <a:bodyPr/>
          <a:lstStyle/>
          <a:p>
            <a:pPr lvl="0"/>
            <a:r>
              <a:rPr lang="ru-RU" dirty="0"/>
              <a:t>Индексы: пульс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1827629"/>
              </p:ext>
            </p:extLst>
          </p:nvPr>
        </p:nvGraphicFramePr>
        <p:xfrm>
          <a:off x="1196625" y="890587"/>
          <a:ext cx="7785866" cy="523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9105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3999" y="7379"/>
            <a:ext cx="8028385" cy="766325"/>
          </a:xfrm>
        </p:spPr>
        <p:txBody>
          <a:bodyPr>
            <a:normAutofit/>
          </a:bodyPr>
          <a:lstStyle/>
          <a:p>
            <a:pPr lvl="0"/>
            <a:r>
              <a:rPr lang="ru-RU" dirty="0"/>
              <a:t>Индекс </a:t>
            </a:r>
            <a:r>
              <a:rPr lang="en-US" dirty="0"/>
              <a:t>RTS </a:t>
            </a:r>
            <a:r>
              <a:rPr lang="ru-RU" dirty="0"/>
              <a:t>и СПбМТСБ-ДТ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 txBox="1">
            <a:spLocks/>
          </p:cNvSpPr>
          <p:nvPr/>
        </p:nvSpPr>
        <p:spPr>
          <a:xfrm>
            <a:off x="1354670" y="773454"/>
            <a:ext cx="4140461" cy="31503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</a:t>
            </a:r>
            <a:r>
              <a:rPr lang="en-US" sz="1400" noProof="0" dirty="0">
                <a:latin typeface="Segoe UI" pitchFamily="34" charset="0"/>
                <a:cs typeface="Segoe UI" pitchFamily="34" charset="0"/>
              </a:rPr>
              <a:t>0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1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.01.2010 до 27.01.20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243982"/>
              </p:ext>
            </p:extLst>
          </p:nvPr>
        </p:nvGraphicFramePr>
        <p:xfrm>
          <a:off x="1241630" y="930971"/>
          <a:ext cx="7688332" cy="576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96853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3999" y="7379"/>
            <a:ext cx="8028385" cy="766325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TS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СПбМТСБ-ДТ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11" name="Подзаголовок 17"/>
          <p:cNvSpPr txBox="1">
            <a:spLocks/>
          </p:cNvSpPr>
          <p:nvPr/>
        </p:nvSpPr>
        <p:spPr>
          <a:xfrm>
            <a:off x="1196625" y="773705"/>
            <a:ext cx="4545506" cy="315036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09.01.2014 до 27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.01.2015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7742870"/>
              </p:ext>
            </p:extLst>
          </p:nvPr>
        </p:nvGraphicFramePr>
        <p:xfrm>
          <a:off x="1196625" y="1086807"/>
          <a:ext cx="7701170" cy="576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9400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3999" y="7379"/>
            <a:ext cx="8028385" cy="766325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TS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СПбМТСБ-Регуляр-9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 txBox="1">
            <a:spLocks/>
          </p:cNvSpPr>
          <p:nvPr/>
        </p:nvSpPr>
        <p:spPr>
          <a:xfrm>
            <a:off x="1354671" y="752636"/>
            <a:ext cx="4140461" cy="315035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</a:t>
            </a:r>
            <a:r>
              <a:rPr lang="en-US" sz="1400" dirty="0">
                <a:latin typeface="Segoe UI" pitchFamily="34" charset="0"/>
                <a:cs typeface="Segoe UI" pitchFamily="34" charset="0"/>
              </a:rPr>
              <a:t>0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1.01.2010 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27.01.2015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3129256"/>
              </p:ext>
            </p:extLst>
          </p:nvPr>
        </p:nvGraphicFramePr>
        <p:xfrm>
          <a:off x="1132703" y="1067671"/>
          <a:ext cx="7697857" cy="576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8212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3999" y="7379"/>
            <a:ext cx="8028385" cy="766325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TS 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бМТСБ-Регуляр-9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9" name="Подзаголовок 17"/>
          <p:cNvSpPr txBox="1">
            <a:spLocks/>
          </p:cNvSpPr>
          <p:nvPr/>
        </p:nvSpPr>
        <p:spPr>
          <a:xfrm>
            <a:off x="1286635" y="773705"/>
            <a:ext cx="4545506" cy="315036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09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.01.2014 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27.01.2015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6299528"/>
              </p:ext>
            </p:extLst>
          </p:nvPr>
        </p:nvGraphicFramePr>
        <p:xfrm>
          <a:off x="1277779" y="1076252"/>
          <a:ext cx="7658100" cy="576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8699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7379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ы: пульс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>
            <a:spLocks noGrp="1"/>
          </p:cNvSpPr>
          <p:nvPr>
            <p:ph type="subTitle" idx="1"/>
          </p:nvPr>
        </p:nvSpPr>
        <p:spPr>
          <a:xfrm>
            <a:off x="1115615" y="503675"/>
            <a:ext cx="7893369" cy="585065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bg1">
                    <a:lumMod val="75000"/>
                  </a:schemeClr>
                </a:solidFill>
              </a:rPr>
              <a:t>Международный индикатор нефти</a:t>
            </a:r>
          </a:p>
          <a:p>
            <a:endParaRPr lang="ru-RU" dirty="0"/>
          </a:p>
        </p:txBody>
      </p:sp>
      <p:sp>
        <p:nvSpPr>
          <p:cNvPr id="8" name="Подзаголовок 17"/>
          <p:cNvSpPr txBox="1">
            <a:spLocks/>
          </p:cNvSpPr>
          <p:nvPr/>
        </p:nvSpPr>
        <p:spPr>
          <a:xfrm>
            <a:off x="1151620" y="953725"/>
            <a:ext cx="4140461" cy="31503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</a:t>
            </a:r>
            <a:r>
              <a:rPr lang="en-US" sz="1400" dirty="0" smtClean="0">
                <a:latin typeface="Segoe UI" pitchFamily="34" charset="0"/>
                <a:cs typeface="Segoe UI" pitchFamily="34" charset="0"/>
              </a:rPr>
              <a:t>0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9.01.2010 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02.12.2014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0447052"/>
              </p:ext>
            </p:extLst>
          </p:nvPr>
        </p:nvGraphicFramePr>
        <p:xfrm>
          <a:off x="1151621" y="1412776"/>
          <a:ext cx="7695854" cy="5199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93880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7379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ексы: пульс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>
            <a:spLocks noGrp="1"/>
          </p:cNvSpPr>
          <p:nvPr>
            <p:ph type="subTitle" idx="1"/>
          </p:nvPr>
        </p:nvSpPr>
        <p:spPr>
          <a:xfrm>
            <a:off x="1115616" y="615254"/>
            <a:ext cx="7893369" cy="585065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bg1">
                    <a:lumMod val="75000"/>
                  </a:schemeClr>
                </a:solidFill>
              </a:rPr>
              <a:t>Международный индикатор нефти</a:t>
            </a:r>
          </a:p>
          <a:p>
            <a:endParaRPr lang="ru-RU" dirty="0"/>
          </a:p>
        </p:txBody>
      </p:sp>
      <p:sp>
        <p:nvSpPr>
          <p:cNvPr id="9" name="Подзаголовок 17"/>
          <p:cNvSpPr txBox="1">
            <a:spLocks/>
          </p:cNvSpPr>
          <p:nvPr/>
        </p:nvSpPr>
        <p:spPr>
          <a:xfrm>
            <a:off x="1167770" y="1097740"/>
            <a:ext cx="4545506" cy="31503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09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.01.2014 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27.01.2015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  <a:p>
            <a:pPr lvl="0">
              <a:spcBef>
                <a:spcPct val="20000"/>
              </a:spcBef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3391942"/>
              </p:ext>
            </p:extLst>
          </p:nvPr>
        </p:nvGraphicFramePr>
        <p:xfrm>
          <a:off x="1164024" y="1314995"/>
          <a:ext cx="7562850" cy="5461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1125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7379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/>
              <a:t>Индексы: пульс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>
            <a:spLocks noGrp="1"/>
          </p:cNvSpPr>
          <p:nvPr>
            <p:ph type="subTitle" idx="1"/>
          </p:nvPr>
        </p:nvSpPr>
        <p:spPr>
          <a:xfrm>
            <a:off x="1115615" y="503675"/>
            <a:ext cx="7893369" cy="585065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bg1">
                    <a:lumMod val="75000"/>
                  </a:schemeClr>
                </a:solidFill>
              </a:rPr>
              <a:t>Международный индикатор нефти</a:t>
            </a:r>
          </a:p>
          <a:p>
            <a:endParaRPr lang="ru-RU" dirty="0"/>
          </a:p>
        </p:txBody>
      </p:sp>
      <p:sp>
        <p:nvSpPr>
          <p:cNvPr id="8" name="Подзаголовок 17"/>
          <p:cNvSpPr txBox="1">
            <a:spLocks/>
          </p:cNvSpPr>
          <p:nvPr/>
        </p:nvSpPr>
        <p:spPr>
          <a:xfrm>
            <a:off x="1196625" y="953725"/>
            <a:ext cx="4140461" cy="315035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09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.01.2014 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27.01.2015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1992877"/>
              </p:ext>
            </p:extLst>
          </p:nvPr>
        </p:nvGraphicFramePr>
        <p:xfrm>
          <a:off x="1196625" y="1411248"/>
          <a:ext cx="7562850" cy="521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5190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7379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/>
              <a:t>Индексы: пульс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7" name="Подзаголовок 17"/>
          <p:cNvSpPr>
            <a:spLocks noGrp="1"/>
          </p:cNvSpPr>
          <p:nvPr>
            <p:ph type="subTitle" idx="1"/>
          </p:nvPr>
        </p:nvSpPr>
        <p:spPr>
          <a:xfrm>
            <a:off x="1115615" y="503675"/>
            <a:ext cx="7893369" cy="585065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bg1">
                    <a:lumMod val="75000"/>
                  </a:schemeClr>
                </a:solidFill>
              </a:rPr>
              <a:t>Международный индикатор нефти</a:t>
            </a:r>
          </a:p>
          <a:p>
            <a:endParaRPr lang="ru-RU" dirty="0"/>
          </a:p>
        </p:txBody>
      </p:sp>
      <p:sp>
        <p:nvSpPr>
          <p:cNvPr id="9" name="Подзаголовок 17"/>
          <p:cNvSpPr txBox="1">
            <a:spLocks/>
          </p:cNvSpPr>
          <p:nvPr/>
        </p:nvSpPr>
        <p:spPr>
          <a:xfrm>
            <a:off x="1151620" y="953724"/>
            <a:ext cx="4545506" cy="315036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ct val="20000"/>
              </a:spcBef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egoe UI" pitchFamily="34" charset="0"/>
                <a:ea typeface="+mn-ea"/>
                <a:cs typeface="Segoe UI" pitchFamily="34" charset="0"/>
              </a:rPr>
              <a:t>Динамика с 09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.01.2014 </a:t>
            </a:r>
            <a:r>
              <a:rPr lang="ru-RU" sz="1400" dirty="0">
                <a:latin typeface="Segoe UI" pitchFamily="34" charset="0"/>
                <a:cs typeface="Segoe UI" pitchFamily="34" charset="0"/>
              </a:rPr>
              <a:t>до </a:t>
            </a:r>
            <a:r>
              <a:rPr lang="ru-RU" sz="1400" dirty="0" smtClean="0">
                <a:latin typeface="Segoe UI" pitchFamily="34" charset="0"/>
                <a:cs typeface="Segoe UI" pitchFamily="34" charset="0"/>
              </a:rPr>
              <a:t>27.01.2015</a:t>
            </a:r>
            <a:endParaRPr lang="ru-RU" sz="1400" dirty="0">
              <a:latin typeface="Segoe UI" pitchFamily="34" charset="0"/>
              <a:cs typeface="Segoe UI" pitchFamily="34" charset="0"/>
            </a:endParaRPr>
          </a:p>
          <a:p>
            <a:pPr lvl="0">
              <a:spcBef>
                <a:spcPct val="20000"/>
              </a:spcBef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" pitchFamily="34" charset="0"/>
              <a:ea typeface="+mn-ea"/>
              <a:cs typeface="Segoe UI" pitchFamily="34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8802423"/>
              </p:ext>
            </p:extLst>
          </p:nvPr>
        </p:nvGraphicFramePr>
        <p:xfrm>
          <a:off x="1241630" y="1437816"/>
          <a:ext cx="7562850" cy="521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220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0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 smtClean="0"/>
              <a:t>Динамика ценовых колебан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947452713"/>
              </p:ext>
            </p:extLst>
          </p:nvPr>
        </p:nvGraphicFramePr>
        <p:xfrm>
          <a:off x="1115616" y="773705"/>
          <a:ext cx="7731859" cy="567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22647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Доля рынка и объемы торгов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по состоянию на 01.03.2015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prstClr val="white"/>
                </a:solidFill>
                <a:latin typeface="Segoe UI Light" pitchFamily="34" charset="0"/>
              </a:rPr>
              <a:t>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43608" y="1057954"/>
            <a:ext cx="5544616" cy="4455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СПбМТСБ 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занимает лидирующее положение на рынке нефтепродуктов</a:t>
            </a:r>
            <a:r>
              <a:rPr lang="en-US" sz="1050" dirty="0">
                <a:solidFill>
                  <a:srgbClr val="000000"/>
                </a:solidFill>
                <a:cs typeface="Segoe UI" pitchFamily="34" charset="0"/>
              </a:rPr>
              <a:t>: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95,8 %</a:t>
            </a:r>
            <a:r>
              <a:rPr lang="ru-RU" sz="1050" dirty="0">
                <a:solidFill>
                  <a:srgbClr val="0090D6"/>
                </a:solidFill>
                <a:cs typeface="Segoe UI" pitchFamily="34" charset="0"/>
              </a:rPr>
              <a:t> 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биржевого рынка </a:t>
            </a: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нефтепродуктов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,</a:t>
            </a: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 </a:t>
            </a:r>
          </a:p>
          <a:p>
            <a:pPr marL="266700" lvl="4">
              <a:lnSpc>
                <a:spcPct val="150000"/>
              </a:lnSpc>
            </a:pP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за 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2011-201</a:t>
            </a:r>
            <a:r>
              <a:rPr lang="en-US" sz="1050" dirty="0">
                <a:solidFill>
                  <a:srgbClr val="000000"/>
                </a:solidFill>
                <a:cs typeface="Segoe UI" pitchFamily="34" charset="0"/>
              </a:rPr>
              <a:t>5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 </a:t>
            </a: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гг. объем торгов по ним превысил </a:t>
            </a:r>
            <a:r>
              <a:rPr lang="ru-RU" sz="1050" dirty="0" smtClean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60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млн. тонн</a:t>
            </a: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  </a:t>
            </a: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ru-RU" sz="1050" dirty="0">
              <a:solidFill>
                <a:srgbClr val="000000"/>
              </a:solidFill>
              <a:cs typeface="Segoe UI" pitchFamily="34" charset="0"/>
            </a:endParaRP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050" dirty="0" smtClean="0">
                <a:solidFill>
                  <a:prstClr val="black"/>
                </a:solidFill>
              </a:rPr>
              <a:t>С </a:t>
            </a:r>
            <a:r>
              <a:rPr lang="ru-RU" sz="1050" dirty="0">
                <a:solidFill>
                  <a:prstClr val="black"/>
                </a:solidFill>
              </a:rPr>
              <a:t>24 апреля 2013 г. ведутся регулярные торги нефтью. Продажу осуществляют ОАО «Зарубежнефть», ОАО «АК «Транснефть» и ОАО АНК «Башнефть». В ходе торгов реализовано более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1,84 млн тонн </a:t>
            </a:r>
            <a:r>
              <a:rPr lang="ru-RU" sz="1050" dirty="0" smtClean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нефти</a:t>
            </a: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ru-RU" sz="1050" dirty="0">
              <a:solidFill>
                <a:srgbClr val="92D050">
                  <a:lumMod val="75000"/>
                </a:srgbClr>
              </a:solidFill>
              <a:cs typeface="Segoe UI" pitchFamily="34" charset="0"/>
            </a:endParaRP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050" dirty="0" smtClean="0">
                <a:solidFill>
                  <a:srgbClr val="000000"/>
                </a:solidFill>
                <a:cs typeface="Segoe UI" pitchFamily="34" charset="0"/>
              </a:rPr>
              <a:t>11 </a:t>
            </a:r>
            <a:r>
              <a:rPr lang="ru-RU" sz="1050" dirty="0">
                <a:solidFill>
                  <a:srgbClr val="000000"/>
                </a:solidFill>
                <a:cs typeface="Segoe UI" pitchFamily="34" charset="0"/>
              </a:rPr>
              <a:t>сентября 2013 г. был </a:t>
            </a:r>
            <a:r>
              <a:rPr lang="ru-RU" sz="1050" dirty="0">
                <a:solidFill>
                  <a:prstClr val="black"/>
                </a:solidFill>
              </a:rPr>
              <a:t>заключен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первый договор с обогащенным каменным углем</a:t>
            </a:r>
            <a:r>
              <a:rPr lang="ru-RU" sz="1050" dirty="0">
                <a:solidFill>
                  <a:prstClr val="black"/>
                </a:solidFill>
              </a:rPr>
              <a:t>.</a:t>
            </a: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ru-RU" sz="1050" dirty="0" smtClean="0">
              <a:solidFill>
                <a:prstClr val="black"/>
              </a:solidFill>
            </a:endParaRP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050" dirty="0" smtClean="0">
                <a:solidFill>
                  <a:prstClr val="black"/>
                </a:solidFill>
              </a:rPr>
              <a:t>С </a:t>
            </a:r>
            <a:r>
              <a:rPr lang="ru-RU" sz="1050" dirty="0">
                <a:solidFill>
                  <a:prstClr val="black"/>
                </a:solidFill>
              </a:rPr>
              <a:t>11 июля 2014 г. ведутся торги в секции «Лес и стройматериалы». В 2014 г. оборот секции составляет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66,5 млн руб</a:t>
            </a:r>
            <a:r>
              <a:rPr lang="ru-RU" sz="1050" dirty="0">
                <a:solidFill>
                  <a:prstClr val="black"/>
                </a:solidFill>
              </a:rPr>
              <a:t>.</a:t>
            </a: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ru-RU" sz="1050" dirty="0" smtClean="0">
              <a:solidFill>
                <a:prstClr val="black"/>
              </a:solidFill>
            </a:endParaRPr>
          </a:p>
          <a:p>
            <a:pPr marL="285750" lvl="4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050" dirty="0" smtClean="0">
                <a:solidFill>
                  <a:prstClr val="black"/>
                </a:solidFill>
              </a:rPr>
              <a:t>С </a:t>
            </a:r>
            <a:r>
              <a:rPr lang="ru-RU" sz="1050" dirty="0">
                <a:solidFill>
                  <a:prstClr val="black"/>
                </a:solidFill>
              </a:rPr>
              <a:t>24 октября 2014 на СПбМТСБ проводятся ежемесячные     торги в Секции природного газа. В числе участников крупнейшие поставщики (ООО </a:t>
            </a:r>
            <a:r>
              <a:rPr lang="ru-RU" sz="1050" dirty="0" smtClean="0">
                <a:solidFill>
                  <a:prstClr val="black"/>
                </a:solidFill>
              </a:rPr>
              <a:t>«Газпром межрегионгаз», </a:t>
            </a:r>
            <a:r>
              <a:rPr lang="ru-RU" sz="1050" dirty="0">
                <a:solidFill>
                  <a:prstClr val="black"/>
                </a:solidFill>
              </a:rPr>
              <a:t> ОАО </a:t>
            </a:r>
            <a:r>
              <a:rPr lang="ru-RU" sz="1050" dirty="0" smtClean="0">
                <a:solidFill>
                  <a:prstClr val="black"/>
                </a:solidFill>
              </a:rPr>
              <a:t>«НК «Роснефть», </a:t>
            </a:r>
            <a:r>
              <a:rPr lang="ru-RU" sz="1050" dirty="0">
                <a:solidFill>
                  <a:prstClr val="black"/>
                </a:solidFill>
              </a:rPr>
              <a:t>ОАО </a:t>
            </a:r>
            <a:r>
              <a:rPr lang="ru-RU" sz="1050" dirty="0" smtClean="0">
                <a:solidFill>
                  <a:prstClr val="black"/>
                </a:solidFill>
              </a:rPr>
              <a:t>«НОВАТЭК») </a:t>
            </a:r>
            <a:r>
              <a:rPr lang="ru-RU" sz="1050" dirty="0">
                <a:solidFill>
                  <a:prstClr val="black"/>
                </a:solidFill>
              </a:rPr>
              <a:t>и потребители газа.  В ходе торгов реализовано 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820,8 млн м</a:t>
            </a:r>
            <a:r>
              <a:rPr lang="en-US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3</a:t>
            </a:r>
            <a:r>
              <a:rPr lang="ru-RU" sz="1050" dirty="0">
                <a:solidFill>
                  <a:srgbClr val="92D050">
                    <a:lumMod val="75000"/>
                  </a:srgbClr>
                </a:solidFill>
                <a:cs typeface="Segoe UI" pitchFamily="34" charset="0"/>
              </a:rPr>
              <a:t> природного газа</a:t>
            </a:r>
            <a:r>
              <a:rPr lang="ru-RU" sz="1050" dirty="0" smtClean="0">
                <a:solidFill>
                  <a:prstClr val="black"/>
                </a:solidFill>
              </a:rPr>
              <a:t>.</a:t>
            </a:r>
            <a:endParaRPr lang="ru-RU" sz="1050" dirty="0">
              <a:solidFill>
                <a:srgbClr val="92D050">
                  <a:lumMod val="75000"/>
                </a:srgbClr>
              </a:solidFill>
              <a:cs typeface="Segoe UI" pitchFamily="34" charset="0"/>
            </a:endParaRP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2937848055"/>
              </p:ext>
            </p:extLst>
          </p:nvPr>
        </p:nvGraphicFramePr>
        <p:xfrm>
          <a:off x="7137285" y="1057954"/>
          <a:ext cx="2106234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2153076917"/>
              </p:ext>
            </p:extLst>
          </p:nvPr>
        </p:nvGraphicFramePr>
        <p:xfrm>
          <a:off x="6228184" y="3770235"/>
          <a:ext cx="2915816" cy="2300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28" t="30505" r="15902" b="52146"/>
          <a:stretch/>
        </p:blipFill>
        <p:spPr bwMode="auto">
          <a:xfrm>
            <a:off x="1187624" y="5817079"/>
            <a:ext cx="6211552" cy="88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530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0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 smtClean="0"/>
              <a:t>Выводы для торговых стратег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30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1719273938"/>
              </p:ext>
            </p:extLst>
          </p:nvPr>
        </p:nvGraphicFramePr>
        <p:xfrm>
          <a:off x="1241630" y="1223755"/>
          <a:ext cx="2781300" cy="1813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121950" y="1223755"/>
            <a:ext cx="4572000" cy="16004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Топливные фьючерсы СПбМТСБ – </a:t>
            </a:r>
            <a:endParaRPr lang="ru-RU" sz="1400" dirty="0" smtClean="0">
              <a:solidFill>
                <a:prstClr val="black"/>
              </a:solidFill>
              <a:cs typeface="Segoe UI" pitchFamily="34" charset="0"/>
            </a:endParaRPr>
          </a:p>
          <a:p>
            <a:pPr algn="just"/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надежные </a:t>
            </a:r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активы с выраженным контанго. </a:t>
            </a:r>
            <a:endParaRPr lang="ru-RU" sz="1400" dirty="0" smtClean="0">
              <a:solidFill>
                <a:prstClr val="black"/>
              </a:solidFill>
              <a:cs typeface="Segoe UI" pitchFamily="34" charset="0"/>
            </a:endParaRPr>
          </a:p>
          <a:p>
            <a:pPr algn="just"/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В </a:t>
            </a:r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период нестабильности многие инвесторы выбирают сырьевые и товарные активы в качестве «тихой гавани». </a:t>
            </a:r>
            <a:endParaRPr lang="ru-RU" sz="1400" dirty="0" smtClean="0">
              <a:solidFill>
                <a:prstClr val="black"/>
              </a:solidFill>
              <a:cs typeface="Segoe UI" pitchFamily="34" charset="0"/>
            </a:endParaRPr>
          </a:p>
          <a:p>
            <a:pPr algn="just"/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Недаром</a:t>
            </a:r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, их часто называют инструменты-«убежище»</a:t>
            </a: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1526525893"/>
              </p:ext>
            </p:extLst>
          </p:nvPr>
        </p:nvGraphicFramePr>
        <p:xfrm>
          <a:off x="5832140" y="2978950"/>
          <a:ext cx="2784475" cy="180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1201569" y="3113965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Внутренний рынок нефтепродуктов и топливные индексы не подвластны влиянию негативных трендов на мировых площадках. </a:t>
            </a:r>
            <a:endParaRPr lang="ru-RU" sz="1400" dirty="0" smtClean="0">
              <a:solidFill>
                <a:prstClr val="black"/>
              </a:solidFill>
              <a:cs typeface="Segoe UI" pitchFamily="34" charset="0"/>
            </a:endParaRPr>
          </a:p>
          <a:p>
            <a:pPr algn="just"/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За </a:t>
            </a:r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три прошедших года к началу 2015 года цена нефти на мировых рынках упала </a:t>
            </a:r>
            <a:r>
              <a:rPr lang="ru-RU" sz="1400" dirty="0" smtClean="0">
                <a:solidFill>
                  <a:prstClr val="black"/>
                </a:solidFill>
                <a:cs typeface="Segoe UI" pitchFamily="34" charset="0"/>
              </a:rPr>
              <a:t>почти на 50% </a:t>
            </a:r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при том, что российский рынок нефтепродуктов рос.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301969" y="5094185"/>
            <a:ext cx="42569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  <a:cs typeface="Segoe UI" pitchFamily="34" charset="0"/>
              </a:rPr>
              <a:t>Ежедневная ценовая динамика топливных активов обуславливает привлекательную для активных торговых стратегий волатильность</a:t>
            </a: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368507836"/>
              </p:ext>
            </p:extLst>
          </p:nvPr>
        </p:nvGraphicFramePr>
        <p:xfrm>
          <a:off x="1331640" y="4734144"/>
          <a:ext cx="2871319" cy="1845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36614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115615" y="188640"/>
            <a:ext cx="8028385" cy="62154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реимущества фьючерсов СПбМТСБ для брокерских компани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3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prstClr val="white"/>
                </a:solidFill>
                <a:latin typeface="Segoe UI Light" pitchFamily="34" charset="0"/>
              </a:rPr>
              <a:t>2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9300025"/>
              </p:ext>
            </p:extLst>
          </p:nvPr>
        </p:nvGraphicFramePr>
        <p:xfrm>
          <a:off x="1115616" y="980728"/>
          <a:ext cx="7815372" cy="5574360"/>
        </p:xfrm>
        <a:graphic>
          <a:graphicData uri="http://schemas.openxmlformats.org/drawingml/2006/table">
            <a:tbl>
              <a:tblPr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9CF1AB2-1976-4502-BF36-3FF5EA218861}</a:tableStyleId>
              </a:tblPr>
              <a:tblGrid>
                <a:gridCol w="2880320"/>
                <a:gridCol w="4935052"/>
              </a:tblGrid>
              <a:tr h="308271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Торги</a:t>
                      </a:r>
                      <a:r>
                        <a:rPr lang="ru-RU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с 11:00 до 16:00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дневные торги без вечерних сессий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644806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Маркет-мейкеры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6 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маркет-мейкеров работают одновременно о обеспечивают ликвидность на торгах. Биржа готова расширять маркет-мейкерские программы в сотрудничестве с брокерами.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815001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Централизованных клиринг на базе </a:t>
                      </a:r>
                      <a:r>
                        <a:rPr lang="en-US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SPAN©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полный </a:t>
                      </a:r>
                      <a:r>
                        <a:rPr lang="ru-RU" sz="1200" kern="0" dirty="0" err="1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неттинг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 (по разнонаправленным позициям РДК освобождает брокера от внесения ГО), портфельное </a:t>
                      </a:r>
                      <a:r>
                        <a:rPr lang="ru-RU" sz="1200" kern="0" dirty="0" err="1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маржирование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 с учётом календарных/</a:t>
                      </a:r>
                      <a:r>
                        <a:rPr lang="ru-RU" sz="1200" kern="0" dirty="0" err="1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межконтрактных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 спредов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553151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Низкие ставки гарантийного обеспечения</a:t>
                      </a:r>
                      <a:r>
                        <a:rPr lang="ru-RU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депозит 5-8% от стоимости контракта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450851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Рибейты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вознаграждение за клиентские сделки с топливными фьючерсами, </a:t>
                      </a:r>
                      <a:r>
                        <a:rPr lang="en-US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~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50 % от биржевого сбора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491312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Интернет-шлюзы</a:t>
                      </a:r>
                      <a:r>
                        <a:rPr lang="ru-RU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QUICK </a:t>
                      </a:r>
                      <a:r>
                        <a:rPr lang="ru-RU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и </a:t>
                      </a:r>
                      <a:r>
                        <a:rPr lang="en-US" sz="1200" b="1" cap="all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NET INVESTOR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доступ клиентов через привычные и самые распространённые торговые системы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491312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ü"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Новые торговые возможности</a:t>
                      </a:r>
                      <a:endParaRPr lang="ru-RU" sz="1200" b="1" cap="all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арбитраж, парный </a:t>
                      </a:r>
                      <a:r>
                        <a:rPr lang="ru-RU" sz="1200" kern="0" dirty="0" err="1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трейдинг</a:t>
                      </a: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 и торговля на спредах, активные торговые стратегии, игра на волатильности 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582749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Обучение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8001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 typeface="Segoe UI" panose="020B0502040204020203" pitchFamily="34" charset="0"/>
                        <a:buChar char="−"/>
                        <a:tabLst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СПбМТСБ постоянно проводит обучение участников спот-рынка торговле фьючерсами и готова приглашать на данные мероприятия брокеров для популяризации среди посетителе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429581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Безопасные актив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8001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 typeface="Segoe UI" panose="020B0502040204020203" pitchFamily="34" charset="0"/>
                        <a:buChar char="−"/>
                        <a:tabLst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стабильные и надежные базовые активы, пользующиеся постоянным и растущим спросом</a:t>
                      </a:r>
                    </a:p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  <a:tr h="429581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200" b="1" cap="all" dirty="0" smtClean="0">
                          <a:solidFill>
                            <a:schemeClr val="bg1"/>
                          </a:solidFill>
                          <a:latin typeface="+mn-lt"/>
                        </a:rPr>
                        <a:t>РАСШИРЕНИЕ КЛИЕНТСКОЙ БАЗ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1B6FF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800100" rtl="0" eaLnBrk="1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Font typeface="Segoe UI" panose="020B0502040204020203" pitchFamily="34" charset="0"/>
                        <a:buChar char="−"/>
                        <a:defRPr/>
                      </a:pPr>
                      <a:r>
                        <a:rPr lang="ru-RU" sz="1200" kern="0" dirty="0" smtClean="0">
                          <a:solidFill>
                            <a:srgbClr val="D6ECFF">
                              <a:lumMod val="25000"/>
                            </a:srgbClr>
                          </a:solidFill>
                          <a:latin typeface="+mn-lt"/>
                          <a:ea typeface="+mn-ea"/>
                          <a:cs typeface="Segoe UI" pitchFamily="34" charset="0"/>
                        </a:rPr>
                        <a:t>Участники спот-рынка нефтепродуктов являются потенциальными клиентами брокеров на фьючерсном рынке СПбМТСБ</a:t>
                      </a:r>
                      <a:endParaRPr lang="ru-RU" sz="1200" kern="0" dirty="0">
                        <a:solidFill>
                          <a:srgbClr val="D6ECFF">
                            <a:lumMod val="25000"/>
                          </a:srgbClr>
                        </a:solidFill>
                        <a:latin typeface="+mn-lt"/>
                        <a:ea typeface="+mn-ea"/>
                        <a:cs typeface="Segoe U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7D6F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1584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7379"/>
            <a:ext cx="8016768" cy="766325"/>
          </a:xfrm>
        </p:spPr>
        <p:txBody>
          <a:bodyPr>
            <a:normAutofit/>
          </a:bodyPr>
          <a:lstStyle/>
          <a:p>
            <a:pPr lvl="0"/>
            <a:r>
              <a:rPr lang="ru-RU" dirty="0"/>
              <a:t>Открытая информац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3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625" y="1808820"/>
            <a:ext cx="768096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241630" y="662225"/>
            <a:ext cx="2430270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sz="1600" b="1" dirty="0" smtClean="0">
                <a:solidFill>
                  <a:schemeClr val="bg1"/>
                </a:solidFill>
                <a:cs typeface="Segoe UI" pitchFamily="34" charset="0"/>
              </a:rPr>
              <a:t>WWW.SPIMEX.COM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498503" y="1414728"/>
            <a:ext cx="2213957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sz="1600" b="1" dirty="0" smtClean="0">
                <a:solidFill>
                  <a:schemeClr val="bg1"/>
                </a:solidFill>
                <a:cs typeface="Segoe UI" pitchFamily="34" charset="0"/>
              </a:rPr>
              <a:t>VK.COM/SPIMEX</a:t>
            </a:r>
            <a:endParaRPr lang="ru-RU" sz="1600" b="1" dirty="0">
              <a:solidFill>
                <a:schemeClr val="bg1"/>
              </a:solidFill>
              <a:cs typeface="Segoe UI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517938" y="1069272"/>
            <a:ext cx="2899267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US" sz="1600" b="1" dirty="0" smtClean="0">
                <a:solidFill>
                  <a:schemeClr val="bg1"/>
                </a:solidFill>
                <a:cs typeface="Segoe UI" pitchFamily="34" charset="0"/>
              </a:rPr>
              <a:t>FACEBOOK.COM/SPIMEX </a:t>
            </a:r>
          </a:p>
        </p:txBody>
      </p:sp>
    </p:spTree>
    <p:extLst>
      <p:ext uri="{BB962C8B-B14F-4D97-AF65-F5344CB8AC3E}">
        <p14:creationId xmlns:p14="http://schemas.microsoft.com/office/powerpoint/2010/main" val="3422048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3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059832" y="1772816"/>
            <a:ext cx="720080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endParaRPr lang="ru-RU" sz="2400" dirty="0">
              <a:solidFill>
                <a:prstClr val="black"/>
              </a:solidFill>
              <a:cs typeface="Segoe UI" pitchFamily="34" charset="0"/>
            </a:endParaRPr>
          </a:p>
          <a:p>
            <a:pPr hangingPunct="0"/>
            <a:endParaRPr lang="ru-RU" sz="2400" dirty="0">
              <a:solidFill>
                <a:prstClr val="black"/>
              </a:solidFill>
              <a:cs typeface="Segoe UI" pitchFamily="34" charset="0"/>
            </a:endParaRPr>
          </a:p>
          <a:p>
            <a:endParaRPr lang="ru-RU" sz="2400" dirty="0">
              <a:solidFill>
                <a:prstClr val="black"/>
              </a:solidFill>
              <a:cs typeface="Segoe UI" pitchFamily="34" charset="0"/>
            </a:endParaRPr>
          </a:p>
          <a:p>
            <a:r>
              <a:rPr lang="en-US" sz="2400" dirty="0">
                <a:solidFill>
                  <a:prstClr val="black"/>
                </a:solidFill>
                <a:cs typeface="Segoe UI" pitchFamily="34" charset="0"/>
              </a:rPr>
              <a:t> </a:t>
            </a:r>
            <a:endParaRPr lang="ru-RU" sz="2400" dirty="0">
              <a:solidFill>
                <a:prstClr val="black"/>
              </a:solidFill>
              <a:cs typeface="Segoe UI" pitchFamily="34" charset="0"/>
            </a:endParaRPr>
          </a:p>
          <a:p>
            <a:endParaRPr lang="ru-RU" sz="2400" dirty="0">
              <a:solidFill>
                <a:prstClr val="black"/>
              </a:solidFill>
              <a:cs typeface="Segoe UI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115615" y="116632"/>
            <a:ext cx="8028385" cy="621542"/>
          </a:xfrm>
        </p:spPr>
        <p:txBody>
          <a:bodyPr>
            <a:normAutofit/>
          </a:bodyPr>
          <a:lstStyle/>
          <a:p>
            <a:r>
              <a:rPr lang="ru-RU" sz="2800" dirty="0" smtClean="0"/>
              <a:t>Контакты</a:t>
            </a:r>
            <a:endParaRPr lang="ru-RU" sz="2800" dirty="0"/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15616" y="692696"/>
            <a:ext cx="8028384" cy="540060"/>
          </a:xfrm>
        </p:spPr>
        <p:txBody>
          <a:bodyPr>
            <a:normAutofit fontScale="92500"/>
          </a:bodyPr>
          <a:lstStyle/>
          <a:p>
            <a:r>
              <a:rPr lang="ru-RU" dirty="0" smtClean="0">
                <a:solidFill>
                  <a:srgbClr val="000000"/>
                </a:solidFill>
              </a:rPr>
              <a:t>ЗАО «Санкт-Петербургская Международная Товарно-сырьевая биржа»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0" y="1962572"/>
            <a:ext cx="2051720" cy="3863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13756" y="1962572"/>
            <a:ext cx="129614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>
                <a:solidFill>
                  <a:srgbClr val="0090D6"/>
                </a:solidFill>
                <a:latin typeface="Segoe UI Light"/>
              </a:rPr>
              <a:t>Адрес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051720" y="1962572"/>
            <a:ext cx="3757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  <a:cs typeface="Segoe UI" pitchFamily="34" charset="0"/>
              </a:rPr>
              <a:t>г. Москва, ул. Тимура Фрунзе, д.24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2538636"/>
            <a:ext cx="2409900" cy="3863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13756" y="2538636"/>
            <a:ext cx="173005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>
                <a:solidFill>
                  <a:srgbClr val="0090D6"/>
                </a:solidFill>
                <a:latin typeface="Segoe UI Light"/>
              </a:rPr>
              <a:t>Телефон: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411066" y="2538636"/>
            <a:ext cx="21675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  <a:cs typeface="Segoe UI" pitchFamily="34" charset="0"/>
              </a:rPr>
              <a:t>+7 (495) 380-04-24</a:t>
            </a:r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3114700"/>
            <a:ext cx="2051720" cy="3863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13756" y="3114700"/>
            <a:ext cx="173005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>
                <a:solidFill>
                  <a:srgbClr val="0090D6"/>
                </a:solidFill>
                <a:latin typeface="Segoe UI Light"/>
              </a:rPr>
              <a:t>Сайт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051720" y="3108866"/>
            <a:ext cx="19284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  <a:cs typeface="Segoe UI" pitchFamily="34" charset="0"/>
              </a:rPr>
              <a:t>www.spimex.com</a:t>
            </a:r>
            <a:endParaRPr lang="ru-RU" dirty="0">
              <a:solidFill>
                <a:prstClr val="black">
                  <a:lumMod val="50000"/>
                  <a:lumOff val="50000"/>
                </a:prstClr>
              </a:solidFill>
              <a:cs typeface="Segoe UI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472" y="3690764"/>
            <a:ext cx="2264271" cy="3863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17229" y="3690764"/>
            <a:ext cx="173005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dirty="0">
                <a:solidFill>
                  <a:srgbClr val="0090D6"/>
                </a:solidFill>
                <a:latin typeface="Segoe UI Light"/>
              </a:rPr>
              <a:t>Email</a:t>
            </a:r>
            <a:r>
              <a:rPr lang="ru-RU" dirty="0">
                <a:solidFill>
                  <a:srgbClr val="0090D6"/>
                </a:solidFill>
                <a:latin typeface="Segoe UI Light"/>
              </a:rPr>
              <a:t>: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267743" y="3699252"/>
            <a:ext cx="22573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prstClr val="black">
                    <a:lumMod val="50000"/>
                    <a:lumOff val="50000"/>
                  </a:prstClr>
                </a:solidFill>
                <a:cs typeface="Segoe UI" pitchFamily="34" charset="0"/>
              </a:rPr>
              <a:t>clients@spimex.com</a:t>
            </a:r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2" name="Подзаголовок 4"/>
          <p:cNvSpPr txBox="1">
            <a:spLocks/>
          </p:cNvSpPr>
          <p:nvPr/>
        </p:nvSpPr>
        <p:spPr>
          <a:xfrm>
            <a:off x="1113429" y="4221088"/>
            <a:ext cx="5258772" cy="16561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2"/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/>
              <a:t>Алексей Сергеев</a:t>
            </a:r>
            <a:r>
              <a:rPr lang="ru-RU" sz="1800" dirty="0" smtClean="0"/>
              <a:t> </a:t>
            </a:r>
          </a:p>
          <a:p>
            <a:r>
              <a:rPr lang="ru-RU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Управляющий директор </a:t>
            </a:r>
            <a:endParaRPr lang="ru-RU" sz="1800" dirty="0" smtClean="0">
              <a:solidFill>
                <a:prstClr val="black">
                  <a:lumMod val="50000"/>
                  <a:lumOff val="50000"/>
                </a:prstClr>
              </a:solidFill>
              <a:latin typeface="+mn-lt"/>
            </a:endParaRPr>
          </a:p>
          <a:p>
            <a:r>
              <a:rPr lang="ru-RU" sz="1800" dirty="0" smtClean="0"/>
              <a:t>Телефон</a:t>
            </a:r>
            <a:r>
              <a:rPr lang="ru-RU" sz="1800" dirty="0" smtClean="0"/>
              <a:t>: </a:t>
            </a:r>
            <a:r>
              <a:rPr lang="ru-RU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+7 (495) 380-04-24 (добавочный 2148)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en-US" sz="1800" dirty="0" smtClean="0"/>
              <a:t>Email: </a:t>
            </a:r>
            <a:r>
              <a:rPr lang="en-US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sergeev@spimex.com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64" t="87589" r="22914" b="5462"/>
          <a:stretch/>
        </p:blipFill>
        <p:spPr bwMode="auto">
          <a:xfrm>
            <a:off x="1187624" y="6089707"/>
            <a:ext cx="7847746" cy="648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60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5259867" y="2204864"/>
            <a:ext cx="595331" cy="21782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кции</a:t>
            </a:r>
            <a:endParaRPr lang="ru-RU" dirty="0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ЗАО «СПбМТСБ»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>
          <a:xfrm>
            <a:off x="1116013" y="1268414"/>
            <a:ext cx="8027987" cy="72042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>
                <a:solidFill>
                  <a:schemeClr val="tx2"/>
                </a:solidFill>
                <a:cs typeface="Calibri" pitchFamily="34" charset="0"/>
              </a:rPr>
              <a:t>Широкие возможности </a:t>
            </a:r>
            <a:r>
              <a:rPr lang="ru-RU" dirty="0">
                <a:cs typeface="Calibri" pitchFamily="34" charset="0"/>
              </a:rPr>
              <a:t>по заключению </a:t>
            </a:r>
            <a:r>
              <a:rPr lang="ru-RU" dirty="0" smtClean="0">
                <a:cs typeface="Calibri" pitchFamily="34" charset="0"/>
              </a:rPr>
              <a:t>договоров </a:t>
            </a:r>
            <a:r>
              <a:rPr lang="ru-RU" dirty="0">
                <a:cs typeface="Calibri" pitchFamily="34" charset="0"/>
              </a:rPr>
              <a:t>с разнообразными активами в товарных и </a:t>
            </a:r>
            <a:r>
              <a:rPr lang="ru-RU" dirty="0" smtClean="0">
                <a:cs typeface="Calibri" pitchFamily="34" charset="0"/>
              </a:rPr>
              <a:t>срочной </a:t>
            </a:r>
            <a:r>
              <a:rPr lang="ru-RU" dirty="0">
                <a:cs typeface="Calibri" pitchFamily="34" charset="0"/>
              </a:rPr>
              <a:t>Секциях </a:t>
            </a:r>
            <a:r>
              <a:rPr lang="ru-RU" dirty="0" smtClean="0">
                <a:cs typeface="Calibri" pitchFamily="34" charset="0"/>
              </a:rPr>
              <a:t>Биржи</a:t>
            </a:r>
            <a:r>
              <a:rPr lang="ru-RU" dirty="0">
                <a:cs typeface="Calibri" pitchFamily="34" charset="0"/>
              </a:rPr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1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13994" y="2213864"/>
            <a:ext cx="621701" cy="40234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одержимое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259867" y="2708920"/>
            <a:ext cx="3488597" cy="3168352"/>
          </a:xfrm>
          <a:prstGeom prst="rect">
            <a:avLst/>
          </a:prstGeom>
          <a:noFill/>
          <a:ln w="12700" cmpd="dbl" algn="ctr">
            <a:noFill/>
            <a:miter lim="800000"/>
            <a:headEnd/>
            <a:tailEnd/>
          </a:ln>
        </p:spPr>
        <p:txBody>
          <a:bodyPr anchor="t"/>
          <a:lstStyle/>
          <a:p>
            <a:pPr eaLnBrk="0" fontAlgn="base" hangingPunct="0"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endParaRPr lang="ru-RU" sz="1300" dirty="0">
              <a:solidFill>
                <a:srgbClr val="0090D6"/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  <a:t>Газ природный</a:t>
            </a:r>
          </a:p>
          <a:p>
            <a:pPr eaLnBrk="0" fontAlgn="base" hangingPunct="0"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  <a:t>Минеральное сырье</a:t>
            </a:r>
            <a:b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  <a:t>и химическая </a:t>
            </a:r>
            <a:b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300" dirty="0" smtClean="0">
                <a:solidFill>
                  <a:schemeClr val="accent1">
                    <a:lumMod val="50000"/>
                  </a:schemeClr>
                </a:solidFill>
                <a:latin typeface="Segoe UI" pitchFamily="34" charset="0"/>
                <a:cs typeface="Segoe UI" pitchFamily="34" charset="0"/>
              </a:rPr>
              <a:t>продукция</a:t>
            </a:r>
            <a:endParaRPr lang="ru-RU" sz="1300" dirty="0">
              <a:solidFill>
                <a:schemeClr val="accent1">
                  <a:lumMod val="50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endParaRPr lang="ru-RU" sz="1300" dirty="0" smtClean="0">
              <a:solidFill>
                <a:schemeClr val="accent1">
                  <a:lumMod val="50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endParaRPr lang="ru-RU" sz="1300" dirty="0">
              <a:solidFill>
                <a:schemeClr val="accent1">
                  <a:lumMod val="50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7" name="Содержимое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213994" y="2888939"/>
            <a:ext cx="2700933" cy="2988333"/>
          </a:xfrm>
          <a:prstGeom prst="rect">
            <a:avLst/>
          </a:prstGeom>
          <a:noFill/>
          <a:ln w="12700" cmpd="dbl" algn="ctr">
            <a:noFill/>
            <a:miter lim="800000"/>
            <a:headEnd/>
            <a:tailEnd/>
          </a:ln>
        </p:spPr>
        <p:txBody>
          <a:bodyPr anchor="t"/>
          <a:lstStyle/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Нефтепродукты</a:t>
            </a:r>
          </a:p>
          <a:p>
            <a:pPr eaLnBrk="0" fontAlgn="base" hangingPunct="0"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Сельскохозяйственная</a:t>
            </a:r>
            <a:b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продукция 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и </a:t>
            </a: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/>
            </a:r>
            <a:b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</a:b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биоресурсы</a:t>
            </a:r>
            <a:endParaRPr lang="ru-RU" sz="1300" dirty="0">
              <a:solidFill>
                <a:schemeClr val="tx2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Энергоносители</a:t>
            </a:r>
            <a:endParaRPr lang="en-US" sz="1300" dirty="0" smtClean="0">
              <a:solidFill>
                <a:schemeClr val="tx2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Нефть</a:t>
            </a:r>
            <a:endParaRPr lang="en-US" sz="1300" dirty="0" smtClean="0">
              <a:solidFill>
                <a:schemeClr val="tx2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Лес </a:t>
            </a: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и </a:t>
            </a:r>
            <a:r>
              <a:rPr lang="ru-RU" sz="1300" dirty="0" smtClean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стройматериалы</a:t>
            </a: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r>
              <a:rPr lang="ru-RU" sz="1300" dirty="0">
                <a:solidFill>
                  <a:schemeClr val="tx2">
                    <a:lumMod val="75000"/>
                  </a:schemeClr>
                </a:solidFill>
                <a:latin typeface="Segoe UI" pitchFamily="34" charset="0"/>
                <a:cs typeface="Segoe UI" pitchFamily="34" charset="0"/>
              </a:rPr>
              <a:t>Срочный рынок</a:t>
            </a: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endParaRPr lang="en-US" sz="1300" dirty="0">
              <a:solidFill>
                <a:schemeClr val="tx2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200000"/>
              </a:lnSpc>
              <a:spcBef>
                <a:spcPct val="65000"/>
              </a:spcBef>
              <a:spcAft>
                <a:spcPct val="0"/>
              </a:spcAft>
              <a:buClr>
                <a:srgbClr val="0EA6B6"/>
              </a:buClr>
              <a:buSzPct val="110000"/>
            </a:pPr>
            <a:endParaRPr lang="ru-RU" sz="1300" dirty="0">
              <a:solidFill>
                <a:schemeClr val="tx2">
                  <a:lumMod val="75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pic>
        <p:nvPicPr>
          <p:cNvPr id="20" name="Picture 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995936" y="3011717"/>
            <a:ext cx="720080" cy="387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4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122004" y="4097578"/>
            <a:ext cx="432048" cy="391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7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19788" y="5218881"/>
            <a:ext cx="64807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Picture 1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944661" y="3036189"/>
            <a:ext cx="471359" cy="36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4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69454" y="3600017"/>
            <a:ext cx="573045" cy="387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1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69454" y="5771281"/>
            <a:ext cx="604520" cy="466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4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197003" y="4598321"/>
            <a:ext cx="317946" cy="504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Прямоугольник 1"/>
          <p:cNvSpPr/>
          <p:nvPr/>
        </p:nvSpPr>
        <p:spPr>
          <a:xfrm>
            <a:off x="1115616" y="2124145"/>
            <a:ext cx="26741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>
                <a:solidFill>
                  <a:schemeClr val="tx2">
                    <a:lumMod val="75000"/>
                  </a:schemeClr>
                </a:solidFill>
                <a:latin typeface="Segoe UI Light" pitchFamily="34" charset="0"/>
                <a:cs typeface="Segoe UI" pitchFamily="34" charset="0"/>
              </a:rPr>
              <a:t>Действующие</a:t>
            </a:r>
            <a:endParaRPr lang="ru-RU" sz="3200" dirty="0">
              <a:solidFill>
                <a:schemeClr val="tx2">
                  <a:lumMod val="75000"/>
                </a:schemeClr>
              </a:solidFill>
              <a:latin typeface="Segoe UI Light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148064" y="2132856"/>
            <a:ext cx="26777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latin typeface="Segoe UI Light" pitchFamily="34" charset="0"/>
                <a:cs typeface="Segoe UI" pitchFamily="34" charset="0"/>
              </a:rPr>
              <a:t>Планируемые</a:t>
            </a:r>
            <a:endParaRPr lang="ru-RU" sz="3200" dirty="0">
              <a:solidFill>
                <a:schemeClr val="accent1">
                  <a:lumMod val="50000"/>
                </a:schemeClr>
              </a:solidFill>
              <a:latin typeface="Segoe UI Light" pitchFamily="34" charset="0"/>
            </a:endParaRPr>
          </a:p>
        </p:txBody>
      </p:sp>
      <p:pic>
        <p:nvPicPr>
          <p:cNvPr id="29" name="Picture 2" descr="image002"/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3600017"/>
            <a:ext cx="591947" cy="585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6709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dirty="0"/>
              <a:t>Биржа – источник объективных ценовых индикаторов рынка нефтепродуктов: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prstClr val="white"/>
                </a:solidFill>
                <a:latin typeface="Segoe UI Light" pitchFamily="34" charset="0"/>
              </a:rPr>
              <a:t>1</a:t>
            </a:r>
            <a:endParaRPr lang="ru-RU" sz="96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08344" y="818710"/>
            <a:ext cx="782186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marR="0" lvl="0" indent="-2730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73050" marR="0" lvl="0" indent="-2730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738AC8">
                    <a:lumMod val="75000"/>
                  </a:srgbClr>
                </a:solidFill>
                <a:effectLst/>
                <a:uLnTx/>
                <a:uFillTx/>
                <a:cs typeface="Segoe UI" pitchFamily="34" charset="0"/>
              </a:rPr>
              <a:t>ЗАО «СПбМТСБ» </a:t>
            </a: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itchFamily="34" charset="0"/>
              </a:rPr>
              <a:t>это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Segoe UI" pitchFamily="34" charset="0"/>
              </a:rPr>
              <a:t>: </a:t>
            </a:r>
            <a:endParaRPr kumimoji="0" lang="ru-RU" sz="2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itchFamily="34" charset="0"/>
            </a:endParaRPr>
          </a:p>
          <a:p>
            <a:pPr marL="273050" marR="0" lvl="0" indent="-2730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itchFamily="34" charset="0"/>
            </a:endParaRPr>
          </a:p>
          <a:p>
            <a:pPr marL="720725" marR="0" lvl="1" indent="-3159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Крупнейшая торговая площадка биржевого спот рынка нефтепродуктов 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–</a:t>
            </a:r>
            <a:r>
              <a:rPr lang="en-US" sz="1400" dirty="0" smtClean="0">
                <a:ea typeface="Calibri" pitchFamily="34" charset="0"/>
                <a:cs typeface="Calibri" pitchFamily="34" charset="0"/>
              </a:rPr>
              <a:t> 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96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% биржевого оборота РФ;</a:t>
            </a:r>
          </a:p>
          <a:p>
            <a:pPr marL="720725" marR="0" lvl="1" indent="-3159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Основная система регистрации внебиржевых сделок с нефтепродуктами;</a:t>
            </a:r>
          </a:p>
          <a:p>
            <a:pPr marL="720725" marR="0" lvl="1" indent="-3159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Накопленная история биржевых 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торгов</a:t>
            </a:r>
            <a:r>
              <a:rPr lang="en-US" sz="1400" dirty="0" smtClean="0">
                <a:ea typeface="Calibri" pitchFamily="34" charset="0"/>
                <a:cs typeface="Calibri" pitchFamily="34" charset="0"/>
              </a:rPr>
              <a:t>,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 </a:t>
            </a:r>
            <a:endParaRPr lang="en-US" sz="1400" dirty="0" smtClean="0">
              <a:ea typeface="Calibri" pitchFamily="34" charset="0"/>
              <a:cs typeface="Calibri" pitchFamily="34" charset="0"/>
            </a:endParaRPr>
          </a:p>
          <a:p>
            <a:pPr marL="720725" marR="0" lvl="1" indent="-3159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ru-RU" sz="1400" dirty="0" smtClean="0">
                <a:ea typeface="Calibri" pitchFamily="34" charset="0"/>
                <a:cs typeface="Calibri" pitchFamily="34" charset="0"/>
              </a:rPr>
              <a:t>Исторические 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значения 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индексов 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рассчитаны за период с начала торгов 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нефтепродуктами (с 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сентября 2008 г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.) </a:t>
            </a:r>
            <a:endParaRPr lang="ru-RU" sz="1400" dirty="0">
              <a:ea typeface="Calibri" pitchFamily="34" charset="0"/>
              <a:cs typeface="Calibri" pitchFamily="34" charset="0"/>
            </a:endParaRPr>
          </a:p>
          <a:p>
            <a:pPr marL="404812" marR="0" lvl="1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ea typeface="Calibri" pitchFamily="34" charset="0"/>
              <a:cs typeface="Calibri" pitchFamily="34" charset="0"/>
            </a:endParaRPr>
          </a:p>
          <a:p>
            <a:pPr marL="404812" marR="0" lvl="1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Индексы ЗАО «СПбМТСБ» формируются </a:t>
            </a:r>
            <a:r>
              <a:rPr lang="ru-RU" sz="1600" dirty="0">
                <a:solidFill>
                  <a:schemeClr val="tx2"/>
                </a:solidFill>
                <a:cs typeface="Calibri" pitchFamily="34" charset="0"/>
              </a:rPr>
              <a:t>по открытой методике и распространяются на бесплатной основе.</a:t>
            </a:r>
          </a:p>
          <a:p>
            <a:pPr marL="404812" marR="0" lvl="1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Segoe UI" pitchFamily="34" charset="0"/>
            </a:endParaRPr>
          </a:p>
          <a:p>
            <a:pPr marL="720725" lvl="1" indent="-315913" algn="just">
              <a:buFont typeface="Wingdings" pitchFamily="2" charset="2"/>
              <a:buChar char="ü"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На сайте СПбМТСБ исторические значения индексов доступны за любую дату и с переменными параметрами, устанавливаемыми пользователем (стоимость в рублях за тонну или в рублях за литр; с учетом или без учета транспорта)</a:t>
            </a:r>
          </a:p>
          <a:p>
            <a:pPr marL="720725" lvl="1" indent="-315913" algn="just">
              <a:buFont typeface="Wingdings" pitchFamily="2" charset="2"/>
              <a:buChar char="ü"/>
              <a:defRPr/>
            </a:pPr>
            <a:endParaRPr lang="ru-RU" sz="1400" dirty="0">
              <a:ea typeface="Calibri" pitchFamily="34" charset="0"/>
              <a:cs typeface="Calibri" pitchFamily="34" charset="0"/>
            </a:endParaRPr>
          </a:p>
          <a:p>
            <a:pPr marL="720725" lvl="1" indent="-315913" algn="just">
              <a:buFont typeface="Wingdings" pitchFamily="2" charset="2"/>
              <a:buChar char="ü"/>
              <a:defRPr/>
            </a:pPr>
            <a:r>
              <a:rPr lang="ru-RU" sz="1400" dirty="0">
                <a:ea typeface="Calibri" pitchFamily="34" charset="0"/>
                <a:cs typeface="Calibri" pitchFamily="34" charset="0"/>
              </a:rPr>
              <a:t>	Индикаторы ЗАО «СПбМТСБ» как объективные ценовые индикаторы рынка нефтепродуктов востребованы </a:t>
            </a:r>
            <a:r>
              <a:rPr lang="ru-RU" sz="1600" dirty="0">
                <a:solidFill>
                  <a:schemeClr val="tx2"/>
                </a:solidFill>
                <a:cs typeface="Calibri" pitchFamily="34" charset="0"/>
              </a:rPr>
              <a:t>регуляторами, участниками рынка, </a:t>
            </a:r>
            <a:r>
              <a:rPr lang="ru-RU" sz="1600" dirty="0" smtClean="0">
                <a:solidFill>
                  <a:schemeClr val="tx2"/>
                </a:solidFill>
                <a:cs typeface="Calibri" pitchFamily="34" charset="0"/>
              </a:rPr>
              <a:t>информагентствами 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(</a:t>
            </a:r>
            <a:r>
              <a:rPr lang="en-US" sz="1400" dirty="0">
                <a:ea typeface="Calibri" pitchFamily="34" charset="0"/>
                <a:cs typeface="Calibri" pitchFamily="34" charset="0"/>
              </a:rPr>
              <a:t>Bloomberg, Reuters</a:t>
            </a:r>
            <a:r>
              <a:rPr lang="ru-RU" sz="1400" dirty="0" smtClean="0">
                <a:ea typeface="Calibri" pitchFamily="34" charset="0"/>
                <a:cs typeface="Calibri" pitchFamily="34" charset="0"/>
              </a:rPr>
              <a:t>).</a:t>
            </a:r>
            <a:r>
              <a:rPr lang="ru-RU" sz="1400" dirty="0">
                <a:ea typeface="Calibri" pitchFamily="34" charset="0"/>
                <a:cs typeface="Calibri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182922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Рост биржевой активности</a:t>
            </a:r>
            <a:endParaRPr lang="ru-RU" dirty="0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Все секции ЗАО «СПбМТСБ»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/>
              <a:t>Слайд </a:t>
            </a:r>
            <a:fld id="{8A883B3C-0F63-49CF-83A2-AD4574F642BA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1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531977702"/>
              </p:ext>
            </p:extLst>
          </p:nvPr>
        </p:nvGraphicFramePr>
        <p:xfrm>
          <a:off x="1179873" y="908720"/>
          <a:ext cx="7920880" cy="2790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2357393787"/>
              </p:ext>
            </p:extLst>
          </p:nvPr>
        </p:nvGraphicFramePr>
        <p:xfrm>
          <a:off x="1120230" y="3573016"/>
          <a:ext cx="7920000" cy="2790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37754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schemeClr val="bg1"/>
                </a:solidFill>
                <a:latin typeface="Segoe UI Light" pitchFamily="34" charset="0"/>
              </a:rPr>
              <a:t>2</a:t>
            </a:r>
            <a:endParaRPr lang="ru-RU" sz="9600" dirty="0">
              <a:solidFill>
                <a:schemeClr val="bg1"/>
              </a:solidFill>
              <a:latin typeface="Segoe UI Light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Слайд </a:t>
            </a:r>
            <a:fld id="{8A883B3C-0F63-49CF-83A2-AD4574F642BA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7500228"/>
              </p:ext>
            </p:extLst>
          </p:nvPr>
        </p:nvGraphicFramePr>
        <p:xfrm>
          <a:off x="1403350" y="476250"/>
          <a:ext cx="7272338" cy="4311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23" r:id="rId3" imgW="30772683" imgH="18239577" progId="">
                  <p:embed/>
                </p:oleObj>
              </mc:Choice>
              <mc:Fallback>
                <p:oleObj r:id="rId3" imgW="30772683" imgH="1823957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3350" y="476250"/>
                        <a:ext cx="7272338" cy="43116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979712" y="2528900"/>
            <a:ext cx="56166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chemeClr val="bg1"/>
                </a:solidFill>
              </a:rPr>
              <a:t>Срочный рынок СПбМТСБ</a:t>
            </a:r>
            <a:endParaRPr lang="ru-RU" sz="4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965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ru-RU" altLang="ru-RU" dirty="0"/>
              <a:t>ИСТОРИЯ И </a:t>
            </a:r>
            <a:r>
              <a:rPr lang="ru-RU" altLang="ru-RU" dirty="0" smtClean="0"/>
              <a:t>НОВАЦИИ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Рисунок 9" descr="Лого.bmp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37385" y="8620"/>
            <a:ext cx="983630" cy="65250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>
                <a:solidFill>
                  <a:schemeClr val="bg1"/>
                </a:solidFill>
                <a:latin typeface="Segoe UI Light" pitchFamily="34" charset="0"/>
              </a:rPr>
              <a:t>2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731044"/>
              </p:ext>
            </p:extLst>
          </p:nvPr>
        </p:nvGraphicFramePr>
        <p:xfrm>
          <a:off x="1421650" y="863715"/>
          <a:ext cx="6750750" cy="49795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28795"/>
                <a:gridCol w="181595"/>
                <a:gridCol w="3240360"/>
              </a:tblGrid>
              <a:tr h="44987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accent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аша первая сделка</a:t>
                      </a:r>
                      <a:endParaRPr lang="ru-RU" sz="1200" b="1" dirty="0">
                        <a:solidFill>
                          <a:schemeClr val="accent4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с топливными фьючерсами </a:t>
                      </a:r>
                      <a:r>
                        <a:rPr lang="ru-RU" sz="1200" b="1" dirty="0" smtClean="0">
                          <a:solidFill>
                            <a:schemeClr val="accent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 СПбМТСБ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4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5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987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чало проекта по организации торгов фьючерсами на экспортную нефть и дизель 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4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987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тарт торгов фьючерсами с поставкой автомобильного топлива на заправочные карты</a:t>
                      </a:r>
                      <a:endParaRPr lang="ru-RU" sz="1200" b="1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3</a:t>
                      </a:r>
                      <a:endParaRPr lang="ru-RU" sz="1200" b="1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982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тарт торгов расчётными </a:t>
                      </a: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фьючерсам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 биржевые индексы </a:t>
                      </a:r>
                      <a:endParaRPr lang="ru-RU" sz="1200" b="1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ензин-92</a:t>
                      </a: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Дизель, Авиакеросин и Мазут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2</a:t>
                      </a:r>
                      <a:endParaRPr lang="ru-RU" sz="1200" b="1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9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чало торгов в </a:t>
                      </a:r>
                      <a:endParaRPr lang="ru-RU" sz="1200" b="1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кции </a:t>
                      </a: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рочного рынка СПбМТСБ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0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987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200" b="1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чало расчёта и </a:t>
                      </a: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убликаци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иржевых Индексов нефтепродуктов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9</a:t>
                      </a:r>
                      <a:endParaRPr lang="ru-RU" sz="1200" b="1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991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реждение СПбМТСБ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11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7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53344" marR="53344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2" name="Прямая со стрелкой 11"/>
          <p:cNvCxnSpPr/>
          <p:nvPr/>
        </p:nvCxnSpPr>
        <p:spPr>
          <a:xfrm flipH="1" flipV="1">
            <a:off x="4797025" y="1081691"/>
            <a:ext cx="7100" cy="412094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H="1" flipV="1">
            <a:off x="4800575" y="2393885"/>
            <a:ext cx="3550" cy="450050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V="1">
            <a:off x="4804125" y="3068960"/>
            <a:ext cx="0" cy="571423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H="1" flipV="1">
            <a:off x="4802350" y="1763814"/>
            <a:ext cx="1775" cy="405045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H="1" flipV="1">
            <a:off x="4802350" y="3924055"/>
            <a:ext cx="1775" cy="360917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V="1">
            <a:off x="4804125" y="4554126"/>
            <a:ext cx="0" cy="421710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 flipV="1">
            <a:off x="4800575" y="5229200"/>
            <a:ext cx="3550" cy="349805"/>
          </a:xfrm>
          <a:prstGeom prst="straightConnector1">
            <a:avLst/>
          </a:prstGeom>
          <a:ln w="34925" cap="sq">
            <a:solidFill>
              <a:srgbClr val="7030A0"/>
            </a:solidFill>
            <a:miter lim="800000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2716213" y="197961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369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Инструменты фьючерсного рынка СПбМТСБ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-156884"/>
            <a:ext cx="10081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600" dirty="0" smtClean="0">
                <a:solidFill>
                  <a:prstClr val="white"/>
                </a:solidFill>
                <a:latin typeface="Segoe UI Light" pitchFamily="34" charset="0"/>
              </a:rPr>
              <a:t>2</a:t>
            </a:r>
            <a:endParaRPr lang="ru-RU" sz="9600" dirty="0">
              <a:solidFill>
                <a:prstClr val="white"/>
              </a:solidFill>
              <a:latin typeface="Segoe UI Light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26083" y="2418143"/>
            <a:ext cx="2430270" cy="2565287"/>
          </a:xfrm>
          <a:prstGeom prst="rect">
            <a:avLst/>
          </a:prstGeom>
          <a:solidFill>
            <a:srgbClr val="738AC8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00620" y="2418145"/>
            <a:ext cx="2430270" cy="2565285"/>
          </a:xfrm>
          <a:prstGeom prst="rect">
            <a:avLst/>
          </a:prstGeom>
          <a:solidFill>
            <a:srgbClr val="738AC8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10692" y="2428750"/>
            <a:ext cx="2430270" cy="2554680"/>
          </a:xfrm>
          <a:prstGeom prst="rect">
            <a:avLst/>
          </a:prstGeom>
          <a:solidFill>
            <a:srgbClr val="738AC8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61098" y="2569871"/>
            <a:ext cx="2160240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1" indent="1588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Расчетные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 </a:t>
            </a:r>
            <a:b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</a:b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фьючерсные контракты </a:t>
            </a:r>
            <a:b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</a:b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на индексы нефтепродукт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935635" y="2569871"/>
            <a:ext cx="2160240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1" indent="1588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Поставочные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 </a:t>
            </a:r>
            <a:b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</a:b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фьючерсные контракты </a:t>
            </a:r>
            <a:b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</a:b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на нефтепродукты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549319" y="2569872"/>
            <a:ext cx="2160240" cy="43088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1" indent="1588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Перспективные инструмен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226083" y="3170035"/>
            <a:ext cx="2430270" cy="186204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Регуляр-92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ДТЛ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ДТЗ</a:t>
            </a:r>
            <a:endParaRPr lang="ru-RU" sz="11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ТС (РТ)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Мазут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Автотопливо с </a:t>
            </a:r>
            <a:r>
              <a:rPr lang="ru-RU" sz="1100" b="1" kern="0" dirty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возможностью поставки через топливные карты </a:t>
            </a: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(АИ-92, АИ-95, Дизель)</a:t>
            </a:r>
            <a:endParaRPr lang="ru-RU" sz="11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0" marR="0" lvl="1" indent="1588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800620" y="2831483"/>
            <a:ext cx="2481570" cy="158504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265113" lvl="1" indent="-215900">
              <a:buFont typeface="Wingdings" pitchFamily="2" charset="2"/>
              <a:buChar char="§"/>
              <a:defRPr/>
            </a:pPr>
            <a:endParaRPr lang="ru-RU" sz="11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49213" lvl="1">
              <a:defRPr/>
            </a:pPr>
            <a:endParaRPr lang="ru-RU" sz="11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ДТЛ </a:t>
            </a:r>
            <a:r>
              <a:rPr lang="ru-RU" sz="1100" b="1" kern="0" dirty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с поставкой ж/д </a:t>
            </a: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цистернами</a:t>
            </a:r>
          </a:p>
          <a:p>
            <a:pPr marL="49213" lvl="1">
              <a:defRPr/>
            </a:pPr>
            <a:endParaRPr lang="ru-RU" sz="11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1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ДТЛ,Регуляр-92,Премиум-95 с поставкой на базисе «КИРИШИ»</a:t>
            </a:r>
            <a:endParaRPr lang="ru-RU" sz="11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49213" lvl="1">
              <a:defRPr/>
            </a:pPr>
            <a:endParaRPr lang="ru-RU" sz="900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386507" y="2579735"/>
            <a:ext cx="2433098" cy="240065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49213" lvl="1">
              <a:defRPr/>
            </a:pPr>
            <a:endParaRPr lang="ru-RU" sz="10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Фьючерсы </a:t>
            </a:r>
            <a:r>
              <a:rPr lang="ru-RU" sz="1000" b="1" kern="0" dirty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с поставкой на региональных </a:t>
            </a:r>
            <a:r>
              <a:rPr lang="ru-RU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базисах для нефтяных компаний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Фьючерсы на газ 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ru-RU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Нефтяные фьючерсы </a:t>
            </a:r>
          </a:p>
          <a:p>
            <a:pPr marL="49213" lvl="1">
              <a:defRPr/>
            </a:pPr>
            <a:r>
              <a:rPr lang="ru-RU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      (на эталонный сорт нефти)</a:t>
            </a: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en-US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EFP</a:t>
            </a:r>
            <a:endParaRPr lang="ru-RU" sz="1000" b="1" kern="0" dirty="0" smtClean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endParaRPr lang="ru-RU" sz="10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  <a:p>
            <a:pPr marL="265113" lvl="1" indent="-215900">
              <a:buFont typeface="Wingdings" pitchFamily="2" charset="2"/>
              <a:buChar char="§"/>
              <a:defRPr/>
            </a:pPr>
            <a:r>
              <a:rPr lang="en-US" sz="1000" b="1" kern="0" dirty="0" smtClean="0">
                <a:solidFill>
                  <a:schemeClr val="bg2">
                    <a:lumMod val="25000"/>
                  </a:schemeClr>
                </a:solidFill>
                <a:latin typeface="Segoe UI" pitchFamily="34" charset="0"/>
                <a:cs typeface="Segoe UI" pitchFamily="34" charset="0"/>
              </a:rPr>
              <a:t>SWAP</a:t>
            </a:r>
            <a:endParaRPr lang="ru-RU" sz="1000" b="1" kern="0" dirty="0">
              <a:solidFill>
                <a:schemeClr val="bg2">
                  <a:lumMod val="25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205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dlZdEwvkKA13IFYfj9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4nx1Fmskqvb_WfNhMi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anPaSIzUiQHw91HMOP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fWCeu6Aki0WNvHBbJS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DhufcHgUuCWkylkePa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77FslWc0eMPgvHjDnK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XAA3S5dkqlHed18hPJ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jHMvFkJ0.XxHChMoe_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huIMZJikORNouJg.S7hw"/>
</p:tagLst>
</file>

<file path=ppt/theme/theme1.xml><?xml version="1.0" encoding="utf-8"?>
<a:theme xmlns:a="http://schemas.openxmlformats.org/drawingml/2006/main" name="1_Тема Office">
  <a:themeElements>
    <a:clrScheme name="SPIMEX">
      <a:dk1>
        <a:sysClr val="windowText" lastClr="000000"/>
      </a:dk1>
      <a:lt1>
        <a:sysClr val="window" lastClr="FFFFFF"/>
      </a:lt1>
      <a:dk2>
        <a:srgbClr val="0090D6"/>
      </a:dk2>
      <a:lt2>
        <a:srgbClr val="77BAE7"/>
      </a:lt2>
      <a:accent1>
        <a:srgbClr val="92D050"/>
      </a:accent1>
      <a:accent2>
        <a:srgbClr val="FFC000"/>
      </a:accent2>
      <a:accent3>
        <a:srgbClr val="FF0000"/>
      </a:accent3>
      <a:accent4>
        <a:srgbClr val="7030A0"/>
      </a:accent4>
      <a:accent5>
        <a:srgbClr val="FF00FF"/>
      </a:accent5>
      <a:accent6>
        <a:srgbClr val="FFF52D"/>
      </a:accent6>
      <a:hlink>
        <a:srgbClr val="0000FF"/>
      </a:hlink>
      <a:folHlink>
        <a:srgbClr val="800080"/>
      </a:folHlink>
    </a:clrScheme>
    <a:fontScheme name="SPIMEX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Тема Office">
  <a:themeElements>
    <a:clrScheme name="SPIMEX">
      <a:dk1>
        <a:sysClr val="windowText" lastClr="000000"/>
      </a:dk1>
      <a:lt1>
        <a:sysClr val="window" lastClr="FFFFFF"/>
      </a:lt1>
      <a:dk2>
        <a:srgbClr val="0090D6"/>
      </a:dk2>
      <a:lt2>
        <a:srgbClr val="77BAE7"/>
      </a:lt2>
      <a:accent1>
        <a:srgbClr val="92D050"/>
      </a:accent1>
      <a:accent2>
        <a:srgbClr val="FFC000"/>
      </a:accent2>
      <a:accent3>
        <a:srgbClr val="FF0000"/>
      </a:accent3>
      <a:accent4>
        <a:srgbClr val="7030A0"/>
      </a:accent4>
      <a:accent5>
        <a:srgbClr val="FF00FF"/>
      </a:accent5>
      <a:accent6>
        <a:srgbClr val="FFF52D"/>
      </a:accent6>
      <a:hlink>
        <a:srgbClr val="0000FF"/>
      </a:hlink>
      <a:folHlink>
        <a:srgbClr val="800080"/>
      </a:folHlink>
    </a:clrScheme>
    <a:fontScheme name="SPIMEX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Тема Office">
  <a:themeElements>
    <a:clrScheme name="SPIMEX">
      <a:dk1>
        <a:sysClr val="windowText" lastClr="000000"/>
      </a:dk1>
      <a:lt1>
        <a:sysClr val="window" lastClr="FFFFFF"/>
      </a:lt1>
      <a:dk2>
        <a:srgbClr val="0090D6"/>
      </a:dk2>
      <a:lt2>
        <a:srgbClr val="77BAE7"/>
      </a:lt2>
      <a:accent1>
        <a:srgbClr val="92D050"/>
      </a:accent1>
      <a:accent2>
        <a:srgbClr val="FFC000"/>
      </a:accent2>
      <a:accent3>
        <a:srgbClr val="FF0000"/>
      </a:accent3>
      <a:accent4>
        <a:srgbClr val="7030A0"/>
      </a:accent4>
      <a:accent5>
        <a:srgbClr val="FF00FF"/>
      </a:accent5>
      <a:accent6>
        <a:srgbClr val="FFF52D"/>
      </a:accent6>
      <a:hlink>
        <a:srgbClr val="0000FF"/>
      </a:hlink>
      <a:folHlink>
        <a:srgbClr val="800080"/>
      </a:folHlink>
    </a:clrScheme>
    <a:fontScheme name="SPIMEX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72</TotalTime>
  <Words>2515</Words>
  <Application>Microsoft Office PowerPoint</Application>
  <PresentationFormat>Экран (4:3)</PresentationFormat>
  <Paragraphs>606</Paragraphs>
  <Slides>3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33</vt:i4>
      </vt:variant>
    </vt:vector>
  </HeadingPairs>
  <TitlesOfParts>
    <vt:vector size="36" baseType="lpstr">
      <vt:lpstr>1_Тема Office</vt:lpstr>
      <vt:lpstr>3_Тема Office</vt:lpstr>
      <vt:lpstr>4_Тема Office</vt:lpstr>
      <vt:lpstr>Секция срочного рынка</vt:lpstr>
      <vt:lpstr>СПбМТСБ – лидер организованного товарного рынка, центр рыночного  ценообразования на товары</vt:lpstr>
      <vt:lpstr>Доля рынка и объемы торгов</vt:lpstr>
      <vt:lpstr>Секции</vt:lpstr>
      <vt:lpstr>Биржа – источник объективных ценовых индикаторов рынка нефтепродуктов:</vt:lpstr>
      <vt:lpstr>Рост биржевой активности</vt:lpstr>
      <vt:lpstr>Презентация PowerPoint</vt:lpstr>
      <vt:lpstr>ИСТОРИЯ И НОВАЦИИ</vt:lpstr>
      <vt:lpstr>Инструменты фьючерсного рынка СПбМТСБ</vt:lpstr>
      <vt:lpstr>Поставочные фьючерсы</vt:lpstr>
      <vt:lpstr>Поставочные фьючерсы</vt:lpstr>
      <vt:lpstr>Расчетные фьючерсы</vt:lpstr>
      <vt:lpstr>Срочный рынок СПбМТСБ</vt:lpstr>
      <vt:lpstr>Краткая спецификация</vt:lpstr>
      <vt:lpstr>Спецификации фьючерсных контрактов СПбМТСБ» </vt:lpstr>
      <vt:lpstr>Презентация PowerPoint</vt:lpstr>
      <vt:lpstr>Клиринг торгов</vt:lpstr>
      <vt:lpstr>Сравнение динамики</vt:lpstr>
      <vt:lpstr>Динамика цен на Московских АЗС </vt:lpstr>
      <vt:lpstr>Индексы: пульс рынка</vt:lpstr>
      <vt:lpstr>Индекс RTS и СПбМТСБ-ДТЛ</vt:lpstr>
      <vt:lpstr>Индекс RTS и СПбМТСБ-ДТЛ</vt:lpstr>
      <vt:lpstr>Индекс RTS и СПбМТСБ-Регуляр-92</vt:lpstr>
      <vt:lpstr>Индекс RTS и СПбМТСБ-Регуляр-92</vt:lpstr>
      <vt:lpstr>Индексы: пульс рынка</vt:lpstr>
      <vt:lpstr>Индексы: пульс рынка</vt:lpstr>
      <vt:lpstr>Индексы: пульс рынка</vt:lpstr>
      <vt:lpstr>Индексы: пульс рынка</vt:lpstr>
      <vt:lpstr>Динамика ценовых колебаний</vt:lpstr>
      <vt:lpstr>Выводы для торговых стратегий</vt:lpstr>
      <vt:lpstr>Преимущества фьючерсов СПбМТСБ для брокерских компаний</vt:lpstr>
      <vt:lpstr>Открытая информация</vt:lpstr>
      <vt:lpstr>Контак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ondrukhov</dc:creator>
  <cp:lastModifiedBy>Сергеев Алексей</cp:lastModifiedBy>
  <cp:revision>441</cp:revision>
  <cp:lastPrinted>2013-02-28T14:05:46Z</cp:lastPrinted>
  <dcterms:created xsi:type="dcterms:W3CDTF">2012-04-24T05:50:47Z</dcterms:created>
  <dcterms:modified xsi:type="dcterms:W3CDTF">2015-06-09T08:22:10Z</dcterms:modified>
</cp:coreProperties>
</file>